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885" r:id="rId5"/>
  </p:sldMasterIdLst>
  <p:notesMasterIdLst>
    <p:notesMasterId r:id="rId11"/>
  </p:notesMasterIdLst>
  <p:handoutMasterIdLst>
    <p:handoutMasterId r:id="rId12"/>
  </p:handoutMasterIdLst>
  <p:sldIdLst>
    <p:sldId id="281" r:id="rId6"/>
    <p:sldId id="2128752188" r:id="rId7"/>
    <p:sldId id="2128752102" r:id="rId8"/>
    <p:sldId id="765" r:id="rId9"/>
    <p:sldId id="2128752189" r:id="rId10"/>
  </p:sldIdLst>
  <p:sldSz cx="12192000" cy="6858000"/>
  <p:notesSz cx="6858000" cy="9144000"/>
  <p:custDataLst>
    <p:tags r:id="rId1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2E29B"/>
    <a:srgbClr val="00040C"/>
    <a:srgbClr val="89E4A1"/>
    <a:srgbClr val="A4EAB0"/>
    <a:srgbClr val="C1F1C9"/>
    <a:srgbClr val="D3F5D9"/>
    <a:srgbClr val="E3F9E7"/>
    <a:srgbClr val="AEECBA"/>
    <a:srgbClr val="C6F2CE"/>
    <a:srgbClr val="D6F6D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tags" Target="tags/tag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a:extLst>
              <a:ext uri="{FF2B5EF4-FFF2-40B4-BE49-F238E27FC236}">
                <a16:creationId xmlns:a16="http://schemas.microsoft.com/office/drawing/2014/main" id="{5B311F53-2414-4C2D-995A-8BA35F26A0F9}"/>
              </a:ext>
            </a:extLst>
          </p:cNvPr>
          <p:cNvSpPr>
            <a:spLocks noGrp="1"/>
          </p:cNvSpPr>
          <p:nvPr>
            <p:ph type="ftr" sz="quarter" idx="2"/>
          </p:nvPr>
        </p:nvSpPr>
        <p:spPr>
          <a:xfrm>
            <a:off x="367200" y="8841600"/>
            <a:ext cx="4474800" cy="180000"/>
          </a:xfrm>
          <a:prstGeom prst="rect">
            <a:avLst/>
          </a:prstGeom>
        </p:spPr>
        <p:txBody>
          <a:bodyPr vert="horz" lIns="0" tIns="0" rIns="0" bIns="0" rtlCol="0" anchor="ctr"/>
          <a:lstStyle>
            <a:lvl1pPr algn="l">
              <a:defRPr sz="1200"/>
            </a:lvl1pPr>
          </a:lstStyle>
          <a:p>
            <a:endParaRPr lang="en-US" sz="900"/>
          </a:p>
        </p:txBody>
      </p:sp>
      <p:sp>
        <p:nvSpPr>
          <p:cNvPr id="3" name="date">
            <a:extLst>
              <a:ext uri="{FF2B5EF4-FFF2-40B4-BE49-F238E27FC236}">
                <a16:creationId xmlns:a16="http://schemas.microsoft.com/office/drawing/2014/main" id="{B9649DAA-F3FB-48FD-9DCB-F16A233EBB1A}"/>
              </a:ext>
            </a:extLst>
          </p:cNvPr>
          <p:cNvSpPr>
            <a:spLocks noGrp="1"/>
          </p:cNvSpPr>
          <p:nvPr>
            <p:ph type="dt" sz="quarter" idx="1"/>
          </p:nvPr>
        </p:nvSpPr>
        <p:spPr>
          <a:xfrm>
            <a:off x="4865400" y="8841600"/>
            <a:ext cx="806400" cy="180000"/>
          </a:xfrm>
          <a:prstGeom prst="rect">
            <a:avLst/>
          </a:prstGeom>
        </p:spPr>
        <p:txBody>
          <a:bodyPr vert="horz" lIns="0" tIns="0" rIns="0" bIns="0" rtlCol="0" anchor="ctr"/>
          <a:lstStyle>
            <a:lvl1pPr algn="r">
              <a:defRPr sz="1200"/>
            </a:lvl1pPr>
          </a:lstStyle>
          <a:p>
            <a:fld id="{E9A836F1-C325-4BE8-8CE7-18AD9C9C4E9D}" type="datetimeFigureOut">
              <a:rPr lang="en-US" sz="900" smtClean="0"/>
              <a:t>8/18/2022</a:t>
            </a:fld>
            <a:endParaRPr lang="en-US" sz="900"/>
          </a:p>
        </p:txBody>
      </p:sp>
      <p:sp>
        <p:nvSpPr>
          <p:cNvPr id="5" name="slide number">
            <a:extLst>
              <a:ext uri="{FF2B5EF4-FFF2-40B4-BE49-F238E27FC236}">
                <a16:creationId xmlns:a16="http://schemas.microsoft.com/office/drawing/2014/main" id="{904905B4-96B2-4C03-BFB1-D10DDDC96E68}"/>
              </a:ext>
            </a:extLst>
          </p:cNvPr>
          <p:cNvSpPr>
            <a:spLocks noGrp="1"/>
          </p:cNvSpPr>
          <p:nvPr>
            <p:ph type="sldNum" sz="quarter" idx="3"/>
          </p:nvPr>
        </p:nvSpPr>
        <p:spPr>
          <a:xfrm>
            <a:off x="5695200" y="8841600"/>
            <a:ext cx="756000" cy="180000"/>
          </a:xfrm>
          <a:prstGeom prst="rect">
            <a:avLst/>
          </a:prstGeom>
        </p:spPr>
        <p:txBody>
          <a:bodyPr vert="horz" lIns="0" tIns="0" rIns="0" bIns="0" rtlCol="0" anchor="ctr"/>
          <a:lstStyle>
            <a:lvl1pPr algn="r">
              <a:defRPr sz="1200"/>
            </a:lvl1pPr>
          </a:lstStyle>
          <a:p>
            <a:fld id="{4D805306-CCF5-42D2-BCA8-0B93ED4F7119}" type="slidenum">
              <a:rPr lang="en-US" sz="900" smtClean="0"/>
              <a:t>‹Nr.›</a:t>
            </a:fld>
            <a:endParaRPr lang="en-US" sz="900"/>
          </a:p>
        </p:txBody>
      </p:sp>
    </p:spTree>
    <p:extLst>
      <p:ext uri="{BB962C8B-B14F-4D97-AF65-F5344CB8AC3E}">
        <p14:creationId xmlns:p14="http://schemas.microsoft.com/office/powerpoint/2010/main" val="301313985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p:cNvSpPr>
            <a:spLocks noGrp="1" noRot="1" noChangeAspect="1"/>
          </p:cNvSpPr>
          <p:nvPr>
            <p:ph type="sldImg" idx="2"/>
          </p:nvPr>
        </p:nvSpPr>
        <p:spPr>
          <a:xfrm>
            <a:off x="365400" y="421200"/>
            <a:ext cx="6127200" cy="3446550"/>
          </a:xfrm>
          <a:prstGeom prst="rect">
            <a:avLst/>
          </a:prstGeom>
          <a:noFill/>
          <a:ln w="3175">
            <a:solidFill>
              <a:schemeClr val="tx1"/>
            </a:solidFill>
          </a:ln>
        </p:spPr>
        <p:txBody>
          <a:bodyPr vert="horz" lIns="91440" tIns="45720" rIns="91440" bIns="45720" rtlCol="0" anchor="ctr"/>
          <a:lstStyle/>
          <a:p>
            <a:endParaRPr lang="en-US"/>
          </a:p>
        </p:txBody>
      </p:sp>
      <p:sp>
        <p:nvSpPr>
          <p:cNvPr id="5" name="notes"/>
          <p:cNvSpPr>
            <a:spLocks noGrp="1"/>
          </p:cNvSpPr>
          <p:nvPr>
            <p:ph type="body" sz="quarter" idx="3"/>
          </p:nvPr>
        </p:nvSpPr>
        <p:spPr>
          <a:xfrm>
            <a:off x="365400" y="4100400"/>
            <a:ext cx="6127200" cy="4622400"/>
          </a:xfrm>
          <a:prstGeom prst="rect">
            <a:avLst/>
          </a:prstGeom>
        </p:spPr>
        <p:txBody>
          <a:bodyPr vert="horz" lIns="0" tIns="0" rIns="0" bIns="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p:txBody>
      </p:sp>
      <p:sp>
        <p:nvSpPr>
          <p:cNvPr id="6" name="footer"/>
          <p:cNvSpPr>
            <a:spLocks noGrp="1"/>
          </p:cNvSpPr>
          <p:nvPr>
            <p:ph type="ftr" sz="quarter" idx="4"/>
          </p:nvPr>
        </p:nvSpPr>
        <p:spPr>
          <a:xfrm>
            <a:off x="365400" y="8841454"/>
            <a:ext cx="4474800" cy="180000"/>
          </a:xfrm>
          <a:prstGeom prst="rect">
            <a:avLst/>
          </a:prstGeom>
        </p:spPr>
        <p:txBody>
          <a:bodyPr vert="horz" lIns="0" tIns="0" rIns="0" bIns="0" rtlCol="0" anchor="ctr"/>
          <a:lstStyle>
            <a:lvl1pPr algn="l">
              <a:defRPr sz="900">
                <a:solidFill>
                  <a:schemeClr val="tx1"/>
                </a:solidFill>
              </a:defRPr>
            </a:lvl1pPr>
          </a:lstStyle>
          <a:p>
            <a:endParaRPr lang="en-US"/>
          </a:p>
        </p:txBody>
      </p:sp>
      <p:sp>
        <p:nvSpPr>
          <p:cNvPr id="3" name="date"/>
          <p:cNvSpPr>
            <a:spLocks noGrp="1"/>
          </p:cNvSpPr>
          <p:nvPr>
            <p:ph type="dt" idx="1"/>
          </p:nvPr>
        </p:nvSpPr>
        <p:spPr>
          <a:xfrm>
            <a:off x="4885200" y="8841454"/>
            <a:ext cx="806400" cy="180000"/>
          </a:xfrm>
          <a:prstGeom prst="rect">
            <a:avLst/>
          </a:prstGeom>
        </p:spPr>
        <p:txBody>
          <a:bodyPr vert="horz" lIns="91440" tIns="45720" rIns="91440" bIns="45720" rtlCol="0" anchor="ctr"/>
          <a:lstStyle>
            <a:lvl1pPr algn="r">
              <a:defRPr sz="900">
                <a:solidFill>
                  <a:schemeClr val="tx1"/>
                </a:solidFill>
              </a:defRPr>
            </a:lvl1pPr>
          </a:lstStyle>
          <a:p>
            <a:fld id="{0F9E1635-0D22-4C81-A492-00B8F3FF4A47}" type="datetimeFigureOut">
              <a:rPr lang="en-US" smtClean="0"/>
              <a:pPr/>
              <a:t>8/18/2022</a:t>
            </a:fld>
            <a:endParaRPr lang="en-US"/>
          </a:p>
        </p:txBody>
      </p:sp>
      <p:sp>
        <p:nvSpPr>
          <p:cNvPr id="7" name="slide number"/>
          <p:cNvSpPr>
            <a:spLocks noGrp="1"/>
          </p:cNvSpPr>
          <p:nvPr>
            <p:ph type="sldNum" sz="quarter" idx="5"/>
          </p:nvPr>
        </p:nvSpPr>
        <p:spPr>
          <a:xfrm>
            <a:off x="5736600" y="8841454"/>
            <a:ext cx="756000" cy="180000"/>
          </a:xfrm>
          <a:prstGeom prst="rect">
            <a:avLst/>
          </a:prstGeom>
        </p:spPr>
        <p:txBody>
          <a:bodyPr vert="horz" lIns="0" tIns="0" rIns="0" bIns="0" rtlCol="0" anchor="ctr"/>
          <a:lstStyle>
            <a:lvl1pPr algn="r">
              <a:defRPr sz="900">
                <a:solidFill>
                  <a:schemeClr val="tx1"/>
                </a:solidFill>
              </a:defRPr>
            </a:lvl1pPr>
          </a:lstStyle>
          <a:p>
            <a:fld id="{E33337FA-5DE4-419D-82C3-B7D1182AE74F}" type="slidenum">
              <a:rPr lang="en-US" smtClean="0"/>
              <a:pPr/>
              <a:t>‹Nr.›</a:t>
            </a:fld>
            <a:endParaRPr lang="en-US"/>
          </a:p>
        </p:txBody>
      </p:sp>
    </p:spTree>
    <p:extLst>
      <p:ext uri="{BB962C8B-B14F-4D97-AF65-F5344CB8AC3E}">
        <p14:creationId xmlns:p14="http://schemas.microsoft.com/office/powerpoint/2010/main" val="3473028826"/>
      </p:ext>
    </p:extLst>
  </p:cSld>
  <p:clrMap bg1="lt1" tx1="dk1" bg2="lt2" tx2="dk2" accent1="accent1" accent2="accent2" accent3="accent3" accent4="accent4" accent5="accent5" accent6="accent6" hlink="hlink" folHlink="folHlink"/>
  <p:notesStyle>
    <a:lvl1pPr marL="0" indent="0" algn="l" defTabSz="914400" rtl="0" eaLnBrk="1" latinLnBrk="0" hangingPunct="1">
      <a:lnSpc>
        <a:spcPct val="100000"/>
      </a:lnSpc>
      <a:spcBef>
        <a:spcPts val="200"/>
      </a:spcBef>
      <a:spcAft>
        <a:spcPts val="200"/>
      </a:spcAft>
      <a:buFontTx/>
      <a:buNone/>
      <a:defRPr sz="1200" kern="1200">
        <a:solidFill>
          <a:schemeClr val="tx1"/>
        </a:solidFill>
        <a:latin typeface="+mn-lt"/>
        <a:ea typeface="+mn-ea"/>
        <a:cs typeface="+mn-cs"/>
      </a:defRPr>
    </a:lvl1pPr>
    <a:lvl2pPr marL="0" indent="-252000" algn="l" defTabSz="914400" rtl="0" eaLnBrk="1" latinLnBrk="0" hangingPunct="1">
      <a:lnSpc>
        <a:spcPct val="100000"/>
      </a:lnSpc>
      <a:spcBef>
        <a:spcPts val="0"/>
      </a:spcBef>
      <a:spcAft>
        <a:spcPts val="200"/>
      </a:spcAft>
      <a:buFont typeface="Symbol" panose="05050102010706020507" pitchFamily="18" charset="2"/>
      <a:buChar char="-"/>
      <a:defRPr sz="1200" kern="1200">
        <a:solidFill>
          <a:schemeClr val="tx1"/>
        </a:solidFill>
        <a:latin typeface="+mn-lt"/>
        <a:ea typeface="+mn-ea"/>
        <a:cs typeface="+mn-cs"/>
      </a:defRPr>
    </a:lvl2pPr>
    <a:lvl3pPr marL="504000" indent="-252000" algn="l" defTabSz="914400" rtl="0" eaLnBrk="1" latinLnBrk="0" hangingPunct="1">
      <a:lnSpc>
        <a:spcPct val="100000"/>
      </a:lnSpc>
      <a:spcBef>
        <a:spcPts val="0"/>
      </a:spcBef>
      <a:spcAft>
        <a:spcPts val="200"/>
      </a:spcAft>
      <a:buFont typeface="Symbol" panose="05050102010706020507" pitchFamily="18" charset="2"/>
      <a:buChar char="-"/>
      <a:defRPr sz="1200" kern="1200">
        <a:solidFill>
          <a:schemeClr val="tx1"/>
        </a:solidFill>
        <a:latin typeface="+mn-lt"/>
        <a:ea typeface="+mn-ea"/>
        <a:cs typeface="+mn-cs"/>
      </a:defRPr>
    </a:lvl3pPr>
    <a:lvl4pPr marL="756000" indent="-252000" algn="l" defTabSz="914400" rtl="0" eaLnBrk="1" latinLnBrk="0" hangingPunct="1">
      <a:lnSpc>
        <a:spcPct val="100000"/>
      </a:lnSpc>
      <a:spcBef>
        <a:spcPts val="0"/>
      </a:spcBef>
      <a:spcAft>
        <a:spcPts val="200"/>
      </a:spcAft>
      <a:buFont typeface="Symbol" panose="05050102010706020507" pitchFamily="18" charset="2"/>
      <a:buChar char="-"/>
      <a:defRPr sz="1200" kern="1200">
        <a:solidFill>
          <a:schemeClr val="tx1"/>
        </a:solidFill>
        <a:latin typeface="+mn-lt"/>
        <a:ea typeface="+mn-ea"/>
        <a:cs typeface="+mn-cs"/>
      </a:defRPr>
    </a:lvl4pPr>
    <a:lvl5pPr marL="0" indent="0" algn="l" defTabSz="914400" rtl="0" eaLnBrk="1" latinLnBrk="0" hangingPunct="1">
      <a:lnSpc>
        <a:spcPct val="100000"/>
      </a:lnSpc>
      <a:spcBef>
        <a:spcPts val="200"/>
      </a:spcBef>
      <a:spcAft>
        <a:spcPts val="200"/>
      </a:spcAft>
      <a:buFontTx/>
      <a:buNone/>
      <a:defRPr sz="1400" b="1" kern="1200">
        <a:solidFill>
          <a:schemeClr val="tx1"/>
        </a:solidFill>
        <a:latin typeface="+mn-lt"/>
        <a:ea typeface="+mn-ea"/>
        <a:cs typeface="+mn-cs"/>
      </a:defRPr>
    </a:lvl5pPr>
    <a:lvl6pPr marL="0" marR="0" indent="0" algn="l" defTabSz="914400" rtl="0" eaLnBrk="1" fontAlgn="auto" latinLnBrk="0" hangingPunct="1">
      <a:lnSpc>
        <a:spcPct val="100000"/>
      </a:lnSpc>
      <a:spcBef>
        <a:spcPts val="200"/>
      </a:spcBef>
      <a:spcAft>
        <a:spcPts val="200"/>
      </a:spcAft>
      <a:buClrTx/>
      <a:buSzTx/>
      <a:buFontTx/>
      <a:buNone/>
      <a:tabLst/>
      <a:defRPr sz="1400" b="1" kern="1200" cap="all" baseline="0">
        <a:solidFill>
          <a:schemeClr val="accent3"/>
        </a:solidFill>
        <a:latin typeface="+mn-lt"/>
        <a:ea typeface="+mn-ea"/>
        <a:cs typeface="+mn-cs"/>
      </a:defRPr>
    </a:lvl6pPr>
    <a:lvl7pPr marL="0" indent="0" algn="l" defTabSz="914400" rtl="0" eaLnBrk="1" latinLnBrk="0" hangingPunct="1">
      <a:lnSpc>
        <a:spcPct val="100000"/>
      </a:lnSpc>
      <a:spcBef>
        <a:spcPts val="200"/>
      </a:spcBef>
      <a:spcAft>
        <a:spcPts val="200"/>
      </a:spcAft>
      <a:defRPr sz="1400" b="1" kern="1200" cap="all" baseline="0">
        <a:solidFill>
          <a:schemeClr val="accent1"/>
        </a:solidFill>
        <a:latin typeface="+mn-lt"/>
        <a:ea typeface="+mn-ea"/>
        <a:cs typeface="+mn-cs"/>
      </a:defRPr>
    </a:lvl7pPr>
    <a:lvl8pPr marL="0" indent="0" algn="l" defTabSz="914400" rtl="0" eaLnBrk="1" latinLnBrk="0" hangingPunct="1">
      <a:lnSpc>
        <a:spcPct val="100000"/>
      </a:lnSpc>
      <a:spcBef>
        <a:spcPts val="200"/>
      </a:spcBef>
      <a:spcAft>
        <a:spcPts val="200"/>
      </a:spcAft>
      <a:defRPr sz="9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5125" y="420688"/>
            <a:ext cx="6127750" cy="3446462"/>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E33337FA-5DE4-419D-82C3-B7D1182AE74F}" type="slidenum">
              <a:rPr lang="de-DE" smtClean="0"/>
              <a:pPr/>
              <a:t>1</a:t>
            </a:fld>
            <a:endParaRPr lang="de-DE"/>
          </a:p>
        </p:txBody>
      </p:sp>
    </p:spTree>
    <p:extLst>
      <p:ext uri="{BB962C8B-B14F-4D97-AF65-F5344CB8AC3E}">
        <p14:creationId xmlns:p14="http://schemas.microsoft.com/office/powerpoint/2010/main" val="29782520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5125" y="420688"/>
            <a:ext cx="6127750" cy="3446462"/>
          </a:xfrm>
        </p:spPr>
      </p:sp>
      <p:sp>
        <p:nvSpPr>
          <p:cNvPr id="3" name="Notes Placeholder 2"/>
          <p:cNvSpPr>
            <a:spLocks noGrp="1"/>
          </p:cNvSpPr>
          <p:nvPr>
            <p:ph type="body" idx="1"/>
          </p:nvPr>
        </p:nvSpPr>
        <p:spPr/>
        <p:txBody>
          <a:bodyPr/>
          <a:lstStyle/>
          <a:p>
            <a:pPr marL="0" marR="0" lvl="0" indent="0" algn="l" defTabSz="457184" rtl="0" eaLnBrk="1" fontAlgn="auto" latinLnBrk="0" hangingPunct="1">
              <a:lnSpc>
                <a:spcPct val="107000"/>
              </a:lnSpc>
              <a:spcBef>
                <a:spcPts val="0"/>
              </a:spcBef>
              <a:spcAft>
                <a:spcPts val="800"/>
              </a:spcAft>
              <a:buClrTx/>
              <a:buSzTx/>
              <a:buFontTx/>
              <a:buNone/>
              <a:tabLst/>
              <a:defRPr/>
            </a:pPr>
            <a:r>
              <a:rPr lang="en-US" sz="1600" b="1" i="0" kern="1200">
                <a:solidFill>
                  <a:schemeClr val="tx1"/>
                </a:solidFill>
                <a:effectLst/>
                <a:latin typeface="+mn-lt"/>
                <a:ea typeface="+mn-ea"/>
                <a:cs typeface="+mn-cs"/>
              </a:rPr>
              <a:t>As presented, this looks linear, but a lot of times it’s more circular. </a:t>
            </a:r>
          </a:p>
          <a:p>
            <a:pPr marL="0" marR="0" lvl="0" indent="0" algn="l" defTabSz="457184" rtl="0" eaLnBrk="1" fontAlgn="auto" latinLnBrk="0" hangingPunct="1">
              <a:lnSpc>
                <a:spcPct val="107000"/>
              </a:lnSpc>
              <a:spcBef>
                <a:spcPts val="0"/>
              </a:spcBef>
              <a:spcAft>
                <a:spcPts val="800"/>
              </a:spcAft>
              <a:buClrTx/>
              <a:buSzTx/>
              <a:buFontTx/>
              <a:buNone/>
              <a:tabLst/>
              <a:defRPr/>
            </a:pPr>
            <a:r>
              <a:rPr lang="en-US" sz="1600" b="1" i="0" kern="1200">
                <a:solidFill>
                  <a:schemeClr val="tx1"/>
                </a:solidFill>
                <a:effectLst/>
                <a:latin typeface="+mn-lt"/>
                <a:ea typeface="+mn-ea"/>
                <a:cs typeface="+mn-cs"/>
              </a:rPr>
              <a:t>We see clients in all phases of their journey – some that need help defining success, and others that are longstanding deploying program. But what we seek to do in sales pitch is to assess what they have accomplished in these areas and tailor our approach and solution to them. Still doing discovery and testing maturity in each piece laid out here.</a:t>
            </a:r>
          </a:p>
          <a:p>
            <a:pPr marL="0" marR="0" lvl="0" indent="0" algn="l" defTabSz="457184" rtl="0" eaLnBrk="1" fontAlgn="auto" latinLnBrk="0" hangingPunct="1">
              <a:lnSpc>
                <a:spcPct val="107000"/>
              </a:lnSpc>
              <a:spcBef>
                <a:spcPts val="0"/>
              </a:spcBef>
              <a:spcAft>
                <a:spcPts val="800"/>
              </a:spcAft>
              <a:buClrTx/>
              <a:buSzTx/>
              <a:buFontTx/>
              <a:buNone/>
              <a:tabLst/>
              <a:defRPr/>
            </a:pPr>
            <a:endParaRPr lang="en-US" sz="1600" b="1" i="0" kern="1200">
              <a:solidFill>
                <a:schemeClr val="tx1"/>
              </a:solidFill>
              <a:effectLst/>
              <a:latin typeface="+mn-lt"/>
              <a:ea typeface="+mn-ea"/>
              <a:cs typeface="+mn-cs"/>
            </a:endParaRPr>
          </a:p>
          <a:p>
            <a:pPr marL="0" marR="0" lvl="0" indent="0" algn="l" defTabSz="457184" rtl="0" eaLnBrk="1" fontAlgn="auto" latinLnBrk="0" hangingPunct="1">
              <a:lnSpc>
                <a:spcPct val="107000"/>
              </a:lnSpc>
              <a:spcBef>
                <a:spcPts val="0"/>
              </a:spcBef>
              <a:spcAft>
                <a:spcPts val="800"/>
              </a:spcAft>
              <a:buClrTx/>
              <a:buSzTx/>
              <a:buFontTx/>
              <a:buNone/>
              <a:tabLst/>
              <a:defRPr/>
            </a:pPr>
            <a:endParaRPr lang="en-US" sz="1600" b="1" i="0" kern="1200">
              <a:solidFill>
                <a:schemeClr val="tx1"/>
              </a:solidFill>
              <a:effectLst/>
              <a:latin typeface="+mn-lt"/>
              <a:ea typeface="+mn-ea"/>
              <a:cs typeface="+mn-cs"/>
            </a:endParaRPr>
          </a:p>
          <a:p>
            <a:pPr marL="0" marR="0" lvl="0" indent="0" algn="l" defTabSz="457184" rtl="0" eaLnBrk="1" fontAlgn="auto" latinLnBrk="0" hangingPunct="1">
              <a:lnSpc>
                <a:spcPct val="107000"/>
              </a:lnSpc>
              <a:spcBef>
                <a:spcPts val="0"/>
              </a:spcBef>
              <a:spcAft>
                <a:spcPts val="800"/>
              </a:spcAft>
              <a:buClrTx/>
              <a:buSzTx/>
              <a:buFontTx/>
              <a:buNone/>
              <a:tabLst/>
              <a:defRPr/>
            </a:pPr>
            <a:r>
              <a:rPr lang="en-US" sz="1600" b="1" i="1" kern="1200">
                <a:solidFill>
                  <a:schemeClr val="tx1"/>
                </a:solidFill>
                <a:effectLst/>
                <a:latin typeface="+mn-lt"/>
                <a:ea typeface="+mn-ea"/>
                <a:cs typeface="+mn-cs"/>
              </a:rPr>
              <a:t>[MANDATORY]</a:t>
            </a:r>
          </a:p>
          <a:p>
            <a:pPr marL="0" marR="0">
              <a:lnSpc>
                <a:spcPct val="107000"/>
              </a:lnSpc>
              <a:spcBef>
                <a:spcPts val="0"/>
              </a:spcBef>
              <a:spcAft>
                <a:spcPts val="800"/>
              </a:spcAft>
            </a:pPr>
            <a:endParaRPr lang="en-US" sz="160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pl-PL" sz="1600">
                <a:effectLst/>
                <a:latin typeface="Calibri" panose="020F0502020204030204" pitchFamily="34" charset="0"/>
                <a:ea typeface="Calibri" panose="020F0502020204030204" pitchFamily="34" charset="0"/>
                <a:cs typeface="Arial" panose="020B0604020202020204" pitchFamily="34" charset="0"/>
              </a:rPr>
              <a:t>At Schneider, when we look at </a:t>
            </a:r>
            <a:r>
              <a:rPr lang="en-US" sz="1600">
                <a:effectLst/>
                <a:latin typeface="Calibri" panose="020F0502020204030204" pitchFamily="34" charset="0"/>
                <a:ea typeface="Calibri" panose="020F0502020204030204" pitchFamily="34" charset="0"/>
                <a:cs typeface="Arial" panose="020B0604020202020204" pitchFamily="34" charset="0"/>
              </a:rPr>
              <a:t>where we are today and the opportunity we have, we see a world where efficiency </a:t>
            </a:r>
            <a:r>
              <a:rPr lang="pl-PL" sz="1600">
                <a:effectLst/>
                <a:latin typeface="Calibri" panose="020F0502020204030204" pitchFamily="34" charset="0"/>
                <a:ea typeface="Calibri" panose="020F0502020204030204" pitchFamily="34" charset="0"/>
                <a:cs typeface="Arial" panose="020B0604020202020204" pitchFamily="34" charset="0"/>
              </a:rPr>
              <a:t>can be catalyzed by </a:t>
            </a:r>
            <a:r>
              <a:rPr lang="en-US" sz="1600" b="1">
                <a:effectLst/>
                <a:latin typeface="Calibri" panose="020F0502020204030204" pitchFamily="34" charset="0"/>
                <a:ea typeface="Calibri" panose="020F0502020204030204" pitchFamily="34" charset="0"/>
                <a:cs typeface="Arial" panose="020B0604020202020204" pitchFamily="34" charset="0"/>
              </a:rPr>
              <a:t>four</a:t>
            </a:r>
            <a:r>
              <a:rPr lang="pl-PL" sz="1600" b="1">
                <a:effectLst/>
                <a:latin typeface="Calibri" panose="020F0502020204030204" pitchFamily="34" charset="0"/>
                <a:ea typeface="Calibri" panose="020F0502020204030204" pitchFamily="34" charset="0"/>
                <a:cs typeface="Arial" panose="020B0604020202020204" pitchFamily="34" charset="0"/>
              </a:rPr>
              <a:t> integr</a:t>
            </a:r>
            <a:r>
              <a:rPr lang="en-US" sz="1600" b="1">
                <a:effectLst/>
                <a:latin typeface="Calibri" panose="020F0502020204030204" pitchFamily="34" charset="0"/>
                <a:ea typeface="Calibri" panose="020F0502020204030204" pitchFamily="34" charset="0"/>
                <a:cs typeface="Arial" panose="020B0604020202020204" pitchFamily="34" charset="0"/>
              </a:rPr>
              <a:t>a</a:t>
            </a:r>
            <a:r>
              <a:rPr lang="pl-PL" sz="1600" b="1">
                <a:effectLst/>
                <a:latin typeface="Calibri" panose="020F0502020204030204" pitchFamily="34" charset="0"/>
                <a:ea typeface="Calibri" panose="020F0502020204030204" pitchFamily="34" charset="0"/>
                <a:cs typeface="Arial" panose="020B0604020202020204" pitchFamily="34" charset="0"/>
              </a:rPr>
              <a:t>tions</a:t>
            </a:r>
            <a:r>
              <a:rPr lang="en-US" sz="1600">
                <a:effectLst/>
                <a:latin typeface="Calibri" panose="020F0502020204030204" pitchFamily="34" charset="0"/>
                <a:ea typeface="Calibri" panose="020F0502020204030204" pitchFamily="34" charset="0"/>
                <a:cs typeface="Arial" panose="020B0604020202020204" pitchFamily="34" charset="0"/>
              </a:rPr>
              <a:t>:</a:t>
            </a:r>
          </a:p>
          <a:p>
            <a:pPr marL="0" marR="0">
              <a:lnSpc>
                <a:spcPct val="107000"/>
              </a:lnSpc>
              <a:spcBef>
                <a:spcPts val="0"/>
              </a:spcBef>
              <a:spcAft>
                <a:spcPts val="800"/>
              </a:spcAft>
            </a:pPr>
            <a:endParaRPr lang="en-US" sz="1600">
              <a:effectLst/>
              <a:latin typeface="Calibri" panose="020F0502020204030204"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1200">
                <a:effectLst/>
                <a:latin typeface="Calibri" panose="020F0502020204030204" pitchFamily="34" charset="0"/>
                <a:ea typeface="Calibri" panose="020F0502020204030204" pitchFamily="34" charset="0"/>
                <a:cs typeface="Arial" panose="020B0604020202020204" pitchFamily="34" charset="0"/>
              </a:rPr>
              <a:t>The first one is integrating Energy and Automation </a:t>
            </a:r>
          </a:p>
          <a:p>
            <a:pPr marL="171450" marR="0" indent="-171450">
              <a:lnSpc>
                <a:spcPct val="107000"/>
              </a:lnSpc>
              <a:spcBef>
                <a:spcPts val="0"/>
              </a:spcBef>
              <a:spcAft>
                <a:spcPts val="800"/>
              </a:spcAft>
              <a:buFont typeface="Arial" panose="020B0604020202020204" pitchFamily="34" charset="0"/>
              <a:buChar char="•"/>
            </a:pPr>
            <a:r>
              <a:rPr lang="en-US" sz="1200">
                <a:effectLst/>
                <a:latin typeface="Calibri" panose="020F0502020204030204" pitchFamily="34" charset="0"/>
                <a:ea typeface="Calibri" panose="020F0502020204030204" pitchFamily="34" charset="0"/>
                <a:cs typeface="Arial" panose="020B0604020202020204" pitchFamily="34" charset="0"/>
              </a:rPr>
              <a:t>The second, Digital &amp; IoT from end point to the cloud </a:t>
            </a:r>
          </a:p>
          <a:p>
            <a:pPr marL="171450" marR="0" indent="-171450">
              <a:lnSpc>
                <a:spcPct val="107000"/>
              </a:lnSpc>
              <a:spcBef>
                <a:spcPts val="0"/>
              </a:spcBef>
              <a:spcAft>
                <a:spcPts val="800"/>
              </a:spcAft>
              <a:buFont typeface="Arial" panose="020B0604020202020204" pitchFamily="34" charset="0"/>
              <a:buChar char="•"/>
            </a:pPr>
            <a:r>
              <a:rPr lang="en-US" sz="1200">
                <a:effectLst/>
                <a:latin typeface="Calibri" panose="020F0502020204030204" pitchFamily="34" charset="0"/>
                <a:ea typeface="Calibri" panose="020F0502020204030204" pitchFamily="34" charset="0"/>
                <a:cs typeface="Arial" panose="020B0604020202020204" pitchFamily="34" charset="0"/>
              </a:rPr>
              <a:t>The third integration is all along the lifecycle, from design to build, operate and maintain, in particular with AVEVA </a:t>
            </a:r>
          </a:p>
          <a:p>
            <a:pPr marL="171450" marR="0" indent="-171450">
              <a:lnSpc>
                <a:spcPct val="107000"/>
              </a:lnSpc>
              <a:spcBef>
                <a:spcPts val="0"/>
              </a:spcBef>
              <a:spcAft>
                <a:spcPts val="800"/>
              </a:spcAft>
              <a:buFont typeface="Arial" panose="020B0604020202020204" pitchFamily="34" charset="0"/>
              <a:buChar char="•"/>
            </a:pPr>
            <a:r>
              <a:rPr lang="en-US" sz="1200">
                <a:effectLst/>
                <a:latin typeface="Calibri" panose="020F0502020204030204" pitchFamily="34" charset="0"/>
                <a:ea typeface="Calibri" panose="020F0502020204030204" pitchFamily="34" charset="0"/>
                <a:cs typeface="Arial" panose="020B0604020202020204" pitchFamily="34" charset="0"/>
              </a:rPr>
              <a:t>The fourth integration refers to scale up, moving from site-by-site to an Integrated Company Management.</a:t>
            </a:r>
          </a:p>
          <a:p>
            <a:pPr marL="0" marR="0">
              <a:lnSpc>
                <a:spcPct val="107000"/>
              </a:lnSpc>
              <a:spcBef>
                <a:spcPts val="0"/>
              </a:spcBef>
              <a:spcAft>
                <a:spcPts val="800"/>
              </a:spcAft>
            </a:pPr>
            <a:endParaRPr lang="en-US" sz="1200">
              <a:effectLst/>
              <a:latin typeface="Calibri" panose="020F050202020403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BCA3F2D3-7FDB-5D4F-9BBF-DAAE5D4C28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8627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5125" y="420688"/>
            <a:ext cx="6127750" cy="3446462"/>
          </a:xfrm>
        </p:spPr>
      </p:sp>
      <p:sp>
        <p:nvSpPr>
          <p:cNvPr id="3" name="Notes Placeholder 2"/>
          <p:cNvSpPr>
            <a:spLocks noGrp="1"/>
          </p:cNvSpPr>
          <p:nvPr>
            <p:ph type="body" idx="1"/>
          </p:nvPr>
        </p:nvSpPr>
        <p:spPr/>
        <p:txBody>
          <a:bodyPr/>
          <a:lstStyle/>
          <a:p>
            <a:pPr marL="0" marR="0" lvl="0" indent="0" algn="l" defTabSz="457184" rtl="0" eaLnBrk="1" fontAlgn="auto" latinLnBrk="0" hangingPunct="1">
              <a:lnSpc>
                <a:spcPct val="107000"/>
              </a:lnSpc>
              <a:spcBef>
                <a:spcPts val="0"/>
              </a:spcBef>
              <a:spcAft>
                <a:spcPts val="800"/>
              </a:spcAft>
              <a:buClrTx/>
              <a:buSzTx/>
              <a:buFontTx/>
              <a:buNone/>
              <a:tabLst/>
              <a:defRPr/>
            </a:pPr>
            <a:r>
              <a:rPr lang="en-US" sz="1600" b="1" i="0" kern="1200">
                <a:solidFill>
                  <a:schemeClr val="tx1"/>
                </a:solidFill>
                <a:effectLst/>
                <a:latin typeface="+mn-lt"/>
                <a:ea typeface="+mn-ea"/>
                <a:cs typeface="+mn-cs"/>
              </a:rPr>
              <a:t>As presented, this looks linear, but a lot of times it’s more circular. </a:t>
            </a:r>
          </a:p>
          <a:p>
            <a:pPr marL="0" marR="0" lvl="0" indent="0" algn="l" defTabSz="457184" rtl="0" eaLnBrk="1" fontAlgn="auto" latinLnBrk="0" hangingPunct="1">
              <a:lnSpc>
                <a:spcPct val="107000"/>
              </a:lnSpc>
              <a:spcBef>
                <a:spcPts val="0"/>
              </a:spcBef>
              <a:spcAft>
                <a:spcPts val="800"/>
              </a:spcAft>
              <a:buClrTx/>
              <a:buSzTx/>
              <a:buFontTx/>
              <a:buNone/>
              <a:tabLst/>
              <a:defRPr/>
            </a:pPr>
            <a:r>
              <a:rPr lang="en-US" sz="1600" b="1" i="0" kern="1200">
                <a:solidFill>
                  <a:schemeClr val="tx1"/>
                </a:solidFill>
                <a:effectLst/>
                <a:latin typeface="+mn-lt"/>
                <a:ea typeface="+mn-ea"/>
                <a:cs typeface="+mn-cs"/>
              </a:rPr>
              <a:t>We see clients in all phases of their journey – some that need help defining success, and others that are longstanding deploying program. But what we seek to do in sales pitch is to assess what they have accomplished in these areas and tailor our approach and solution to them. Still doing discovery and testing maturity in each piece laid out here.</a:t>
            </a:r>
          </a:p>
          <a:p>
            <a:pPr marL="0" marR="0" lvl="0" indent="0" algn="l" defTabSz="457184" rtl="0" eaLnBrk="1" fontAlgn="auto" latinLnBrk="0" hangingPunct="1">
              <a:lnSpc>
                <a:spcPct val="107000"/>
              </a:lnSpc>
              <a:spcBef>
                <a:spcPts val="0"/>
              </a:spcBef>
              <a:spcAft>
                <a:spcPts val="800"/>
              </a:spcAft>
              <a:buClrTx/>
              <a:buSzTx/>
              <a:buFontTx/>
              <a:buNone/>
              <a:tabLst/>
              <a:defRPr/>
            </a:pPr>
            <a:endParaRPr lang="en-US" sz="1600" b="1" i="0" kern="1200">
              <a:solidFill>
                <a:schemeClr val="tx1"/>
              </a:solidFill>
              <a:effectLst/>
              <a:latin typeface="+mn-lt"/>
              <a:ea typeface="+mn-ea"/>
              <a:cs typeface="+mn-cs"/>
            </a:endParaRPr>
          </a:p>
          <a:p>
            <a:pPr marL="0" marR="0" lvl="0" indent="0" algn="l" defTabSz="457184" rtl="0" eaLnBrk="1" fontAlgn="auto" latinLnBrk="0" hangingPunct="1">
              <a:lnSpc>
                <a:spcPct val="107000"/>
              </a:lnSpc>
              <a:spcBef>
                <a:spcPts val="0"/>
              </a:spcBef>
              <a:spcAft>
                <a:spcPts val="800"/>
              </a:spcAft>
              <a:buClrTx/>
              <a:buSzTx/>
              <a:buFontTx/>
              <a:buNone/>
              <a:tabLst/>
              <a:defRPr/>
            </a:pPr>
            <a:endParaRPr lang="en-US" sz="1600" b="1" i="0" kern="1200">
              <a:solidFill>
                <a:schemeClr val="tx1"/>
              </a:solidFill>
              <a:effectLst/>
              <a:latin typeface="+mn-lt"/>
              <a:ea typeface="+mn-ea"/>
              <a:cs typeface="+mn-cs"/>
            </a:endParaRPr>
          </a:p>
          <a:p>
            <a:pPr marL="0" marR="0" lvl="0" indent="0" algn="l" defTabSz="457184" rtl="0" eaLnBrk="1" fontAlgn="auto" latinLnBrk="0" hangingPunct="1">
              <a:lnSpc>
                <a:spcPct val="107000"/>
              </a:lnSpc>
              <a:spcBef>
                <a:spcPts val="0"/>
              </a:spcBef>
              <a:spcAft>
                <a:spcPts val="800"/>
              </a:spcAft>
              <a:buClrTx/>
              <a:buSzTx/>
              <a:buFontTx/>
              <a:buNone/>
              <a:tabLst/>
              <a:defRPr/>
            </a:pPr>
            <a:r>
              <a:rPr lang="en-US" sz="1600" b="1" i="1" kern="1200">
                <a:solidFill>
                  <a:schemeClr val="tx1"/>
                </a:solidFill>
                <a:effectLst/>
                <a:latin typeface="+mn-lt"/>
                <a:ea typeface="+mn-ea"/>
                <a:cs typeface="+mn-cs"/>
              </a:rPr>
              <a:t>[MANDATORY]</a:t>
            </a:r>
          </a:p>
          <a:p>
            <a:pPr marL="0" marR="0">
              <a:lnSpc>
                <a:spcPct val="107000"/>
              </a:lnSpc>
              <a:spcBef>
                <a:spcPts val="0"/>
              </a:spcBef>
              <a:spcAft>
                <a:spcPts val="800"/>
              </a:spcAft>
            </a:pPr>
            <a:endParaRPr lang="en-US" sz="160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pl-PL" sz="1600">
                <a:effectLst/>
                <a:latin typeface="Calibri" panose="020F0502020204030204" pitchFamily="34" charset="0"/>
                <a:ea typeface="Calibri" panose="020F0502020204030204" pitchFamily="34" charset="0"/>
                <a:cs typeface="Arial" panose="020B0604020202020204" pitchFamily="34" charset="0"/>
              </a:rPr>
              <a:t>At Schneider, when we look at </a:t>
            </a:r>
            <a:r>
              <a:rPr lang="en-US" sz="1600">
                <a:effectLst/>
                <a:latin typeface="Calibri" panose="020F0502020204030204" pitchFamily="34" charset="0"/>
                <a:ea typeface="Calibri" panose="020F0502020204030204" pitchFamily="34" charset="0"/>
                <a:cs typeface="Arial" panose="020B0604020202020204" pitchFamily="34" charset="0"/>
              </a:rPr>
              <a:t>where we are today and the opportunity we have, we see a world where efficiency </a:t>
            </a:r>
            <a:r>
              <a:rPr lang="pl-PL" sz="1600">
                <a:effectLst/>
                <a:latin typeface="Calibri" panose="020F0502020204030204" pitchFamily="34" charset="0"/>
                <a:ea typeface="Calibri" panose="020F0502020204030204" pitchFamily="34" charset="0"/>
                <a:cs typeface="Arial" panose="020B0604020202020204" pitchFamily="34" charset="0"/>
              </a:rPr>
              <a:t>can be catalyzed by </a:t>
            </a:r>
            <a:r>
              <a:rPr lang="en-US" sz="1600" b="1">
                <a:effectLst/>
                <a:latin typeface="Calibri" panose="020F0502020204030204" pitchFamily="34" charset="0"/>
                <a:ea typeface="Calibri" panose="020F0502020204030204" pitchFamily="34" charset="0"/>
                <a:cs typeface="Arial" panose="020B0604020202020204" pitchFamily="34" charset="0"/>
              </a:rPr>
              <a:t>four</a:t>
            </a:r>
            <a:r>
              <a:rPr lang="pl-PL" sz="1600" b="1">
                <a:effectLst/>
                <a:latin typeface="Calibri" panose="020F0502020204030204" pitchFamily="34" charset="0"/>
                <a:ea typeface="Calibri" panose="020F0502020204030204" pitchFamily="34" charset="0"/>
                <a:cs typeface="Arial" panose="020B0604020202020204" pitchFamily="34" charset="0"/>
              </a:rPr>
              <a:t> integr</a:t>
            </a:r>
            <a:r>
              <a:rPr lang="en-US" sz="1600" b="1">
                <a:effectLst/>
                <a:latin typeface="Calibri" panose="020F0502020204030204" pitchFamily="34" charset="0"/>
                <a:ea typeface="Calibri" panose="020F0502020204030204" pitchFamily="34" charset="0"/>
                <a:cs typeface="Arial" panose="020B0604020202020204" pitchFamily="34" charset="0"/>
              </a:rPr>
              <a:t>a</a:t>
            </a:r>
            <a:r>
              <a:rPr lang="pl-PL" sz="1600" b="1">
                <a:effectLst/>
                <a:latin typeface="Calibri" panose="020F0502020204030204" pitchFamily="34" charset="0"/>
                <a:ea typeface="Calibri" panose="020F0502020204030204" pitchFamily="34" charset="0"/>
                <a:cs typeface="Arial" panose="020B0604020202020204" pitchFamily="34" charset="0"/>
              </a:rPr>
              <a:t>tions</a:t>
            </a:r>
            <a:r>
              <a:rPr lang="en-US" sz="1600">
                <a:effectLst/>
                <a:latin typeface="Calibri" panose="020F0502020204030204" pitchFamily="34" charset="0"/>
                <a:ea typeface="Calibri" panose="020F0502020204030204" pitchFamily="34" charset="0"/>
                <a:cs typeface="Arial" panose="020B0604020202020204" pitchFamily="34" charset="0"/>
              </a:rPr>
              <a:t>:</a:t>
            </a:r>
          </a:p>
          <a:p>
            <a:pPr marL="0" marR="0">
              <a:lnSpc>
                <a:spcPct val="107000"/>
              </a:lnSpc>
              <a:spcBef>
                <a:spcPts val="0"/>
              </a:spcBef>
              <a:spcAft>
                <a:spcPts val="800"/>
              </a:spcAft>
            </a:pPr>
            <a:endParaRPr lang="en-US" sz="1600">
              <a:effectLst/>
              <a:latin typeface="Calibri" panose="020F0502020204030204"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r>
              <a:rPr lang="en-US" sz="1200">
                <a:effectLst/>
                <a:latin typeface="Calibri" panose="020F0502020204030204" pitchFamily="34" charset="0"/>
                <a:ea typeface="Calibri" panose="020F0502020204030204" pitchFamily="34" charset="0"/>
                <a:cs typeface="Arial" panose="020B0604020202020204" pitchFamily="34" charset="0"/>
              </a:rPr>
              <a:t>The first one is integrating Energy and Automation </a:t>
            </a:r>
          </a:p>
          <a:p>
            <a:pPr marL="171450" marR="0" indent="-171450">
              <a:lnSpc>
                <a:spcPct val="107000"/>
              </a:lnSpc>
              <a:spcBef>
                <a:spcPts val="0"/>
              </a:spcBef>
              <a:spcAft>
                <a:spcPts val="800"/>
              </a:spcAft>
              <a:buFont typeface="Arial" panose="020B0604020202020204" pitchFamily="34" charset="0"/>
              <a:buChar char="•"/>
            </a:pPr>
            <a:r>
              <a:rPr lang="en-US" sz="1200">
                <a:effectLst/>
                <a:latin typeface="Calibri" panose="020F0502020204030204" pitchFamily="34" charset="0"/>
                <a:ea typeface="Calibri" panose="020F0502020204030204" pitchFamily="34" charset="0"/>
                <a:cs typeface="Arial" panose="020B0604020202020204" pitchFamily="34" charset="0"/>
              </a:rPr>
              <a:t>The second, Digital &amp; IoT from end point to the cloud </a:t>
            </a:r>
          </a:p>
          <a:p>
            <a:pPr marL="171450" marR="0" indent="-171450">
              <a:lnSpc>
                <a:spcPct val="107000"/>
              </a:lnSpc>
              <a:spcBef>
                <a:spcPts val="0"/>
              </a:spcBef>
              <a:spcAft>
                <a:spcPts val="800"/>
              </a:spcAft>
              <a:buFont typeface="Arial" panose="020B0604020202020204" pitchFamily="34" charset="0"/>
              <a:buChar char="•"/>
            </a:pPr>
            <a:r>
              <a:rPr lang="en-US" sz="1200">
                <a:effectLst/>
                <a:latin typeface="Calibri" panose="020F0502020204030204" pitchFamily="34" charset="0"/>
                <a:ea typeface="Calibri" panose="020F0502020204030204" pitchFamily="34" charset="0"/>
                <a:cs typeface="Arial" panose="020B0604020202020204" pitchFamily="34" charset="0"/>
              </a:rPr>
              <a:t>The third integration is all along the lifecycle, from design to build, operate and maintain, in particular with AVEVA </a:t>
            </a:r>
          </a:p>
          <a:p>
            <a:pPr marL="171450" marR="0" indent="-171450">
              <a:lnSpc>
                <a:spcPct val="107000"/>
              </a:lnSpc>
              <a:spcBef>
                <a:spcPts val="0"/>
              </a:spcBef>
              <a:spcAft>
                <a:spcPts val="800"/>
              </a:spcAft>
              <a:buFont typeface="Arial" panose="020B0604020202020204" pitchFamily="34" charset="0"/>
              <a:buChar char="•"/>
            </a:pPr>
            <a:r>
              <a:rPr lang="en-US" sz="1200">
                <a:effectLst/>
                <a:latin typeface="Calibri" panose="020F0502020204030204" pitchFamily="34" charset="0"/>
                <a:ea typeface="Calibri" panose="020F0502020204030204" pitchFamily="34" charset="0"/>
                <a:cs typeface="Arial" panose="020B0604020202020204" pitchFamily="34" charset="0"/>
              </a:rPr>
              <a:t>The fourth integration refers to scale up, moving from site-by-site to an Integrated Company Management.</a:t>
            </a:r>
          </a:p>
          <a:p>
            <a:pPr marL="0" marR="0">
              <a:lnSpc>
                <a:spcPct val="107000"/>
              </a:lnSpc>
              <a:spcBef>
                <a:spcPts val="0"/>
              </a:spcBef>
              <a:spcAft>
                <a:spcPts val="800"/>
              </a:spcAft>
            </a:pPr>
            <a:endParaRPr lang="en-US" sz="1200">
              <a:effectLst/>
              <a:latin typeface="Calibri" panose="020F050202020403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BCA3F2D3-7FDB-5D4F-9BBF-DAAE5D4C28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2246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5125" y="420688"/>
            <a:ext cx="6127750" cy="3446462"/>
          </a:xfrm>
        </p:spPr>
      </p:sp>
      <p:sp>
        <p:nvSpPr>
          <p:cNvPr id="3" name="Notizenplatzhalter 2"/>
          <p:cNvSpPr>
            <a:spLocks noGrp="1"/>
          </p:cNvSpPr>
          <p:nvPr>
            <p:ph type="body" idx="1"/>
          </p:nvPr>
        </p:nvSpPr>
        <p:spPr/>
        <p:txBody>
          <a:bodyPr/>
          <a:lstStyle/>
          <a:p>
            <a:r>
              <a:rPr lang="de-DE"/>
              <a:t>Keynote: Pariser</a:t>
            </a:r>
          </a:p>
          <a:p>
            <a:r>
              <a:rPr lang="de-DE"/>
              <a:t>Evtl. Trialog</a:t>
            </a:r>
          </a:p>
          <a:p>
            <a:r>
              <a:rPr lang="de-DE"/>
              <a:t>Workshops</a:t>
            </a:r>
          </a:p>
          <a:p>
            <a:r>
              <a:rPr lang="de-DE"/>
              <a:t>ABEND</a:t>
            </a:r>
          </a:p>
          <a:p>
            <a:r>
              <a:rPr lang="de-DE"/>
              <a:t>Workshops</a:t>
            </a:r>
          </a:p>
          <a:p>
            <a:r>
              <a:rPr lang="de-DE"/>
              <a:t>Starkes Schlusswort</a:t>
            </a:r>
          </a:p>
        </p:txBody>
      </p:sp>
      <p:sp>
        <p:nvSpPr>
          <p:cNvPr id="4" name="Foliennummernplatzhalter 3"/>
          <p:cNvSpPr>
            <a:spLocks noGrp="1"/>
          </p:cNvSpPr>
          <p:nvPr>
            <p:ph type="sldNum" sz="quarter" idx="5"/>
          </p:nvPr>
        </p:nvSpPr>
        <p:spPr/>
        <p:txBody>
          <a:bodyPr/>
          <a:lstStyle/>
          <a:p>
            <a:fld id="{E33337FA-5DE4-419D-82C3-B7D1182AE74F}" type="slidenum">
              <a:rPr lang="de-DE" smtClean="0"/>
              <a:pPr/>
              <a:t>4</a:t>
            </a:fld>
            <a:endParaRPr lang="de-DE"/>
          </a:p>
        </p:txBody>
      </p:sp>
    </p:spTree>
    <p:extLst>
      <p:ext uri="{BB962C8B-B14F-4D97-AF65-F5344CB8AC3E}">
        <p14:creationId xmlns:p14="http://schemas.microsoft.com/office/powerpoint/2010/main" val="1315482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65125" y="420688"/>
            <a:ext cx="6127750" cy="3446462"/>
          </a:xfrm>
        </p:spPr>
      </p:sp>
      <p:sp>
        <p:nvSpPr>
          <p:cNvPr id="3" name="Notizenplatzhalter 2"/>
          <p:cNvSpPr>
            <a:spLocks noGrp="1"/>
          </p:cNvSpPr>
          <p:nvPr>
            <p:ph type="body" idx="1"/>
          </p:nvPr>
        </p:nvSpPr>
        <p:spPr/>
        <p:txBody>
          <a:bodyPr/>
          <a:lstStyle/>
          <a:p>
            <a:r>
              <a:rPr lang="de-DE"/>
              <a:t>Keynote: Pariser</a:t>
            </a:r>
          </a:p>
          <a:p>
            <a:r>
              <a:rPr lang="de-DE"/>
              <a:t>Evtl. Trialog</a:t>
            </a:r>
          </a:p>
          <a:p>
            <a:r>
              <a:rPr lang="de-DE"/>
              <a:t>Workshops</a:t>
            </a:r>
          </a:p>
          <a:p>
            <a:r>
              <a:rPr lang="de-DE"/>
              <a:t>ABEND</a:t>
            </a:r>
          </a:p>
          <a:p>
            <a:r>
              <a:rPr lang="de-DE"/>
              <a:t>Workshops</a:t>
            </a:r>
          </a:p>
          <a:p>
            <a:r>
              <a:rPr lang="de-DE"/>
              <a:t>Starkes Schlusswort</a:t>
            </a:r>
          </a:p>
        </p:txBody>
      </p:sp>
      <p:sp>
        <p:nvSpPr>
          <p:cNvPr id="4" name="Foliennummernplatzhalter 3"/>
          <p:cNvSpPr>
            <a:spLocks noGrp="1"/>
          </p:cNvSpPr>
          <p:nvPr>
            <p:ph type="sldNum" sz="quarter" idx="5"/>
          </p:nvPr>
        </p:nvSpPr>
        <p:spPr/>
        <p:txBody>
          <a:bodyPr/>
          <a:lstStyle/>
          <a:p>
            <a:fld id="{E33337FA-5DE4-419D-82C3-B7D1182AE74F}" type="slidenum">
              <a:rPr lang="de-DE" smtClean="0"/>
              <a:pPr/>
              <a:t>5</a:t>
            </a:fld>
            <a:endParaRPr lang="de-DE"/>
          </a:p>
        </p:txBody>
      </p:sp>
    </p:spTree>
    <p:extLst>
      <p:ext uri="{BB962C8B-B14F-4D97-AF65-F5344CB8AC3E}">
        <p14:creationId xmlns:p14="http://schemas.microsoft.com/office/powerpoint/2010/main" val="337772894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gray">
      <p:bgRef idx="1001">
        <a:schemeClr val="bg1"/>
      </p:bgRef>
    </p:bg>
    <p:spTree>
      <p:nvGrpSpPr>
        <p:cNvPr id="1" name=""/>
        <p:cNvGrpSpPr/>
        <p:nvPr/>
      </p:nvGrpSpPr>
      <p:grpSpPr>
        <a:xfrm>
          <a:off x="0" y="0"/>
          <a:ext cx="0" cy="0"/>
          <a:chOff x="0" y="0"/>
          <a:chExt cx="0" cy="0"/>
        </a:xfrm>
      </p:grpSpPr>
      <p:sp>
        <p:nvSpPr>
          <p:cNvPr id="37" name="background blue">
            <a:extLst>
              <a:ext uri="{FF2B5EF4-FFF2-40B4-BE49-F238E27FC236}">
                <a16:creationId xmlns:a16="http://schemas.microsoft.com/office/drawing/2014/main" id="{45AC3CA3-D1CB-4FDF-8FCE-2FA0AE998F6A}"/>
              </a:ext>
            </a:extLst>
          </p:cNvPr>
          <p:cNvSpPr/>
          <p:nvPr userDrawn="1"/>
        </p:nvSpPr>
        <p:spPr bwMode="ltGray">
          <a:xfrm>
            <a:off x="10140000" y="0"/>
            <a:ext cx="2052000" cy="6857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72000" rIns="72000" bIns="72000" numCol="1" spcCol="0" rtlCol="0" fromWordArt="0" anchor="ctr" anchorCtr="0" forceAA="0" compatLnSpc="1">
            <a:prstTxWarp prst="textNoShape">
              <a:avLst/>
            </a:prstTxWarp>
            <a:noAutofit/>
          </a:bodyPr>
          <a:lstStyle/>
          <a:p>
            <a:pPr rtl="0" eaLnBrk="1" fontAlgn="auto" hangingPunct="1">
              <a:lnSpc>
                <a:spcPct val="100000"/>
              </a:lnSpc>
              <a:spcBef>
                <a:spcPts val="300"/>
              </a:spcBef>
              <a:spcAft>
                <a:spcPts val="300"/>
              </a:spcAft>
            </a:pPr>
            <a:endParaRPr lang="de-DE" sz="1600" b="1" i="0" u="none" spc="50">
              <a:solidFill>
                <a:srgbClr val="FFFFFF"/>
              </a:solidFill>
              <a:latin typeface="Calibri" panose="020F0502020204030204" pitchFamily="34" charset="0"/>
            </a:endParaRPr>
          </a:p>
        </p:txBody>
      </p:sp>
      <p:pic>
        <p:nvPicPr>
          <p:cNvPr id="34" name="picture">
            <a:extLst>
              <a:ext uri="{FF2B5EF4-FFF2-40B4-BE49-F238E27FC236}">
                <a16:creationId xmlns:a16="http://schemas.microsoft.com/office/drawing/2014/main" id="{8A32B779-A52C-49B6-BA02-11E38D1CE8D8}"/>
              </a:ext>
            </a:extLst>
          </p:cNvPr>
          <p:cNvPicPr>
            <a:picLocks noChangeAspect="1"/>
          </p:cNvPicPr>
          <p:nvPr userDrawn="1"/>
        </p:nvPicPr>
        <p:blipFill>
          <a:blip r:embed="rId2"/>
          <a:srcRect r="18"/>
          <a:stretch>
            <a:fillRect/>
          </a:stretch>
        </p:blipFill>
        <p:spPr>
          <a:xfrm>
            <a:off x="2215" y="-1"/>
            <a:ext cx="12189785" cy="6858001"/>
          </a:xfrm>
          <a:custGeom>
            <a:avLst/>
            <a:gdLst>
              <a:gd name="connsiteX0" fmla="*/ 1 w 12189785"/>
              <a:gd name="connsiteY0" fmla="*/ 2 h 6858001"/>
              <a:gd name="connsiteX1" fmla="*/ 10210148 w 12189785"/>
              <a:gd name="connsiteY1" fmla="*/ 2 h 6858001"/>
              <a:gd name="connsiteX2" fmla="*/ 10210148 w 12189785"/>
              <a:gd name="connsiteY2" fmla="*/ 648000 h 6858001"/>
              <a:gd name="connsiteX3" fmla="*/ 11901837 w 12189785"/>
              <a:gd name="connsiteY3" fmla="*/ 648000 h 6858001"/>
              <a:gd name="connsiteX4" fmla="*/ 11901837 w 12189785"/>
              <a:gd name="connsiteY4" fmla="*/ 6858000 h 6858001"/>
              <a:gd name="connsiteX5" fmla="*/ 5399023 w 12189785"/>
              <a:gd name="connsiteY5" fmla="*/ 6858000 h 6858001"/>
              <a:gd name="connsiteX6" fmla="*/ 5399023 w 12189785"/>
              <a:gd name="connsiteY6" fmla="*/ 3661336 h 6858001"/>
              <a:gd name="connsiteX7" fmla="*/ 1 w 12189785"/>
              <a:gd name="connsiteY7" fmla="*/ 3661336 h 6858001"/>
              <a:gd name="connsiteX8" fmla="*/ 0 w 12189785"/>
              <a:gd name="connsiteY8" fmla="*/ 0 h 6858001"/>
              <a:gd name="connsiteX9" fmla="*/ 12189785 w 12189785"/>
              <a:gd name="connsiteY9" fmla="*/ 0 h 6858001"/>
              <a:gd name="connsiteX10" fmla="*/ 12189785 w 12189785"/>
              <a:gd name="connsiteY10" fmla="*/ 6858001 h 6858001"/>
              <a:gd name="connsiteX11" fmla="*/ 12189784 w 12189785"/>
              <a:gd name="connsiteY11" fmla="*/ 6858001 h 6858001"/>
              <a:gd name="connsiteX12" fmla="*/ 12189784 w 12189785"/>
              <a:gd name="connsiteY12" fmla="*/ 1 h 6858001"/>
              <a:gd name="connsiteX13" fmla="*/ 0 w 12189785"/>
              <a:gd name="connsiteY13"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9785" h="6858001">
                <a:moveTo>
                  <a:pt x="1" y="2"/>
                </a:moveTo>
                <a:lnTo>
                  <a:pt x="10210148" y="2"/>
                </a:lnTo>
                <a:lnTo>
                  <a:pt x="10210148" y="648000"/>
                </a:lnTo>
                <a:lnTo>
                  <a:pt x="11901837" y="648000"/>
                </a:lnTo>
                <a:lnTo>
                  <a:pt x="11901837" y="6858000"/>
                </a:lnTo>
                <a:lnTo>
                  <a:pt x="5399023" y="6858000"/>
                </a:lnTo>
                <a:lnTo>
                  <a:pt x="5399023" y="3661336"/>
                </a:lnTo>
                <a:lnTo>
                  <a:pt x="1" y="3661336"/>
                </a:lnTo>
                <a:close/>
                <a:moveTo>
                  <a:pt x="0" y="0"/>
                </a:moveTo>
                <a:lnTo>
                  <a:pt x="12189785" y="0"/>
                </a:lnTo>
                <a:lnTo>
                  <a:pt x="12189785" y="6858001"/>
                </a:lnTo>
                <a:lnTo>
                  <a:pt x="12189784" y="6858001"/>
                </a:lnTo>
                <a:lnTo>
                  <a:pt x="12189784" y="1"/>
                </a:lnTo>
                <a:lnTo>
                  <a:pt x="0" y="1"/>
                </a:lnTo>
                <a:close/>
              </a:path>
            </a:pathLst>
          </a:custGeom>
        </p:spPr>
      </p:pic>
      <p:grpSp>
        <p:nvGrpSpPr>
          <p:cNvPr id="21" name="logo drees&amp;sommer white">
            <a:extLst>
              <a:ext uri="{FF2B5EF4-FFF2-40B4-BE49-F238E27FC236}">
                <a16:creationId xmlns:a16="http://schemas.microsoft.com/office/drawing/2014/main" id="{1813B803-BBD3-4237-8DD6-AE4D6D13C3C1}"/>
              </a:ext>
            </a:extLst>
          </p:cNvPr>
          <p:cNvGrpSpPr>
            <a:grpSpLocks noChangeAspect="1"/>
          </p:cNvGrpSpPr>
          <p:nvPr userDrawn="1"/>
        </p:nvGrpSpPr>
        <p:grpSpPr bwMode="gray">
          <a:xfrm>
            <a:off x="10716797" y="166780"/>
            <a:ext cx="948154" cy="286131"/>
            <a:chOff x="95250" y="1619249"/>
            <a:chExt cx="12004071" cy="3622549"/>
          </a:xfrm>
          <a:solidFill>
            <a:schemeClr val="bg1"/>
          </a:solidFill>
        </p:grpSpPr>
        <p:sp>
          <p:nvSpPr>
            <p:cNvPr id="22" name="d">
              <a:extLst>
                <a:ext uri="{FF2B5EF4-FFF2-40B4-BE49-F238E27FC236}">
                  <a16:creationId xmlns:a16="http://schemas.microsoft.com/office/drawing/2014/main" id="{1670F70C-B957-4DDD-B2AD-8B6AFBC08EAE}"/>
                </a:ext>
              </a:extLst>
            </p:cNvPr>
            <p:cNvSpPr/>
            <p:nvPr/>
          </p:nvSpPr>
          <p:spPr bwMode="gray">
            <a:xfrm>
              <a:off x="146589" y="1619250"/>
              <a:ext cx="1890141" cy="1555527"/>
            </a:xfrm>
            <a:custGeom>
              <a:avLst/>
              <a:gdLst>
                <a:gd name="connsiteX0" fmla="*/ 361760 w 1890141"/>
                <a:gd name="connsiteY0" fmla="*/ 1263206 h 1555527"/>
                <a:gd name="connsiteX1" fmla="*/ 361760 w 1890141"/>
                <a:gd name="connsiteY1" fmla="*/ 277368 h 1555527"/>
                <a:gd name="connsiteX2" fmla="*/ 1003840 w 1890141"/>
                <a:gd name="connsiteY2" fmla="*/ 277368 h 1555527"/>
                <a:gd name="connsiteX3" fmla="*/ 1516380 w 1890141"/>
                <a:gd name="connsiteY3" fmla="*/ 762762 h 1555527"/>
                <a:gd name="connsiteX4" fmla="*/ 828961 w 1890141"/>
                <a:gd name="connsiteY4" fmla="*/ 1263206 h 1555527"/>
                <a:gd name="connsiteX5" fmla="*/ 361760 w 1890141"/>
                <a:gd name="connsiteY5" fmla="*/ 1263206 h 1555527"/>
                <a:gd name="connsiteX6" fmla="*/ 0 w 1890141"/>
                <a:gd name="connsiteY6" fmla="*/ 1555528 h 1555527"/>
                <a:gd name="connsiteX7" fmla="*/ 907447 w 1890141"/>
                <a:gd name="connsiteY7" fmla="*/ 1555528 h 1555527"/>
                <a:gd name="connsiteX8" fmla="*/ 1546574 w 1890141"/>
                <a:gd name="connsiteY8" fmla="*/ 1435037 h 1555527"/>
                <a:gd name="connsiteX9" fmla="*/ 1890141 w 1890141"/>
                <a:gd name="connsiteY9" fmla="*/ 768763 h 1555527"/>
                <a:gd name="connsiteX10" fmla="*/ 1000792 w 1890141"/>
                <a:gd name="connsiteY10" fmla="*/ 0 h 1555527"/>
                <a:gd name="connsiteX11" fmla="*/ 0 w 1890141"/>
                <a:gd name="connsiteY11" fmla="*/ 0 h 1555527"/>
                <a:gd name="connsiteX12" fmla="*/ 0 w 1890141"/>
                <a:gd name="connsiteY12" fmla="*/ 1555528 h 155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90141" h="1555527">
                  <a:moveTo>
                    <a:pt x="361760" y="1263206"/>
                  </a:moveTo>
                  <a:lnTo>
                    <a:pt x="361760" y="277368"/>
                  </a:lnTo>
                  <a:lnTo>
                    <a:pt x="1003840" y="277368"/>
                  </a:lnTo>
                  <a:cubicBezTo>
                    <a:pt x="1344549" y="277368"/>
                    <a:pt x="1516380" y="446246"/>
                    <a:pt x="1516380" y="762762"/>
                  </a:cubicBezTo>
                  <a:cubicBezTo>
                    <a:pt x="1516380" y="1148620"/>
                    <a:pt x="1287209" y="1263206"/>
                    <a:pt x="828961" y="1263206"/>
                  </a:cubicBezTo>
                  <a:lnTo>
                    <a:pt x="361760" y="1263206"/>
                  </a:lnTo>
                  <a:close/>
                  <a:moveTo>
                    <a:pt x="0" y="1555528"/>
                  </a:moveTo>
                  <a:lnTo>
                    <a:pt x="907447" y="1555528"/>
                  </a:lnTo>
                  <a:cubicBezTo>
                    <a:pt x="1184624" y="1555528"/>
                    <a:pt x="1395698" y="1528382"/>
                    <a:pt x="1546574" y="1435037"/>
                  </a:cubicBezTo>
                  <a:cubicBezTo>
                    <a:pt x="1763649" y="1302353"/>
                    <a:pt x="1890141" y="1061180"/>
                    <a:pt x="1890141" y="768763"/>
                  </a:cubicBezTo>
                  <a:cubicBezTo>
                    <a:pt x="1890141" y="286417"/>
                    <a:pt x="1582769" y="0"/>
                    <a:pt x="1000792" y="0"/>
                  </a:cubicBezTo>
                  <a:lnTo>
                    <a:pt x="0" y="0"/>
                  </a:lnTo>
                  <a:lnTo>
                    <a:pt x="0" y="1555528"/>
                  </a:lnTo>
                  <a:close/>
                </a:path>
              </a:pathLst>
            </a:custGeom>
            <a:grpFill/>
            <a:ln w="9525" cap="flat">
              <a:noFill/>
              <a:prstDash val="solid"/>
              <a:miter/>
            </a:ln>
          </p:spPr>
          <p:txBody>
            <a:bodyPr lIns="0" tIns="0" rIns="0" bIns="0" rtlCol="0" anchor="ctr"/>
            <a:lstStyle/>
            <a:p>
              <a:endParaRPr lang="de-DE" sz="100"/>
            </a:p>
          </p:txBody>
        </p:sp>
        <p:sp>
          <p:nvSpPr>
            <p:cNvPr id="23" name="r">
              <a:extLst>
                <a:ext uri="{FF2B5EF4-FFF2-40B4-BE49-F238E27FC236}">
                  <a16:creationId xmlns:a16="http://schemas.microsoft.com/office/drawing/2014/main" id="{29184814-6AC7-4690-88EC-1B8E09A310DC}"/>
                </a:ext>
              </a:extLst>
            </p:cNvPr>
            <p:cNvSpPr/>
            <p:nvPr/>
          </p:nvSpPr>
          <p:spPr bwMode="gray">
            <a:xfrm>
              <a:off x="2405157" y="1899666"/>
              <a:ext cx="1579816" cy="1275111"/>
            </a:xfrm>
            <a:custGeom>
              <a:avLst/>
              <a:gdLst>
                <a:gd name="connsiteX0" fmla="*/ 1015937 w 1579816"/>
                <a:gd name="connsiteY0" fmla="*/ 220028 h 1275111"/>
                <a:gd name="connsiteX1" fmla="*/ 1157668 w 1579816"/>
                <a:gd name="connsiteY1" fmla="*/ 322517 h 1275111"/>
                <a:gd name="connsiteX2" fmla="*/ 1157668 w 1579816"/>
                <a:gd name="connsiteY2" fmla="*/ 470249 h 1275111"/>
                <a:gd name="connsiteX3" fmla="*/ 1015937 w 1579816"/>
                <a:gd name="connsiteY3" fmla="*/ 572738 h 1275111"/>
                <a:gd name="connsiteX4" fmla="*/ 307467 w 1579816"/>
                <a:gd name="connsiteY4" fmla="*/ 572738 h 1275111"/>
                <a:gd name="connsiteX5" fmla="*/ 307467 w 1579816"/>
                <a:gd name="connsiteY5" fmla="*/ 220028 h 1275111"/>
                <a:gd name="connsiteX6" fmla="*/ 1015937 w 1579816"/>
                <a:gd name="connsiteY6" fmla="*/ 220028 h 1275111"/>
                <a:gd name="connsiteX7" fmla="*/ 0 w 1579816"/>
                <a:gd name="connsiteY7" fmla="*/ 1275112 h 1275111"/>
                <a:gd name="connsiteX8" fmla="*/ 307562 w 1579816"/>
                <a:gd name="connsiteY8" fmla="*/ 1275112 h 1275111"/>
                <a:gd name="connsiteX9" fmla="*/ 307562 w 1579816"/>
                <a:gd name="connsiteY9" fmla="*/ 792671 h 1275111"/>
                <a:gd name="connsiteX10" fmla="*/ 599980 w 1579816"/>
                <a:gd name="connsiteY10" fmla="*/ 792671 h 1275111"/>
                <a:gd name="connsiteX11" fmla="*/ 1133570 w 1579816"/>
                <a:gd name="connsiteY11" fmla="*/ 1275112 h 1275111"/>
                <a:gd name="connsiteX12" fmla="*/ 1579817 w 1579816"/>
                <a:gd name="connsiteY12" fmla="*/ 1275112 h 1275111"/>
                <a:gd name="connsiteX13" fmla="*/ 973741 w 1579816"/>
                <a:gd name="connsiteY13" fmla="*/ 792671 h 1275111"/>
                <a:gd name="connsiteX14" fmla="*/ 1148620 w 1579816"/>
                <a:gd name="connsiteY14" fmla="*/ 792671 h 1275111"/>
                <a:gd name="connsiteX15" fmla="*/ 1447133 w 1579816"/>
                <a:gd name="connsiteY15" fmla="*/ 548640 h 1275111"/>
                <a:gd name="connsiteX16" fmla="*/ 1447133 w 1579816"/>
                <a:gd name="connsiteY16" fmla="*/ 247174 h 1275111"/>
                <a:gd name="connsiteX17" fmla="*/ 1148620 w 1579816"/>
                <a:gd name="connsiteY17" fmla="*/ 0 h 1275111"/>
                <a:gd name="connsiteX18" fmla="*/ 0 w 1579816"/>
                <a:gd name="connsiteY18" fmla="*/ 0 h 1275111"/>
                <a:gd name="connsiteX19" fmla="*/ 0 w 1579816"/>
                <a:gd name="connsiteY19" fmla="*/ 1275112 h 127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79816" h="1275111">
                  <a:moveTo>
                    <a:pt x="1015937" y="220028"/>
                  </a:moveTo>
                  <a:cubicBezTo>
                    <a:pt x="1109282" y="220028"/>
                    <a:pt x="1157668" y="238220"/>
                    <a:pt x="1157668" y="322517"/>
                  </a:cubicBezTo>
                  <a:lnTo>
                    <a:pt x="1157668" y="470249"/>
                  </a:lnTo>
                  <a:cubicBezTo>
                    <a:pt x="1157668" y="554736"/>
                    <a:pt x="1109282" y="572738"/>
                    <a:pt x="1015937" y="572738"/>
                  </a:cubicBezTo>
                  <a:lnTo>
                    <a:pt x="307467" y="572738"/>
                  </a:lnTo>
                  <a:lnTo>
                    <a:pt x="307467" y="220028"/>
                  </a:lnTo>
                  <a:lnTo>
                    <a:pt x="1015937" y="220028"/>
                  </a:lnTo>
                  <a:close/>
                  <a:moveTo>
                    <a:pt x="0" y="1275112"/>
                  </a:moveTo>
                  <a:lnTo>
                    <a:pt x="307562" y="1275112"/>
                  </a:lnTo>
                  <a:lnTo>
                    <a:pt x="307562" y="792671"/>
                  </a:lnTo>
                  <a:lnTo>
                    <a:pt x="599980" y="792671"/>
                  </a:lnTo>
                  <a:lnTo>
                    <a:pt x="1133570" y="1275112"/>
                  </a:lnTo>
                  <a:lnTo>
                    <a:pt x="1579817" y="1275112"/>
                  </a:lnTo>
                  <a:lnTo>
                    <a:pt x="973741" y="792671"/>
                  </a:lnTo>
                  <a:lnTo>
                    <a:pt x="1148620" y="792671"/>
                  </a:lnTo>
                  <a:cubicBezTo>
                    <a:pt x="1353693" y="792671"/>
                    <a:pt x="1447133" y="723329"/>
                    <a:pt x="1447133" y="548640"/>
                  </a:cubicBezTo>
                  <a:lnTo>
                    <a:pt x="1447133" y="247174"/>
                  </a:lnTo>
                  <a:cubicBezTo>
                    <a:pt x="1447133" y="69342"/>
                    <a:pt x="1353598" y="0"/>
                    <a:pt x="1148620" y="0"/>
                  </a:cubicBezTo>
                  <a:lnTo>
                    <a:pt x="0" y="0"/>
                  </a:lnTo>
                  <a:lnTo>
                    <a:pt x="0" y="1275112"/>
                  </a:lnTo>
                  <a:close/>
                </a:path>
              </a:pathLst>
            </a:custGeom>
            <a:grpFill/>
            <a:ln w="9525" cap="flat">
              <a:noFill/>
              <a:prstDash val="solid"/>
              <a:miter/>
            </a:ln>
          </p:spPr>
          <p:txBody>
            <a:bodyPr lIns="0" tIns="0" rIns="0" bIns="0" rtlCol="0" anchor="ctr"/>
            <a:lstStyle/>
            <a:p>
              <a:endParaRPr lang="de-DE" sz="100"/>
            </a:p>
          </p:txBody>
        </p:sp>
        <p:sp>
          <p:nvSpPr>
            <p:cNvPr id="24" name="e">
              <a:extLst>
                <a:ext uri="{FF2B5EF4-FFF2-40B4-BE49-F238E27FC236}">
                  <a16:creationId xmlns:a16="http://schemas.microsoft.com/office/drawing/2014/main" id="{B4CDBBF6-5ABE-43C8-B8DE-104A5B2971D5}"/>
                </a:ext>
              </a:extLst>
            </p:cNvPr>
            <p:cNvSpPr/>
            <p:nvPr/>
          </p:nvSpPr>
          <p:spPr bwMode="gray">
            <a:xfrm>
              <a:off x="4279106" y="1899666"/>
              <a:ext cx="1383696" cy="1275111"/>
            </a:xfrm>
            <a:custGeom>
              <a:avLst/>
              <a:gdLst>
                <a:gd name="connsiteX0" fmla="*/ 0 w 1383696"/>
                <a:gd name="connsiteY0" fmla="*/ 1275112 h 1275111"/>
                <a:gd name="connsiteX1" fmla="*/ 1383697 w 1383696"/>
                <a:gd name="connsiteY1" fmla="*/ 1275112 h 1275111"/>
                <a:gd name="connsiteX2" fmla="*/ 1383697 w 1383696"/>
                <a:gd name="connsiteY2" fmla="*/ 1036987 h 1275111"/>
                <a:gd name="connsiteX3" fmla="*/ 313563 w 1383696"/>
                <a:gd name="connsiteY3" fmla="*/ 1036987 h 1275111"/>
                <a:gd name="connsiteX4" fmla="*/ 313563 w 1383696"/>
                <a:gd name="connsiteY4" fmla="*/ 723424 h 1275111"/>
                <a:gd name="connsiteX5" fmla="*/ 928497 w 1383696"/>
                <a:gd name="connsiteY5" fmla="*/ 723424 h 1275111"/>
                <a:gd name="connsiteX6" fmla="*/ 928497 w 1383696"/>
                <a:gd name="connsiteY6" fmla="*/ 503396 h 1275111"/>
                <a:gd name="connsiteX7" fmla="*/ 313563 w 1383696"/>
                <a:gd name="connsiteY7" fmla="*/ 503396 h 1275111"/>
                <a:gd name="connsiteX8" fmla="*/ 313563 w 1383696"/>
                <a:gd name="connsiteY8" fmla="*/ 226028 h 1275111"/>
                <a:gd name="connsiteX9" fmla="*/ 1368743 w 1383696"/>
                <a:gd name="connsiteY9" fmla="*/ 226028 h 1275111"/>
                <a:gd name="connsiteX10" fmla="*/ 1368743 w 1383696"/>
                <a:gd name="connsiteY10" fmla="*/ 0 h 1275111"/>
                <a:gd name="connsiteX11" fmla="*/ 0 w 1383696"/>
                <a:gd name="connsiteY11" fmla="*/ 0 h 127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3696" h="1275111">
                  <a:moveTo>
                    <a:pt x="0" y="1275112"/>
                  </a:moveTo>
                  <a:lnTo>
                    <a:pt x="1383697" y="1275112"/>
                  </a:lnTo>
                  <a:lnTo>
                    <a:pt x="1383697" y="1036987"/>
                  </a:lnTo>
                  <a:lnTo>
                    <a:pt x="313563" y="1036987"/>
                  </a:lnTo>
                  <a:lnTo>
                    <a:pt x="313563" y="723424"/>
                  </a:lnTo>
                  <a:lnTo>
                    <a:pt x="928497" y="723424"/>
                  </a:lnTo>
                  <a:lnTo>
                    <a:pt x="928497" y="503396"/>
                  </a:lnTo>
                  <a:lnTo>
                    <a:pt x="313563" y="503396"/>
                  </a:lnTo>
                  <a:lnTo>
                    <a:pt x="313563" y="226028"/>
                  </a:lnTo>
                  <a:lnTo>
                    <a:pt x="1368743" y="226028"/>
                  </a:lnTo>
                  <a:lnTo>
                    <a:pt x="1368743" y="0"/>
                  </a:lnTo>
                  <a:lnTo>
                    <a:pt x="0" y="0"/>
                  </a:lnTo>
                  <a:close/>
                </a:path>
              </a:pathLst>
            </a:custGeom>
            <a:grpFill/>
            <a:ln w="9525" cap="flat">
              <a:noFill/>
              <a:prstDash val="solid"/>
              <a:miter/>
            </a:ln>
          </p:spPr>
          <p:txBody>
            <a:bodyPr lIns="0" tIns="0" rIns="0" bIns="0" rtlCol="0" anchor="ctr"/>
            <a:lstStyle/>
            <a:p>
              <a:endParaRPr lang="de-DE" sz="100"/>
            </a:p>
          </p:txBody>
        </p:sp>
        <p:sp>
          <p:nvSpPr>
            <p:cNvPr id="25" name="e">
              <a:extLst>
                <a:ext uri="{FF2B5EF4-FFF2-40B4-BE49-F238E27FC236}">
                  <a16:creationId xmlns:a16="http://schemas.microsoft.com/office/drawing/2014/main" id="{18C699BD-6D4F-4CD2-9204-32D7C02DFA50}"/>
                </a:ext>
              </a:extLst>
            </p:cNvPr>
            <p:cNvSpPr/>
            <p:nvPr/>
          </p:nvSpPr>
          <p:spPr bwMode="gray">
            <a:xfrm>
              <a:off x="6022562" y="1899666"/>
              <a:ext cx="1383696" cy="1275111"/>
            </a:xfrm>
            <a:custGeom>
              <a:avLst/>
              <a:gdLst>
                <a:gd name="connsiteX0" fmla="*/ 0 w 1383696"/>
                <a:gd name="connsiteY0" fmla="*/ 1275112 h 1275111"/>
                <a:gd name="connsiteX1" fmla="*/ 1383697 w 1383696"/>
                <a:gd name="connsiteY1" fmla="*/ 1275112 h 1275111"/>
                <a:gd name="connsiteX2" fmla="*/ 1383697 w 1383696"/>
                <a:gd name="connsiteY2" fmla="*/ 1036987 h 1275111"/>
                <a:gd name="connsiteX3" fmla="*/ 313563 w 1383696"/>
                <a:gd name="connsiteY3" fmla="*/ 1036987 h 1275111"/>
                <a:gd name="connsiteX4" fmla="*/ 313563 w 1383696"/>
                <a:gd name="connsiteY4" fmla="*/ 723424 h 1275111"/>
                <a:gd name="connsiteX5" fmla="*/ 928497 w 1383696"/>
                <a:gd name="connsiteY5" fmla="*/ 723424 h 1275111"/>
                <a:gd name="connsiteX6" fmla="*/ 928497 w 1383696"/>
                <a:gd name="connsiteY6" fmla="*/ 503396 h 1275111"/>
                <a:gd name="connsiteX7" fmla="*/ 313563 w 1383696"/>
                <a:gd name="connsiteY7" fmla="*/ 503396 h 1275111"/>
                <a:gd name="connsiteX8" fmla="*/ 313563 w 1383696"/>
                <a:gd name="connsiteY8" fmla="*/ 226028 h 1275111"/>
                <a:gd name="connsiteX9" fmla="*/ 1368743 w 1383696"/>
                <a:gd name="connsiteY9" fmla="*/ 226028 h 1275111"/>
                <a:gd name="connsiteX10" fmla="*/ 1368743 w 1383696"/>
                <a:gd name="connsiteY10" fmla="*/ 0 h 1275111"/>
                <a:gd name="connsiteX11" fmla="*/ 0 w 1383696"/>
                <a:gd name="connsiteY11" fmla="*/ 0 h 127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3696" h="1275111">
                  <a:moveTo>
                    <a:pt x="0" y="1275112"/>
                  </a:moveTo>
                  <a:lnTo>
                    <a:pt x="1383697" y="1275112"/>
                  </a:lnTo>
                  <a:lnTo>
                    <a:pt x="1383697" y="1036987"/>
                  </a:lnTo>
                  <a:lnTo>
                    <a:pt x="313563" y="1036987"/>
                  </a:lnTo>
                  <a:lnTo>
                    <a:pt x="313563" y="723424"/>
                  </a:lnTo>
                  <a:lnTo>
                    <a:pt x="928497" y="723424"/>
                  </a:lnTo>
                  <a:lnTo>
                    <a:pt x="928497" y="503396"/>
                  </a:lnTo>
                  <a:lnTo>
                    <a:pt x="313563" y="503396"/>
                  </a:lnTo>
                  <a:lnTo>
                    <a:pt x="313563" y="226028"/>
                  </a:lnTo>
                  <a:lnTo>
                    <a:pt x="1368743" y="226028"/>
                  </a:lnTo>
                  <a:lnTo>
                    <a:pt x="1368743" y="0"/>
                  </a:lnTo>
                  <a:lnTo>
                    <a:pt x="0" y="0"/>
                  </a:lnTo>
                  <a:close/>
                </a:path>
              </a:pathLst>
            </a:custGeom>
            <a:grpFill/>
            <a:ln w="9525" cap="flat">
              <a:noFill/>
              <a:prstDash val="solid"/>
              <a:miter/>
            </a:ln>
          </p:spPr>
          <p:txBody>
            <a:bodyPr lIns="0" tIns="0" rIns="0" bIns="0" rtlCol="0" anchor="ctr"/>
            <a:lstStyle/>
            <a:p>
              <a:endParaRPr lang="de-DE" sz="100"/>
            </a:p>
          </p:txBody>
        </p:sp>
        <p:sp>
          <p:nvSpPr>
            <p:cNvPr id="26" name="s">
              <a:extLst>
                <a:ext uri="{FF2B5EF4-FFF2-40B4-BE49-F238E27FC236}">
                  <a16:creationId xmlns:a16="http://schemas.microsoft.com/office/drawing/2014/main" id="{1C21215A-4DE6-4CDB-9908-35D151D4B074}"/>
                </a:ext>
              </a:extLst>
            </p:cNvPr>
            <p:cNvSpPr/>
            <p:nvPr/>
          </p:nvSpPr>
          <p:spPr bwMode="gray">
            <a:xfrm>
              <a:off x="7714202" y="1899666"/>
              <a:ext cx="1495234" cy="1275207"/>
            </a:xfrm>
            <a:custGeom>
              <a:avLst/>
              <a:gdLst>
                <a:gd name="connsiteX0" fmla="*/ 1211770 w 1495234"/>
                <a:gd name="connsiteY0" fmla="*/ 229076 h 1275207"/>
                <a:gd name="connsiteX1" fmla="*/ 1211770 w 1495234"/>
                <a:gd name="connsiteY1" fmla="*/ 348234 h 1275207"/>
                <a:gd name="connsiteX2" fmla="*/ 1479995 w 1495234"/>
                <a:gd name="connsiteY2" fmla="*/ 291084 h 1275207"/>
                <a:gd name="connsiteX3" fmla="*/ 1479995 w 1495234"/>
                <a:gd name="connsiteY3" fmla="*/ 277368 h 1275207"/>
                <a:gd name="connsiteX4" fmla="*/ 1145477 w 1495234"/>
                <a:gd name="connsiteY4" fmla="*/ 0 h 1275207"/>
                <a:gd name="connsiteX5" fmla="*/ 388905 w 1495234"/>
                <a:gd name="connsiteY5" fmla="*/ 0 h 1275207"/>
                <a:gd name="connsiteX6" fmla="*/ 54197 w 1495234"/>
                <a:gd name="connsiteY6" fmla="*/ 301561 h 1275207"/>
                <a:gd name="connsiteX7" fmla="*/ 54197 w 1495234"/>
                <a:gd name="connsiteY7" fmla="*/ 443294 h 1275207"/>
                <a:gd name="connsiteX8" fmla="*/ 388905 w 1495234"/>
                <a:gd name="connsiteY8" fmla="*/ 744665 h 1275207"/>
                <a:gd name="connsiteX9" fmla="*/ 1214818 w 1495234"/>
                <a:gd name="connsiteY9" fmla="*/ 744665 h 1275207"/>
                <a:gd name="connsiteX10" fmla="*/ 1214818 w 1495234"/>
                <a:gd name="connsiteY10" fmla="*/ 1037177 h 1275207"/>
                <a:gd name="connsiteX11" fmla="*/ 277177 w 1495234"/>
                <a:gd name="connsiteY11" fmla="*/ 1037177 h 1275207"/>
                <a:gd name="connsiteX12" fmla="*/ 277177 w 1495234"/>
                <a:gd name="connsiteY12" fmla="*/ 902875 h 1275207"/>
                <a:gd name="connsiteX13" fmla="*/ 0 w 1495234"/>
                <a:gd name="connsiteY13" fmla="*/ 954214 h 1275207"/>
                <a:gd name="connsiteX14" fmla="*/ 0 w 1495234"/>
                <a:gd name="connsiteY14" fmla="*/ 973836 h 1275207"/>
                <a:gd name="connsiteX15" fmla="*/ 334518 w 1495234"/>
                <a:gd name="connsiteY15" fmla="*/ 1275207 h 1275207"/>
                <a:gd name="connsiteX16" fmla="*/ 1163669 w 1495234"/>
                <a:gd name="connsiteY16" fmla="*/ 1275207 h 1275207"/>
                <a:gd name="connsiteX17" fmla="*/ 1495234 w 1495234"/>
                <a:gd name="connsiteY17" fmla="*/ 973836 h 1275207"/>
                <a:gd name="connsiteX18" fmla="*/ 1495234 w 1495234"/>
                <a:gd name="connsiteY18" fmla="*/ 798957 h 1275207"/>
                <a:gd name="connsiteX19" fmla="*/ 1163669 w 1495234"/>
                <a:gd name="connsiteY19" fmla="*/ 497586 h 1275207"/>
                <a:gd name="connsiteX20" fmla="*/ 334518 w 1495234"/>
                <a:gd name="connsiteY20" fmla="*/ 497586 h 1275207"/>
                <a:gd name="connsiteX21" fmla="*/ 334518 w 1495234"/>
                <a:gd name="connsiteY21" fmla="*/ 229076 h 1275207"/>
                <a:gd name="connsiteX22" fmla="*/ 1211770 w 1495234"/>
                <a:gd name="connsiteY22" fmla="*/ 229076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95234" h="1275207">
                  <a:moveTo>
                    <a:pt x="1211770" y="229076"/>
                  </a:moveTo>
                  <a:lnTo>
                    <a:pt x="1211770" y="348234"/>
                  </a:lnTo>
                  <a:lnTo>
                    <a:pt x="1479995" y="291084"/>
                  </a:lnTo>
                  <a:lnTo>
                    <a:pt x="1479995" y="277368"/>
                  </a:lnTo>
                  <a:cubicBezTo>
                    <a:pt x="1479995" y="54388"/>
                    <a:pt x="1380649" y="0"/>
                    <a:pt x="1145477" y="0"/>
                  </a:cubicBezTo>
                  <a:lnTo>
                    <a:pt x="388905" y="0"/>
                  </a:lnTo>
                  <a:cubicBezTo>
                    <a:pt x="138684" y="0"/>
                    <a:pt x="54197" y="60388"/>
                    <a:pt x="54197" y="301561"/>
                  </a:cubicBezTo>
                  <a:lnTo>
                    <a:pt x="54197" y="443294"/>
                  </a:lnTo>
                  <a:cubicBezTo>
                    <a:pt x="54197" y="684467"/>
                    <a:pt x="138684" y="744665"/>
                    <a:pt x="388905" y="744665"/>
                  </a:cubicBezTo>
                  <a:lnTo>
                    <a:pt x="1214818" y="744665"/>
                  </a:lnTo>
                  <a:lnTo>
                    <a:pt x="1214818" y="1037177"/>
                  </a:lnTo>
                  <a:lnTo>
                    <a:pt x="277177" y="1037177"/>
                  </a:lnTo>
                  <a:lnTo>
                    <a:pt x="277177" y="902875"/>
                  </a:lnTo>
                  <a:lnTo>
                    <a:pt x="0" y="954214"/>
                  </a:lnTo>
                  <a:lnTo>
                    <a:pt x="0" y="973836"/>
                  </a:lnTo>
                  <a:cubicBezTo>
                    <a:pt x="0" y="1212056"/>
                    <a:pt x="81343" y="1275207"/>
                    <a:pt x="334518" y="1275207"/>
                  </a:cubicBezTo>
                  <a:lnTo>
                    <a:pt x="1163669" y="1275207"/>
                  </a:lnTo>
                  <a:cubicBezTo>
                    <a:pt x="1416844" y="1275207"/>
                    <a:pt x="1495234" y="1212056"/>
                    <a:pt x="1495234" y="973836"/>
                  </a:cubicBezTo>
                  <a:lnTo>
                    <a:pt x="1495234" y="798957"/>
                  </a:lnTo>
                  <a:cubicBezTo>
                    <a:pt x="1495234" y="557784"/>
                    <a:pt x="1416939" y="497586"/>
                    <a:pt x="1163669" y="497586"/>
                  </a:cubicBezTo>
                  <a:lnTo>
                    <a:pt x="334518" y="497586"/>
                  </a:lnTo>
                  <a:lnTo>
                    <a:pt x="334518" y="229076"/>
                  </a:lnTo>
                  <a:lnTo>
                    <a:pt x="1211770" y="229076"/>
                  </a:lnTo>
                  <a:close/>
                </a:path>
              </a:pathLst>
            </a:custGeom>
            <a:grpFill/>
            <a:ln w="9525" cap="flat">
              <a:noFill/>
              <a:prstDash val="solid"/>
              <a:miter/>
            </a:ln>
          </p:spPr>
          <p:txBody>
            <a:bodyPr lIns="0" tIns="0" rIns="0" bIns="0" rtlCol="0" anchor="ctr"/>
            <a:lstStyle/>
            <a:p>
              <a:endParaRPr lang="de-DE" sz="100"/>
            </a:p>
          </p:txBody>
        </p:sp>
        <p:sp>
          <p:nvSpPr>
            <p:cNvPr id="27" name="&amp;">
              <a:extLst>
                <a:ext uri="{FF2B5EF4-FFF2-40B4-BE49-F238E27FC236}">
                  <a16:creationId xmlns:a16="http://schemas.microsoft.com/office/drawing/2014/main" id="{D54E1555-236D-451B-ADF2-4FE4CD01BF95}"/>
                </a:ext>
              </a:extLst>
            </p:cNvPr>
            <p:cNvSpPr/>
            <p:nvPr/>
          </p:nvSpPr>
          <p:spPr bwMode="gray">
            <a:xfrm>
              <a:off x="9995058" y="1619249"/>
              <a:ext cx="2104263" cy="1555527"/>
            </a:xfrm>
            <a:custGeom>
              <a:avLst/>
              <a:gdLst>
                <a:gd name="connsiteX0" fmla="*/ 304514 w 2104263"/>
                <a:gd name="connsiteY0" fmla="*/ 1284161 h 1555527"/>
                <a:gd name="connsiteX1" fmla="*/ 304514 w 2104263"/>
                <a:gd name="connsiteY1" fmla="*/ 1018985 h 1555527"/>
                <a:gd name="connsiteX2" fmla="*/ 702373 w 2104263"/>
                <a:gd name="connsiteY2" fmla="*/ 771811 h 1555527"/>
                <a:gd name="connsiteX3" fmla="*/ 1169575 w 2104263"/>
                <a:gd name="connsiteY3" fmla="*/ 1160717 h 1555527"/>
                <a:gd name="connsiteX4" fmla="*/ 1024890 w 2104263"/>
                <a:gd name="connsiteY4" fmla="*/ 1284256 h 1555527"/>
                <a:gd name="connsiteX5" fmla="*/ 304514 w 2104263"/>
                <a:gd name="connsiteY5" fmla="*/ 1284256 h 1555527"/>
                <a:gd name="connsiteX6" fmla="*/ 388811 w 2104263"/>
                <a:gd name="connsiteY6" fmla="*/ 1555528 h 1555527"/>
                <a:gd name="connsiteX7" fmla="*/ 943547 w 2104263"/>
                <a:gd name="connsiteY7" fmla="*/ 1555528 h 1555527"/>
                <a:gd name="connsiteX8" fmla="*/ 1235964 w 2104263"/>
                <a:gd name="connsiteY8" fmla="*/ 1461992 h 1555527"/>
                <a:gd name="connsiteX9" fmla="*/ 1374649 w 2104263"/>
                <a:gd name="connsiteY9" fmla="*/ 1338453 h 1555527"/>
                <a:gd name="connsiteX10" fmla="*/ 1630870 w 2104263"/>
                <a:gd name="connsiteY10" fmla="*/ 1555528 h 1555527"/>
                <a:gd name="connsiteX11" fmla="*/ 2104264 w 2104263"/>
                <a:gd name="connsiteY11" fmla="*/ 1555528 h 1555527"/>
                <a:gd name="connsiteX12" fmla="*/ 1612869 w 2104263"/>
                <a:gd name="connsiteY12" fmla="*/ 1142429 h 1555527"/>
                <a:gd name="connsiteX13" fmla="*/ 1971580 w 2104263"/>
                <a:gd name="connsiteY13" fmla="*/ 844106 h 1555527"/>
                <a:gd name="connsiteX14" fmla="*/ 1766507 w 2104263"/>
                <a:gd name="connsiteY14" fmla="*/ 666274 h 1555527"/>
                <a:gd name="connsiteX15" fmla="*/ 1404747 w 2104263"/>
                <a:gd name="connsiteY15" fmla="*/ 967645 h 1555527"/>
                <a:gd name="connsiteX16" fmla="*/ 672180 w 2104263"/>
                <a:gd name="connsiteY16" fmla="*/ 358712 h 1555527"/>
                <a:gd name="connsiteX17" fmla="*/ 672180 w 2104263"/>
                <a:gd name="connsiteY17" fmla="*/ 247174 h 1555527"/>
                <a:gd name="connsiteX18" fmla="*/ 1181767 w 2104263"/>
                <a:gd name="connsiteY18" fmla="*/ 247174 h 1555527"/>
                <a:gd name="connsiteX19" fmla="*/ 1181767 w 2104263"/>
                <a:gd name="connsiteY19" fmla="*/ 455295 h 1555527"/>
                <a:gd name="connsiteX20" fmla="*/ 1461992 w 2104263"/>
                <a:gd name="connsiteY20" fmla="*/ 407099 h 1555527"/>
                <a:gd name="connsiteX21" fmla="*/ 1461992 w 2104263"/>
                <a:gd name="connsiteY21" fmla="*/ 313563 h 1555527"/>
                <a:gd name="connsiteX22" fmla="*/ 1076134 w 2104263"/>
                <a:gd name="connsiteY22" fmla="*/ 0 h 1555527"/>
                <a:gd name="connsiteX23" fmla="*/ 762763 w 2104263"/>
                <a:gd name="connsiteY23" fmla="*/ 0 h 1555527"/>
                <a:gd name="connsiteX24" fmla="*/ 376905 w 2104263"/>
                <a:gd name="connsiteY24" fmla="*/ 283369 h 1555527"/>
                <a:gd name="connsiteX25" fmla="*/ 376905 w 2104263"/>
                <a:gd name="connsiteY25" fmla="*/ 370713 h 1555527"/>
                <a:gd name="connsiteX26" fmla="*/ 509588 w 2104263"/>
                <a:gd name="connsiteY26" fmla="*/ 605885 h 1555527"/>
                <a:gd name="connsiteX27" fmla="*/ 192881 w 2104263"/>
                <a:gd name="connsiteY27" fmla="*/ 795909 h 1555527"/>
                <a:gd name="connsiteX28" fmla="*/ 0 w 2104263"/>
                <a:gd name="connsiteY28" fmla="*/ 1085279 h 1555527"/>
                <a:gd name="connsiteX29" fmla="*/ 0 w 2104263"/>
                <a:gd name="connsiteY29" fmla="*/ 1187768 h 1555527"/>
                <a:gd name="connsiteX30" fmla="*/ 388811 w 2104263"/>
                <a:gd name="connsiteY30" fmla="*/ 1555528 h 155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104263" h="1555527">
                  <a:moveTo>
                    <a:pt x="304514" y="1284161"/>
                  </a:moveTo>
                  <a:lnTo>
                    <a:pt x="304514" y="1018985"/>
                  </a:lnTo>
                  <a:lnTo>
                    <a:pt x="702373" y="771811"/>
                  </a:lnTo>
                  <a:lnTo>
                    <a:pt x="1169575" y="1160717"/>
                  </a:lnTo>
                  <a:lnTo>
                    <a:pt x="1024890" y="1284256"/>
                  </a:lnTo>
                  <a:lnTo>
                    <a:pt x="304514" y="1284256"/>
                  </a:lnTo>
                  <a:close/>
                  <a:moveTo>
                    <a:pt x="388811" y="1555528"/>
                  </a:moveTo>
                  <a:lnTo>
                    <a:pt x="943547" y="1555528"/>
                  </a:lnTo>
                  <a:cubicBezTo>
                    <a:pt x="1073087" y="1555528"/>
                    <a:pt x="1136428" y="1549527"/>
                    <a:pt x="1235964" y="1461992"/>
                  </a:cubicBezTo>
                  <a:lnTo>
                    <a:pt x="1374649" y="1338453"/>
                  </a:lnTo>
                  <a:lnTo>
                    <a:pt x="1630870" y="1555528"/>
                  </a:lnTo>
                  <a:lnTo>
                    <a:pt x="2104264" y="1555528"/>
                  </a:lnTo>
                  <a:lnTo>
                    <a:pt x="1612869" y="1142429"/>
                  </a:lnTo>
                  <a:lnTo>
                    <a:pt x="1971580" y="844106"/>
                  </a:lnTo>
                  <a:lnTo>
                    <a:pt x="1766507" y="666274"/>
                  </a:lnTo>
                  <a:lnTo>
                    <a:pt x="1404747" y="967645"/>
                  </a:lnTo>
                  <a:lnTo>
                    <a:pt x="672180" y="358712"/>
                  </a:lnTo>
                  <a:lnTo>
                    <a:pt x="672180" y="247174"/>
                  </a:lnTo>
                  <a:lnTo>
                    <a:pt x="1181767" y="247174"/>
                  </a:lnTo>
                  <a:lnTo>
                    <a:pt x="1181767" y="455295"/>
                  </a:lnTo>
                  <a:lnTo>
                    <a:pt x="1461992" y="407099"/>
                  </a:lnTo>
                  <a:lnTo>
                    <a:pt x="1461992" y="313563"/>
                  </a:lnTo>
                  <a:cubicBezTo>
                    <a:pt x="1461992" y="60389"/>
                    <a:pt x="1356456" y="0"/>
                    <a:pt x="1076134" y="0"/>
                  </a:cubicBezTo>
                  <a:lnTo>
                    <a:pt x="762763" y="0"/>
                  </a:lnTo>
                  <a:cubicBezTo>
                    <a:pt x="497395" y="0"/>
                    <a:pt x="376905" y="60389"/>
                    <a:pt x="376905" y="283369"/>
                  </a:cubicBezTo>
                  <a:lnTo>
                    <a:pt x="376905" y="370713"/>
                  </a:lnTo>
                  <a:cubicBezTo>
                    <a:pt x="376905" y="461200"/>
                    <a:pt x="419100" y="530543"/>
                    <a:pt x="509588" y="605885"/>
                  </a:cubicBezTo>
                  <a:lnTo>
                    <a:pt x="192881" y="795909"/>
                  </a:lnTo>
                  <a:cubicBezTo>
                    <a:pt x="57341" y="877253"/>
                    <a:pt x="0" y="925449"/>
                    <a:pt x="0" y="1085279"/>
                  </a:cubicBezTo>
                  <a:lnTo>
                    <a:pt x="0" y="1187768"/>
                  </a:lnTo>
                  <a:cubicBezTo>
                    <a:pt x="0" y="1480185"/>
                    <a:pt x="96488" y="1555528"/>
                    <a:pt x="388811" y="1555528"/>
                  </a:cubicBezTo>
                </a:path>
              </a:pathLst>
            </a:custGeom>
            <a:grpFill/>
            <a:ln w="9525" cap="flat">
              <a:noFill/>
              <a:prstDash val="solid"/>
              <a:miter/>
            </a:ln>
          </p:spPr>
          <p:txBody>
            <a:bodyPr lIns="0" tIns="0" rIns="0" bIns="0" rtlCol="0" anchor="ctr"/>
            <a:lstStyle/>
            <a:p>
              <a:endParaRPr lang="de-DE" sz="100"/>
            </a:p>
          </p:txBody>
        </p:sp>
        <p:sp>
          <p:nvSpPr>
            <p:cNvPr id="28" name="s">
              <a:extLst>
                <a:ext uri="{FF2B5EF4-FFF2-40B4-BE49-F238E27FC236}">
                  <a16:creationId xmlns:a16="http://schemas.microsoft.com/office/drawing/2014/main" id="{5EAEB845-9E79-4338-9665-0C2735B94C3B}"/>
                </a:ext>
              </a:extLst>
            </p:cNvPr>
            <p:cNvSpPr/>
            <p:nvPr/>
          </p:nvSpPr>
          <p:spPr bwMode="gray">
            <a:xfrm>
              <a:off x="95250" y="3686079"/>
              <a:ext cx="1739645" cy="1555527"/>
            </a:xfrm>
            <a:custGeom>
              <a:avLst/>
              <a:gdLst>
                <a:gd name="connsiteX0" fmla="*/ 1398842 w 1739645"/>
                <a:gd name="connsiteY0" fmla="*/ 271367 h 1555527"/>
                <a:gd name="connsiteX1" fmla="*/ 1398842 w 1739645"/>
                <a:gd name="connsiteY1" fmla="*/ 439865 h 1555527"/>
                <a:gd name="connsiteX2" fmla="*/ 1718405 w 1739645"/>
                <a:gd name="connsiteY2" fmla="*/ 364522 h 1555527"/>
                <a:gd name="connsiteX3" fmla="*/ 1718405 w 1739645"/>
                <a:gd name="connsiteY3" fmla="*/ 340709 h 1555527"/>
                <a:gd name="connsiteX4" fmla="*/ 1332548 w 1739645"/>
                <a:gd name="connsiteY4" fmla="*/ 0 h 1555527"/>
                <a:gd name="connsiteX5" fmla="*/ 449199 w 1739645"/>
                <a:gd name="connsiteY5" fmla="*/ 0 h 1555527"/>
                <a:gd name="connsiteX6" fmla="*/ 63341 w 1739645"/>
                <a:gd name="connsiteY6" fmla="*/ 367855 h 1555527"/>
                <a:gd name="connsiteX7" fmla="*/ 63341 w 1739645"/>
                <a:gd name="connsiteY7" fmla="*/ 539496 h 1555527"/>
                <a:gd name="connsiteX8" fmla="*/ 449199 w 1739645"/>
                <a:gd name="connsiteY8" fmla="*/ 907351 h 1555527"/>
                <a:gd name="connsiteX9" fmla="*/ 1419987 w 1739645"/>
                <a:gd name="connsiteY9" fmla="*/ 907351 h 1555527"/>
                <a:gd name="connsiteX10" fmla="*/ 1419987 w 1739645"/>
                <a:gd name="connsiteY10" fmla="*/ 1263110 h 1555527"/>
                <a:gd name="connsiteX11" fmla="*/ 319754 w 1739645"/>
                <a:gd name="connsiteY11" fmla="*/ 1263110 h 1555527"/>
                <a:gd name="connsiteX12" fmla="*/ 319754 w 1739645"/>
                <a:gd name="connsiteY12" fmla="*/ 1095661 h 1555527"/>
                <a:gd name="connsiteX13" fmla="*/ 0 w 1739645"/>
                <a:gd name="connsiteY13" fmla="*/ 1162050 h 1555527"/>
                <a:gd name="connsiteX14" fmla="*/ 0 w 1739645"/>
                <a:gd name="connsiteY14" fmla="*/ 1187768 h 1555527"/>
                <a:gd name="connsiteX15" fmla="*/ 388906 w 1739645"/>
                <a:gd name="connsiteY15" fmla="*/ 1555528 h 1555527"/>
                <a:gd name="connsiteX16" fmla="*/ 1350740 w 1739645"/>
                <a:gd name="connsiteY16" fmla="*/ 1555528 h 1555527"/>
                <a:gd name="connsiteX17" fmla="*/ 1739646 w 1739645"/>
                <a:gd name="connsiteY17" fmla="*/ 1187768 h 1555527"/>
                <a:gd name="connsiteX18" fmla="*/ 1739646 w 1739645"/>
                <a:gd name="connsiteY18" fmla="*/ 973741 h 1555527"/>
                <a:gd name="connsiteX19" fmla="*/ 1350740 w 1739645"/>
                <a:gd name="connsiteY19" fmla="*/ 605885 h 1555527"/>
                <a:gd name="connsiteX20" fmla="*/ 379857 w 1739645"/>
                <a:gd name="connsiteY20" fmla="*/ 605885 h 1555527"/>
                <a:gd name="connsiteX21" fmla="*/ 379857 w 1739645"/>
                <a:gd name="connsiteY21" fmla="*/ 271367 h 1555527"/>
                <a:gd name="connsiteX22" fmla="*/ 1398842 w 1739645"/>
                <a:gd name="connsiteY22" fmla="*/ 271367 h 155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39645" h="1555527">
                  <a:moveTo>
                    <a:pt x="1398842" y="271367"/>
                  </a:moveTo>
                  <a:lnTo>
                    <a:pt x="1398842" y="439865"/>
                  </a:lnTo>
                  <a:lnTo>
                    <a:pt x="1718405" y="364522"/>
                  </a:lnTo>
                  <a:lnTo>
                    <a:pt x="1718405" y="340709"/>
                  </a:lnTo>
                  <a:cubicBezTo>
                    <a:pt x="1718405" y="72295"/>
                    <a:pt x="1609916" y="0"/>
                    <a:pt x="1332548" y="0"/>
                  </a:cubicBezTo>
                  <a:lnTo>
                    <a:pt x="449199" y="0"/>
                  </a:lnTo>
                  <a:cubicBezTo>
                    <a:pt x="156781" y="0"/>
                    <a:pt x="63341" y="75343"/>
                    <a:pt x="63341" y="367855"/>
                  </a:cubicBezTo>
                  <a:lnTo>
                    <a:pt x="63341" y="539496"/>
                  </a:lnTo>
                  <a:cubicBezTo>
                    <a:pt x="63341" y="832009"/>
                    <a:pt x="156877" y="907351"/>
                    <a:pt x="449199" y="907351"/>
                  </a:cubicBezTo>
                  <a:lnTo>
                    <a:pt x="1419987" y="907351"/>
                  </a:lnTo>
                  <a:lnTo>
                    <a:pt x="1419987" y="1263110"/>
                  </a:lnTo>
                  <a:lnTo>
                    <a:pt x="319754" y="1263110"/>
                  </a:lnTo>
                  <a:lnTo>
                    <a:pt x="319754" y="1095661"/>
                  </a:lnTo>
                  <a:lnTo>
                    <a:pt x="0" y="1162050"/>
                  </a:lnTo>
                  <a:lnTo>
                    <a:pt x="0" y="1187768"/>
                  </a:lnTo>
                  <a:cubicBezTo>
                    <a:pt x="0" y="1480185"/>
                    <a:pt x="96488" y="1555528"/>
                    <a:pt x="388906" y="1555528"/>
                  </a:cubicBezTo>
                  <a:lnTo>
                    <a:pt x="1350740" y="1555528"/>
                  </a:lnTo>
                  <a:cubicBezTo>
                    <a:pt x="1643158" y="1555528"/>
                    <a:pt x="1739646" y="1480185"/>
                    <a:pt x="1739646" y="1187768"/>
                  </a:cubicBezTo>
                  <a:lnTo>
                    <a:pt x="1739646" y="973741"/>
                  </a:lnTo>
                  <a:cubicBezTo>
                    <a:pt x="1739646" y="681228"/>
                    <a:pt x="1643158" y="605885"/>
                    <a:pt x="1350740" y="605885"/>
                  </a:cubicBezTo>
                  <a:lnTo>
                    <a:pt x="379857" y="605885"/>
                  </a:lnTo>
                  <a:lnTo>
                    <a:pt x="379857" y="271367"/>
                  </a:lnTo>
                  <a:lnTo>
                    <a:pt x="1398842" y="271367"/>
                  </a:lnTo>
                  <a:close/>
                </a:path>
              </a:pathLst>
            </a:custGeom>
            <a:grpFill/>
            <a:ln w="9525" cap="flat">
              <a:noFill/>
              <a:prstDash val="solid"/>
              <a:miter/>
            </a:ln>
          </p:spPr>
          <p:txBody>
            <a:bodyPr lIns="0" tIns="0" rIns="0" bIns="0" rtlCol="0" anchor="ctr"/>
            <a:lstStyle/>
            <a:p>
              <a:endParaRPr lang="de-DE" sz="100"/>
            </a:p>
          </p:txBody>
        </p:sp>
        <p:sp>
          <p:nvSpPr>
            <p:cNvPr id="29" name="o">
              <a:extLst>
                <a:ext uri="{FF2B5EF4-FFF2-40B4-BE49-F238E27FC236}">
                  <a16:creationId xmlns:a16="http://schemas.microsoft.com/office/drawing/2014/main" id="{DF1FBB60-B2D3-4FBC-9E38-D485EF50542D}"/>
                </a:ext>
              </a:extLst>
            </p:cNvPr>
            <p:cNvSpPr/>
            <p:nvPr/>
          </p:nvSpPr>
          <p:spPr bwMode="gray">
            <a:xfrm>
              <a:off x="2206942" y="3966591"/>
              <a:ext cx="1682019" cy="1275207"/>
            </a:xfrm>
            <a:custGeom>
              <a:avLst/>
              <a:gdLst>
                <a:gd name="connsiteX0" fmla="*/ 326041 w 1682019"/>
                <a:gd name="connsiteY0" fmla="*/ 234982 h 1275207"/>
                <a:gd name="connsiteX1" fmla="*/ 1374648 w 1682019"/>
                <a:gd name="connsiteY1" fmla="*/ 234982 h 1275207"/>
                <a:gd name="connsiteX2" fmla="*/ 1374648 w 1682019"/>
                <a:gd name="connsiteY2" fmla="*/ 1030891 h 1275207"/>
                <a:gd name="connsiteX3" fmla="*/ 326041 w 1682019"/>
                <a:gd name="connsiteY3" fmla="*/ 1030891 h 1275207"/>
                <a:gd name="connsiteX4" fmla="*/ 326041 w 1682019"/>
                <a:gd name="connsiteY4" fmla="*/ 234982 h 1275207"/>
                <a:gd name="connsiteX5" fmla="*/ 0 w 1682019"/>
                <a:gd name="connsiteY5" fmla="*/ 301371 h 1275207"/>
                <a:gd name="connsiteX6" fmla="*/ 0 w 1682019"/>
                <a:gd name="connsiteY6" fmla="*/ 973646 h 1275207"/>
                <a:gd name="connsiteX7" fmla="*/ 338233 w 1682019"/>
                <a:gd name="connsiteY7" fmla="*/ 1275207 h 1275207"/>
                <a:gd name="connsiteX8" fmla="*/ 1343787 w 1682019"/>
                <a:gd name="connsiteY8" fmla="*/ 1275207 h 1275207"/>
                <a:gd name="connsiteX9" fmla="*/ 1682020 w 1682019"/>
                <a:gd name="connsiteY9" fmla="*/ 973646 h 1275207"/>
                <a:gd name="connsiteX10" fmla="*/ 1682020 w 1682019"/>
                <a:gd name="connsiteY10" fmla="*/ 301371 h 1275207"/>
                <a:gd name="connsiteX11" fmla="*/ 1343787 w 1682019"/>
                <a:gd name="connsiteY11" fmla="*/ 0 h 1275207"/>
                <a:gd name="connsiteX12" fmla="*/ 338233 w 1682019"/>
                <a:gd name="connsiteY12" fmla="*/ 0 h 1275207"/>
                <a:gd name="connsiteX13" fmla="*/ 0 w 1682019"/>
                <a:gd name="connsiteY13" fmla="*/ 301371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82019" h="1275207">
                  <a:moveTo>
                    <a:pt x="326041" y="234982"/>
                  </a:moveTo>
                  <a:lnTo>
                    <a:pt x="1374648" y="234982"/>
                  </a:lnTo>
                  <a:lnTo>
                    <a:pt x="1374648" y="1030891"/>
                  </a:lnTo>
                  <a:lnTo>
                    <a:pt x="326041" y="1030891"/>
                  </a:lnTo>
                  <a:lnTo>
                    <a:pt x="326041" y="234982"/>
                  </a:lnTo>
                  <a:close/>
                  <a:moveTo>
                    <a:pt x="0" y="301371"/>
                  </a:moveTo>
                  <a:lnTo>
                    <a:pt x="0" y="973646"/>
                  </a:lnTo>
                  <a:cubicBezTo>
                    <a:pt x="0" y="1214819"/>
                    <a:pt x="79915" y="1275207"/>
                    <a:pt x="338233" y="1275207"/>
                  </a:cubicBezTo>
                  <a:lnTo>
                    <a:pt x="1343787" y="1275207"/>
                  </a:lnTo>
                  <a:cubicBezTo>
                    <a:pt x="1598962" y="1275207"/>
                    <a:pt x="1682020" y="1214819"/>
                    <a:pt x="1682020" y="973646"/>
                  </a:cubicBezTo>
                  <a:lnTo>
                    <a:pt x="1682020" y="301371"/>
                  </a:lnTo>
                  <a:cubicBezTo>
                    <a:pt x="1682020" y="57150"/>
                    <a:pt x="1598867" y="0"/>
                    <a:pt x="1343787" y="0"/>
                  </a:cubicBezTo>
                  <a:lnTo>
                    <a:pt x="338233" y="0"/>
                  </a:lnTo>
                  <a:cubicBezTo>
                    <a:pt x="83153" y="0"/>
                    <a:pt x="0" y="57150"/>
                    <a:pt x="0" y="301371"/>
                  </a:cubicBezTo>
                </a:path>
              </a:pathLst>
            </a:custGeom>
            <a:grpFill/>
            <a:ln w="9525" cap="flat">
              <a:noFill/>
              <a:prstDash val="solid"/>
              <a:miter/>
            </a:ln>
          </p:spPr>
          <p:txBody>
            <a:bodyPr lIns="0" tIns="0" rIns="0" bIns="0" rtlCol="0" anchor="ctr"/>
            <a:lstStyle/>
            <a:p>
              <a:endParaRPr lang="de-DE" sz="100"/>
            </a:p>
          </p:txBody>
        </p:sp>
        <p:sp>
          <p:nvSpPr>
            <p:cNvPr id="30" name="m">
              <a:extLst>
                <a:ext uri="{FF2B5EF4-FFF2-40B4-BE49-F238E27FC236}">
                  <a16:creationId xmlns:a16="http://schemas.microsoft.com/office/drawing/2014/main" id="{BC9E3E74-4A0C-4DA9-AA93-703FA6A38B9E}"/>
                </a:ext>
              </a:extLst>
            </p:cNvPr>
            <p:cNvSpPr/>
            <p:nvPr/>
          </p:nvSpPr>
          <p:spPr bwMode="gray">
            <a:xfrm>
              <a:off x="4290155" y="3966495"/>
              <a:ext cx="1815750" cy="1275207"/>
            </a:xfrm>
            <a:custGeom>
              <a:avLst/>
              <a:gdLst>
                <a:gd name="connsiteX0" fmla="*/ 1560576 w 1815750"/>
                <a:gd name="connsiteY0" fmla="*/ 0 h 1275207"/>
                <a:gd name="connsiteX1" fmla="*/ 927163 w 1815750"/>
                <a:gd name="connsiteY1" fmla="*/ 756571 h 1275207"/>
                <a:gd name="connsiteX2" fmla="*/ 290703 w 1815750"/>
                <a:gd name="connsiteY2" fmla="*/ 0 h 1275207"/>
                <a:gd name="connsiteX3" fmla="*/ 0 w 1815750"/>
                <a:gd name="connsiteY3" fmla="*/ 0 h 1275207"/>
                <a:gd name="connsiteX4" fmla="*/ 0 w 1815750"/>
                <a:gd name="connsiteY4" fmla="*/ 1275207 h 1275207"/>
                <a:gd name="connsiteX5" fmla="*/ 290703 w 1815750"/>
                <a:gd name="connsiteY5" fmla="*/ 1275207 h 1275207"/>
                <a:gd name="connsiteX6" fmla="*/ 290703 w 1815750"/>
                <a:gd name="connsiteY6" fmla="*/ 419100 h 1275207"/>
                <a:gd name="connsiteX7" fmla="*/ 877919 w 1815750"/>
                <a:gd name="connsiteY7" fmla="*/ 1121474 h 1275207"/>
                <a:gd name="connsiteX8" fmla="*/ 939356 w 1815750"/>
                <a:gd name="connsiteY8" fmla="*/ 1121474 h 1275207"/>
                <a:gd name="connsiteX9" fmla="*/ 1520571 w 1815750"/>
                <a:gd name="connsiteY9" fmla="*/ 397859 h 1275207"/>
                <a:gd name="connsiteX10" fmla="*/ 1520571 w 1815750"/>
                <a:gd name="connsiteY10" fmla="*/ 1275207 h 1275207"/>
                <a:gd name="connsiteX11" fmla="*/ 1815751 w 1815750"/>
                <a:gd name="connsiteY11" fmla="*/ 1275207 h 1275207"/>
                <a:gd name="connsiteX12" fmla="*/ 1815751 w 1815750"/>
                <a:gd name="connsiteY12" fmla="*/ 0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5750" h="1275207">
                  <a:moveTo>
                    <a:pt x="1560576" y="0"/>
                  </a:moveTo>
                  <a:lnTo>
                    <a:pt x="927163" y="756571"/>
                  </a:lnTo>
                  <a:lnTo>
                    <a:pt x="290703" y="0"/>
                  </a:lnTo>
                  <a:lnTo>
                    <a:pt x="0" y="0"/>
                  </a:lnTo>
                  <a:lnTo>
                    <a:pt x="0" y="1275207"/>
                  </a:lnTo>
                  <a:lnTo>
                    <a:pt x="290703" y="1275207"/>
                  </a:lnTo>
                  <a:lnTo>
                    <a:pt x="290703" y="419100"/>
                  </a:lnTo>
                  <a:lnTo>
                    <a:pt x="877919" y="1121474"/>
                  </a:lnTo>
                  <a:lnTo>
                    <a:pt x="939356" y="1121474"/>
                  </a:lnTo>
                  <a:lnTo>
                    <a:pt x="1520571" y="397859"/>
                  </a:lnTo>
                  <a:lnTo>
                    <a:pt x="1520571" y="1275207"/>
                  </a:lnTo>
                  <a:lnTo>
                    <a:pt x="1815751" y="1275207"/>
                  </a:lnTo>
                  <a:lnTo>
                    <a:pt x="1815751" y="0"/>
                  </a:lnTo>
                  <a:close/>
                </a:path>
              </a:pathLst>
            </a:custGeom>
            <a:grpFill/>
            <a:ln w="9525" cap="flat">
              <a:noFill/>
              <a:prstDash val="solid"/>
              <a:miter/>
            </a:ln>
          </p:spPr>
          <p:txBody>
            <a:bodyPr lIns="0" tIns="0" rIns="0" bIns="0" rtlCol="0" anchor="ctr"/>
            <a:lstStyle/>
            <a:p>
              <a:endParaRPr lang="de-DE" sz="100"/>
            </a:p>
          </p:txBody>
        </p:sp>
        <p:sp>
          <p:nvSpPr>
            <p:cNvPr id="31" name="m">
              <a:extLst>
                <a:ext uri="{FF2B5EF4-FFF2-40B4-BE49-F238E27FC236}">
                  <a16:creationId xmlns:a16="http://schemas.microsoft.com/office/drawing/2014/main" id="{9D1CC7BA-D7CB-44B2-92C3-84020751560F}"/>
                </a:ext>
              </a:extLst>
            </p:cNvPr>
            <p:cNvSpPr/>
            <p:nvPr/>
          </p:nvSpPr>
          <p:spPr bwMode="gray">
            <a:xfrm>
              <a:off x="6535102" y="3966495"/>
              <a:ext cx="1815750" cy="1275207"/>
            </a:xfrm>
            <a:custGeom>
              <a:avLst/>
              <a:gdLst>
                <a:gd name="connsiteX0" fmla="*/ 1560672 w 1815750"/>
                <a:gd name="connsiteY0" fmla="*/ 0 h 1275207"/>
                <a:gd name="connsiteX1" fmla="*/ 927164 w 1815750"/>
                <a:gd name="connsiteY1" fmla="*/ 756571 h 1275207"/>
                <a:gd name="connsiteX2" fmla="*/ 290799 w 1815750"/>
                <a:gd name="connsiteY2" fmla="*/ 0 h 1275207"/>
                <a:gd name="connsiteX3" fmla="*/ 0 w 1815750"/>
                <a:gd name="connsiteY3" fmla="*/ 0 h 1275207"/>
                <a:gd name="connsiteX4" fmla="*/ 0 w 1815750"/>
                <a:gd name="connsiteY4" fmla="*/ 1275207 h 1275207"/>
                <a:gd name="connsiteX5" fmla="*/ 290799 w 1815750"/>
                <a:gd name="connsiteY5" fmla="*/ 1275207 h 1275207"/>
                <a:gd name="connsiteX6" fmla="*/ 290799 w 1815750"/>
                <a:gd name="connsiteY6" fmla="*/ 419100 h 1275207"/>
                <a:gd name="connsiteX7" fmla="*/ 878015 w 1815750"/>
                <a:gd name="connsiteY7" fmla="*/ 1121474 h 1275207"/>
                <a:gd name="connsiteX8" fmla="*/ 939546 w 1815750"/>
                <a:gd name="connsiteY8" fmla="*/ 1121474 h 1275207"/>
                <a:gd name="connsiteX9" fmla="*/ 1520571 w 1815750"/>
                <a:gd name="connsiteY9" fmla="*/ 397859 h 1275207"/>
                <a:gd name="connsiteX10" fmla="*/ 1520571 w 1815750"/>
                <a:gd name="connsiteY10" fmla="*/ 1275207 h 1275207"/>
                <a:gd name="connsiteX11" fmla="*/ 1815751 w 1815750"/>
                <a:gd name="connsiteY11" fmla="*/ 1275207 h 1275207"/>
                <a:gd name="connsiteX12" fmla="*/ 1815751 w 1815750"/>
                <a:gd name="connsiteY12" fmla="*/ 0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5750" h="1275207">
                  <a:moveTo>
                    <a:pt x="1560672" y="0"/>
                  </a:moveTo>
                  <a:lnTo>
                    <a:pt x="927164" y="756571"/>
                  </a:lnTo>
                  <a:lnTo>
                    <a:pt x="290799" y="0"/>
                  </a:lnTo>
                  <a:lnTo>
                    <a:pt x="0" y="0"/>
                  </a:lnTo>
                  <a:lnTo>
                    <a:pt x="0" y="1275207"/>
                  </a:lnTo>
                  <a:lnTo>
                    <a:pt x="290799" y="1275207"/>
                  </a:lnTo>
                  <a:lnTo>
                    <a:pt x="290799" y="419100"/>
                  </a:lnTo>
                  <a:lnTo>
                    <a:pt x="878015" y="1121474"/>
                  </a:lnTo>
                  <a:lnTo>
                    <a:pt x="939546" y="1121474"/>
                  </a:lnTo>
                  <a:lnTo>
                    <a:pt x="1520571" y="397859"/>
                  </a:lnTo>
                  <a:lnTo>
                    <a:pt x="1520571" y="1275207"/>
                  </a:lnTo>
                  <a:lnTo>
                    <a:pt x="1815751" y="1275207"/>
                  </a:lnTo>
                  <a:lnTo>
                    <a:pt x="1815751" y="0"/>
                  </a:lnTo>
                  <a:close/>
                </a:path>
              </a:pathLst>
            </a:custGeom>
            <a:grpFill/>
            <a:ln w="9525" cap="flat">
              <a:noFill/>
              <a:prstDash val="solid"/>
              <a:miter/>
            </a:ln>
          </p:spPr>
          <p:txBody>
            <a:bodyPr lIns="0" tIns="0" rIns="0" bIns="0" rtlCol="0" anchor="ctr"/>
            <a:lstStyle/>
            <a:p>
              <a:endParaRPr lang="de-DE" sz="100"/>
            </a:p>
          </p:txBody>
        </p:sp>
        <p:sp>
          <p:nvSpPr>
            <p:cNvPr id="32" name="e">
              <a:extLst>
                <a:ext uri="{FF2B5EF4-FFF2-40B4-BE49-F238E27FC236}">
                  <a16:creationId xmlns:a16="http://schemas.microsoft.com/office/drawing/2014/main" id="{003F2468-26C0-406C-A17D-50679D8F7AA7}"/>
                </a:ext>
              </a:extLst>
            </p:cNvPr>
            <p:cNvSpPr/>
            <p:nvPr/>
          </p:nvSpPr>
          <p:spPr bwMode="gray">
            <a:xfrm>
              <a:off x="8765762" y="3966495"/>
              <a:ext cx="1411319" cy="1275207"/>
            </a:xfrm>
            <a:custGeom>
              <a:avLst/>
              <a:gdLst>
                <a:gd name="connsiteX0" fmla="*/ 0 w 1411319"/>
                <a:gd name="connsiteY0" fmla="*/ 0 h 1275207"/>
                <a:gd name="connsiteX1" fmla="*/ 0 w 1411319"/>
                <a:gd name="connsiteY1" fmla="*/ 1275207 h 1275207"/>
                <a:gd name="connsiteX2" fmla="*/ 1411319 w 1411319"/>
                <a:gd name="connsiteY2" fmla="*/ 1275207 h 1275207"/>
                <a:gd name="connsiteX3" fmla="*/ 1411319 w 1411319"/>
                <a:gd name="connsiteY3" fmla="*/ 1036987 h 1275207"/>
                <a:gd name="connsiteX4" fmla="*/ 319850 w 1411319"/>
                <a:gd name="connsiteY4" fmla="*/ 1036987 h 1275207"/>
                <a:gd name="connsiteX5" fmla="*/ 319850 w 1411319"/>
                <a:gd name="connsiteY5" fmla="*/ 723424 h 1275207"/>
                <a:gd name="connsiteX6" fmla="*/ 947166 w 1411319"/>
                <a:gd name="connsiteY6" fmla="*/ 723424 h 1275207"/>
                <a:gd name="connsiteX7" fmla="*/ 947166 w 1411319"/>
                <a:gd name="connsiteY7" fmla="*/ 503396 h 1275207"/>
                <a:gd name="connsiteX8" fmla="*/ 319850 w 1411319"/>
                <a:gd name="connsiteY8" fmla="*/ 503396 h 1275207"/>
                <a:gd name="connsiteX9" fmla="*/ 319850 w 1411319"/>
                <a:gd name="connsiteY9" fmla="*/ 226219 h 1275207"/>
                <a:gd name="connsiteX10" fmla="*/ 1395984 w 1411319"/>
                <a:gd name="connsiteY10" fmla="*/ 226219 h 1275207"/>
                <a:gd name="connsiteX11" fmla="*/ 1395984 w 1411319"/>
                <a:gd name="connsiteY11" fmla="*/ 0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11319" h="1275207">
                  <a:moveTo>
                    <a:pt x="0" y="0"/>
                  </a:moveTo>
                  <a:lnTo>
                    <a:pt x="0" y="1275207"/>
                  </a:lnTo>
                  <a:lnTo>
                    <a:pt x="1411319" y="1275207"/>
                  </a:lnTo>
                  <a:lnTo>
                    <a:pt x="1411319" y="1036987"/>
                  </a:lnTo>
                  <a:lnTo>
                    <a:pt x="319850" y="1036987"/>
                  </a:lnTo>
                  <a:lnTo>
                    <a:pt x="319850" y="723424"/>
                  </a:lnTo>
                  <a:lnTo>
                    <a:pt x="947166" y="723424"/>
                  </a:lnTo>
                  <a:lnTo>
                    <a:pt x="947166" y="503396"/>
                  </a:lnTo>
                  <a:lnTo>
                    <a:pt x="319850" y="503396"/>
                  </a:lnTo>
                  <a:lnTo>
                    <a:pt x="319850" y="226219"/>
                  </a:lnTo>
                  <a:lnTo>
                    <a:pt x="1395984" y="226219"/>
                  </a:lnTo>
                  <a:lnTo>
                    <a:pt x="1395984" y="0"/>
                  </a:lnTo>
                  <a:close/>
                </a:path>
              </a:pathLst>
            </a:custGeom>
            <a:grpFill/>
            <a:ln w="9525" cap="flat">
              <a:noFill/>
              <a:prstDash val="solid"/>
              <a:miter/>
            </a:ln>
          </p:spPr>
          <p:txBody>
            <a:bodyPr lIns="0" tIns="0" rIns="0" bIns="0" rtlCol="0" anchor="ctr"/>
            <a:lstStyle/>
            <a:p>
              <a:endParaRPr lang="de-DE" sz="100"/>
            </a:p>
          </p:txBody>
        </p:sp>
        <p:sp>
          <p:nvSpPr>
            <p:cNvPr id="33" name="r">
              <a:extLst>
                <a:ext uri="{FF2B5EF4-FFF2-40B4-BE49-F238E27FC236}">
                  <a16:creationId xmlns:a16="http://schemas.microsoft.com/office/drawing/2014/main" id="{D9CF7EEA-A666-4706-A10E-CC0DEC4C4EFD}"/>
                </a:ext>
              </a:extLst>
            </p:cNvPr>
            <p:cNvSpPr/>
            <p:nvPr/>
          </p:nvSpPr>
          <p:spPr bwMode="gray">
            <a:xfrm>
              <a:off x="10504359" y="3966495"/>
              <a:ext cx="1579817" cy="1275207"/>
            </a:xfrm>
            <a:custGeom>
              <a:avLst/>
              <a:gdLst>
                <a:gd name="connsiteX0" fmla="*/ 1015937 w 1579817"/>
                <a:gd name="connsiteY0" fmla="*/ 220028 h 1275207"/>
                <a:gd name="connsiteX1" fmla="*/ 1157669 w 1579817"/>
                <a:gd name="connsiteY1" fmla="*/ 322517 h 1275207"/>
                <a:gd name="connsiteX2" fmla="*/ 1157669 w 1579817"/>
                <a:gd name="connsiteY2" fmla="*/ 470249 h 1275207"/>
                <a:gd name="connsiteX3" fmla="*/ 1015937 w 1579817"/>
                <a:gd name="connsiteY3" fmla="*/ 572738 h 1275207"/>
                <a:gd name="connsiteX4" fmla="*/ 307467 w 1579817"/>
                <a:gd name="connsiteY4" fmla="*/ 572738 h 1275207"/>
                <a:gd name="connsiteX5" fmla="*/ 307467 w 1579817"/>
                <a:gd name="connsiteY5" fmla="*/ 220028 h 1275207"/>
                <a:gd name="connsiteX6" fmla="*/ 1015937 w 1579817"/>
                <a:gd name="connsiteY6" fmla="*/ 220028 h 1275207"/>
                <a:gd name="connsiteX7" fmla="*/ 0 w 1579817"/>
                <a:gd name="connsiteY7" fmla="*/ 1275207 h 1275207"/>
                <a:gd name="connsiteX8" fmla="*/ 307563 w 1579817"/>
                <a:gd name="connsiteY8" fmla="*/ 1275207 h 1275207"/>
                <a:gd name="connsiteX9" fmla="*/ 307563 w 1579817"/>
                <a:gd name="connsiteY9" fmla="*/ 792766 h 1275207"/>
                <a:gd name="connsiteX10" fmla="*/ 599981 w 1579817"/>
                <a:gd name="connsiteY10" fmla="*/ 792766 h 1275207"/>
                <a:gd name="connsiteX11" fmla="*/ 1133570 w 1579817"/>
                <a:gd name="connsiteY11" fmla="*/ 1275207 h 1275207"/>
                <a:gd name="connsiteX12" fmla="*/ 1579818 w 1579817"/>
                <a:gd name="connsiteY12" fmla="*/ 1275207 h 1275207"/>
                <a:gd name="connsiteX13" fmla="*/ 973931 w 1579817"/>
                <a:gd name="connsiteY13" fmla="*/ 792766 h 1275207"/>
                <a:gd name="connsiteX14" fmla="*/ 1148811 w 1579817"/>
                <a:gd name="connsiteY14" fmla="*/ 792766 h 1275207"/>
                <a:gd name="connsiteX15" fmla="*/ 1447229 w 1579817"/>
                <a:gd name="connsiteY15" fmla="*/ 548545 h 1275207"/>
                <a:gd name="connsiteX16" fmla="*/ 1447229 w 1579817"/>
                <a:gd name="connsiteY16" fmla="*/ 247174 h 1275207"/>
                <a:gd name="connsiteX17" fmla="*/ 1148811 w 1579817"/>
                <a:gd name="connsiteY17" fmla="*/ 0 h 1275207"/>
                <a:gd name="connsiteX18" fmla="*/ 191 w 1579817"/>
                <a:gd name="connsiteY18" fmla="*/ 0 h 1275207"/>
                <a:gd name="connsiteX19" fmla="*/ 191 w 1579817"/>
                <a:gd name="connsiteY19" fmla="*/ 1275207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79817" h="1275207">
                  <a:moveTo>
                    <a:pt x="1015937" y="220028"/>
                  </a:moveTo>
                  <a:cubicBezTo>
                    <a:pt x="1109282" y="220028"/>
                    <a:pt x="1157669" y="238220"/>
                    <a:pt x="1157669" y="322517"/>
                  </a:cubicBezTo>
                  <a:lnTo>
                    <a:pt x="1157669" y="470249"/>
                  </a:lnTo>
                  <a:cubicBezTo>
                    <a:pt x="1157669" y="554736"/>
                    <a:pt x="1109282" y="572738"/>
                    <a:pt x="1015937" y="572738"/>
                  </a:cubicBezTo>
                  <a:lnTo>
                    <a:pt x="307467" y="572738"/>
                  </a:lnTo>
                  <a:lnTo>
                    <a:pt x="307467" y="220028"/>
                  </a:lnTo>
                  <a:lnTo>
                    <a:pt x="1015937" y="220028"/>
                  </a:lnTo>
                  <a:close/>
                  <a:moveTo>
                    <a:pt x="0" y="1275207"/>
                  </a:moveTo>
                  <a:lnTo>
                    <a:pt x="307563" y="1275207"/>
                  </a:lnTo>
                  <a:lnTo>
                    <a:pt x="307563" y="792766"/>
                  </a:lnTo>
                  <a:lnTo>
                    <a:pt x="599981" y="792766"/>
                  </a:lnTo>
                  <a:lnTo>
                    <a:pt x="1133570" y="1275207"/>
                  </a:lnTo>
                  <a:lnTo>
                    <a:pt x="1579818" y="1275207"/>
                  </a:lnTo>
                  <a:lnTo>
                    <a:pt x="973931" y="792766"/>
                  </a:lnTo>
                  <a:lnTo>
                    <a:pt x="1148811" y="792766"/>
                  </a:lnTo>
                  <a:cubicBezTo>
                    <a:pt x="1353693" y="792766"/>
                    <a:pt x="1447229" y="723424"/>
                    <a:pt x="1447229" y="548545"/>
                  </a:cubicBezTo>
                  <a:lnTo>
                    <a:pt x="1447229" y="247174"/>
                  </a:lnTo>
                  <a:cubicBezTo>
                    <a:pt x="1447229" y="69342"/>
                    <a:pt x="1353693" y="0"/>
                    <a:pt x="1148811" y="0"/>
                  </a:cubicBezTo>
                  <a:lnTo>
                    <a:pt x="191" y="0"/>
                  </a:lnTo>
                  <a:lnTo>
                    <a:pt x="191" y="1275207"/>
                  </a:lnTo>
                  <a:close/>
                </a:path>
              </a:pathLst>
            </a:custGeom>
            <a:grpFill/>
            <a:ln w="9525" cap="flat">
              <a:noFill/>
              <a:prstDash val="solid"/>
              <a:miter/>
            </a:ln>
          </p:spPr>
          <p:txBody>
            <a:bodyPr lIns="0" tIns="0" rIns="0" bIns="0" rtlCol="0" anchor="ctr"/>
            <a:lstStyle/>
            <a:p>
              <a:endParaRPr lang="de-DE" sz="100"/>
            </a:p>
          </p:txBody>
        </p:sp>
      </p:grpSp>
      <p:grpSp>
        <p:nvGrpSpPr>
          <p:cNvPr id="8" name="line element">
            <a:extLst>
              <a:ext uri="{FF2B5EF4-FFF2-40B4-BE49-F238E27FC236}">
                <a16:creationId xmlns:a16="http://schemas.microsoft.com/office/drawing/2014/main" id="{10F17B53-AF31-47E3-A654-EFE6792CC744}"/>
              </a:ext>
            </a:extLst>
          </p:cNvPr>
          <p:cNvGrpSpPr>
            <a:grpSpLocks noChangeAspect="1"/>
          </p:cNvGrpSpPr>
          <p:nvPr userDrawn="1"/>
        </p:nvGrpSpPr>
        <p:grpSpPr bwMode="gray">
          <a:xfrm>
            <a:off x="508288" y="3978755"/>
            <a:ext cx="740827" cy="26783"/>
            <a:chOff x="508288" y="461121"/>
            <a:chExt cx="740827" cy="26783"/>
          </a:xfrm>
          <a:solidFill>
            <a:schemeClr val="tx1"/>
          </a:solidFill>
        </p:grpSpPr>
        <p:sp>
          <p:nvSpPr>
            <p:cNvPr id="9" name="line 1">
              <a:extLst>
                <a:ext uri="{FF2B5EF4-FFF2-40B4-BE49-F238E27FC236}">
                  <a16:creationId xmlns:a16="http://schemas.microsoft.com/office/drawing/2014/main" id="{F02C5073-3597-44EC-8DBA-919730153A7B}"/>
                </a:ext>
              </a:extLst>
            </p:cNvPr>
            <p:cNvSpPr>
              <a:spLocks/>
            </p:cNvSpPr>
            <p:nvPr/>
          </p:nvSpPr>
          <p:spPr bwMode="gray">
            <a:xfrm rot="2700000">
              <a:off x="617300" y="352116"/>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sp>
          <p:nvSpPr>
            <p:cNvPr id="10" name="line 2">
              <a:extLst>
                <a:ext uri="{FF2B5EF4-FFF2-40B4-BE49-F238E27FC236}">
                  <a16:creationId xmlns:a16="http://schemas.microsoft.com/office/drawing/2014/main" id="{3314543B-DD65-4E7B-8078-E8C80B3F7AB2}"/>
                </a:ext>
              </a:extLst>
            </p:cNvPr>
            <p:cNvSpPr>
              <a:spLocks/>
            </p:cNvSpPr>
            <p:nvPr/>
          </p:nvSpPr>
          <p:spPr bwMode="gray">
            <a:xfrm rot="2700000">
              <a:off x="741307" y="352116"/>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sp>
          <p:nvSpPr>
            <p:cNvPr id="11" name="line 3">
              <a:extLst>
                <a:ext uri="{FF2B5EF4-FFF2-40B4-BE49-F238E27FC236}">
                  <a16:creationId xmlns:a16="http://schemas.microsoft.com/office/drawing/2014/main" id="{3DB82195-2350-4AC3-804D-B06C534ED6BC}"/>
                </a:ext>
              </a:extLst>
            </p:cNvPr>
            <p:cNvSpPr>
              <a:spLocks/>
            </p:cNvSpPr>
            <p:nvPr/>
          </p:nvSpPr>
          <p:spPr bwMode="gray">
            <a:xfrm rot="2700000">
              <a:off x="865314" y="352116"/>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sp>
          <p:nvSpPr>
            <p:cNvPr id="12" name="line 4">
              <a:extLst>
                <a:ext uri="{FF2B5EF4-FFF2-40B4-BE49-F238E27FC236}">
                  <a16:creationId xmlns:a16="http://schemas.microsoft.com/office/drawing/2014/main" id="{83AF0FD4-3D47-4C52-8B22-1CFE02EF8D49}"/>
                </a:ext>
              </a:extLst>
            </p:cNvPr>
            <p:cNvSpPr>
              <a:spLocks/>
            </p:cNvSpPr>
            <p:nvPr/>
          </p:nvSpPr>
          <p:spPr bwMode="gray">
            <a:xfrm rot="2700000">
              <a:off x="989321" y="352116"/>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sp>
          <p:nvSpPr>
            <p:cNvPr id="13" name="line 5">
              <a:extLst>
                <a:ext uri="{FF2B5EF4-FFF2-40B4-BE49-F238E27FC236}">
                  <a16:creationId xmlns:a16="http://schemas.microsoft.com/office/drawing/2014/main" id="{E526E0E9-0166-464B-BF0F-28E12CF6E48C}"/>
                </a:ext>
              </a:extLst>
            </p:cNvPr>
            <p:cNvSpPr>
              <a:spLocks/>
            </p:cNvSpPr>
            <p:nvPr/>
          </p:nvSpPr>
          <p:spPr bwMode="gray">
            <a:xfrm rot="2700000">
              <a:off x="1113327" y="352109"/>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grpSp>
      <p:sp>
        <p:nvSpPr>
          <p:cNvPr id="2" name="title">
            <a:extLst>
              <a:ext uri="{FF2B5EF4-FFF2-40B4-BE49-F238E27FC236}">
                <a16:creationId xmlns:a16="http://schemas.microsoft.com/office/drawing/2014/main" id="{2D63E91F-7C50-4944-B1AC-430EC102DAF7}"/>
              </a:ext>
            </a:extLst>
          </p:cNvPr>
          <p:cNvSpPr>
            <a:spLocks noGrp="1"/>
          </p:cNvSpPr>
          <p:nvPr userDrawn="1">
            <p:ph type="ctrTitle"/>
          </p:nvPr>
        </p:nvSpPr>
        <p:spPr bwMode="gray">
          <a:xfrm>
            <a:off x="0" y="3661334"/>
            <a:ext cx="5400000" cy="3196666"/>
          </a:xfrm>
          <a:noFill/>
        </p:spPr>
        <p:txBody>
          <a:bodyPr lIns="525600" tIns="514800" rIns="216000" bIns="720000" anchor="t">
            <a:noAutofit/>
          </a:bodyPr>
          <a:lstStyle>
            <a:lvl1pPr algn="l">
              <a:defRPr sz="2600">
                <a:solidFill>
                  <a:schemeClr val="tx1"/>
                </a:solidFill>
              </a:defRPr>
            </a:lvl1pPr>
          </a:lstStyle>
          <a:p>
            <a:r>
              <a:rPr lang="de-DE"/>
              <a:t>Mastertitelformat bearbeiten</a:t>
            </a:r>
            <a:endParaRPr lang="en-US"/>
          </a:p>
        </p:txBody>
      </p:sp>
      <p:sp>
        <p:nvSpPr>
          <p:cNvPr id="3" name="subtitle">
            <a:extLst>
              <a:ext uri="{FF2B5EF4-FFF2-40B4-BE49-F238E27FC236}">
                <a16:creationId xmlns:a16="http://schemas.microsoft.com/office/drawing/2014/main" id="{D3F50A68-F558-4D31-BE77-E20AB0A29926}"/>
              </a:ext>
            </a:extLst>
          </p:cNvPr>
          <p:cNvSpPr>
            <a:spLocks noGrp="1"/>
          </p:cNvSpPr>
          <p:nvPr userDrawn="1">
            <p:ph type="subTitle" idx="1" hasCustomPrompt="1"/>
          </p:nvPr>
        </p:nvSpPr>
        <p:spPr bwMode="gray">
          <a:xfrm>
            <a:off x="0" y="5312218"/>
            <a:ext cx="5400000" cy="432000"/>
          </a:xfrm>
        </p:spPr>
        <p:txBody>
          <a:bodyPr lIns="540000" rIns="216000" bIns="216000"/>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itle / Speaker / Date / Location</a:t>
            </a:r>
            <a:endParaRPr lang="en-US"/>
          </a:p>
        </p:txBody>
      </p:sp>
      <p:sp>
        <p:nvSpPr>
          <p:cNvPr id="6" name="slide number">
            <a:extLst>
              <a:ext uri="{FF2B5EF4-FFF2-40B4-BE49-F238E27FC236}">
                <a16:creationId xmlns:a16="http://schemas.microsoft.com/office/drawing/2014/main" id="{F1423FEB-CFD7-4376-A0C4-D91B3BE0287A}"/>
              </a:ext>
            </a:extLst>
          </p:cNvPr>
          <p:cNvSpPr>
            <a:spLocks noGrp="1"/>
          </p:cNvSpPr>
          <p:nvPr userDrawn="1">
            <p:ph type="sldNum" sz="quarter" idx="12"/>
          </p:nvPr>
        </p:nvSpPr>
        <p:spPr bwMode="gray">
          <a:xfrm>
            <a:off x="525600" y="7200000"/>
            <a:ext cx="234000" cy="180000"/>
          </a:xfrm>
        </p:spPr>
        <p:txBody>
          <a:bodyPr lIns="0" tIns="0" rIns="0" bIns="0"/>
          <a:lstStyle/>
          <a:p>
            <a:fld id="{9829449A-3FF3-45CE-9F4F-09BADC0910C6}" type="slidenum">
              <a:rPr lang="en-US" smtClean="0"/>
              <a:t>‹Nr.›</a:t>
            </a:fld>
            <a:endParaRPr lang="en-US"/>
          </a:p>
        </p:txBody>
      </p:sp>
      <p:sp>
        <p:nvSpPr>
          <p:cNvPr id="5" name="footer">
            <a:extLst>
              <a:ext uri="{FF2B5EF4-FFF2-40B4-BE49-F238E27FC236}">
                <a16:creationId xmlns:a16="http://schemas.microsoft.com/office/drawing/2014/main" id="{190677E9-326C-4EF5-ADE8-5E9E2D32D3E6}"/>
              </a:ext>
            </a:extLst>
          </p:cNvPr>
          <p:cNvSpPr>
            <a:spLocks noGrp="1"/>
          </p:cNvSpPr>
          <p:nvPr userDrawn="1">
            <p:ph type="ftr" sz="quarter" idx="11"/>
          </p:nvPr>
        </p:nvSpPr>
        <p:spPr bwMode="gray">
          <a:xfrm>
            <a:off x="763200" y="7200000"/>
            <a:ext cx="7880400" cy="180000"/>
          </a:xfrm>
        </p:spPr>
        <p:txBody>
          <a:bodyPr lIns="0" tIns="0" rIns="0" bIns="0"/>
          <a:lstStyle/>
          <a:p>
            <a:endParaRPr lang="en-US"/>
          </a:p>
        </p:txBody>
      </p:sp>
    </p:spTree>
    <p:extLst>
      <p:ext uri="{BB962C8B-B14F-4D97-AF65-F5344CB8AC3E}">
        <p14:creationId xmlns:p14="http://schemas.microsoft.com/office/powerpoint/2010/main" val="1962025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3401" userDrawn="1">
          <p15:clr>
            <a:srgbClr val="FBAE40"/>
          </p15:clr>
        </p15:guide>
        <p15:guide id="2" orient="horz" pos="2306" userDrawn="1">
          <p15:clr>
            <a:srgbClr val="FBAE40"/>
          </p15:clr>
        </p15:guide>
        <p15:guide id="3" orient="horz" pos="3345"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1/2">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FFCB50B-5503-4467-8A0F-9FBB8B48B97D}"/>
              </a:ext>
            </a:extLst>
          </p:cNvPr>
          <p:cNvSpPr>
            <a:spLocks noGrp="1"/>
          </p:cNvSpPr>
          <p:nvPr>
            <p:ph type="title"/>
          </p:nvPr>
        </p:nvSpPr>
        <p:spPr bwMode="gray"/>
        <p:txBody>
          <a:bodyPr lIns="0" tIns="0" rIns="0" bIns="0"/>
          <a:lstStyle/>
          <a:p>
            <a:r>
              <a:rPr lang="de-DE"/>
              <a:t>Mastertitelformat bearbeiten</a:t>
            </a:r>
            <a:endParaRPr lang="en-US"/>
          </a:p>
        </p:txBody>
      </p:sp>
      <p:sp>
        <p:nvSpPr>
          <p:cNvPr id="4" name="subtitle">
            <a:extLst>
              <a:ext uri="{FF2B5EF4-FFF2-40B4-BE49-F238E27FC236}">
                <a16:creationId xmlns:a16="http://schemas.microsoft.com/office/drawing/2014/main" id="{7086919D-8D03-4875-B9F0-05F0C8564079}"/>
              </a:ext>
            </a:extLst>
          </p:cNvPr>
          <p:cNvSpPr>
            <a:spLocks noGrp="1"/>
          </p:cNvSpPr>
          <p:nvPr>
            <p:ph type="body" sz="quarter" idx="14" hasCustomPrompt="1"/>
          </p:nvPr>
        </p:nvSpPr>
        <p:spPr bwMode="gray">
          <a:xfrm>
            <a:off x="525600" y="1022400"/>
            <a:ext cx="11138400" cy="504000"/>
          </a:xfrm>
        </p:spPr>
        <p:txBody>
          <a:bodyPr/>
          <a:lstStyle>
            <a:lvl1pPr>
              <a:lnSpc>
                <a:spcPct val="85000"/>
              </a:lnSpc>
              <a:spcBef>
                <a:spcPts val="0"/>
              </a:spcBef>
              <a:spcAft>
                <a:spcPts val="0"/>
              </a:spcAft>
              <a:defRPr sz="2000"/>
            </a:lvl1pPr>
          </a:lstStyle>
          <a:p>
            <a:pPr lvl="0"/>
            <a:r>
              <a:rPr lang="de-DE" err="1"/>
              <a:t>Subtitle</a:t>
            </a:r>
            <a:endParaRPr lang="en-US"/>
          </a:p>
        </p:txBody>
      </p:sp>
      <p:sp>
        <p:nvSpPr>
          <p:cNvPr id="7" name="content 1">
            <a:extLst>
              <a:ext uri="{FF2B5EF4-FFF2-40B4-BE49-F238E27FC236}">
                <a16:creationId xmlns:a16="http://schemas.microsoft.com/office/drawing/2014/main" id="{5ACBB9A0-3E08-4278-AF60-F20CD65CA5C6}"/>
              </a:ext>
            </a:extLst>
          </p:cNvPr>
          <p:cNvSpPr>
            <a:spLocks noGrp="1"/>
          </p:cNvSpPr>
          <p:nvPr>
            <p:ph idx="1"/>
          </p:nvPr>
        </p:nvSpPr>
        <p:spPr bwMode="gray">
          <a:xfrm>
            <a:off x="525600" y="1602000"/>
            <a:ext cx="3616800" cy="449640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8" name="content 2">
            <a:extLst>
              <a:ext uri="{FF2B5EF4-FFF2-40B4-BE49-F238E27FC236}">
                <a16:creationId xmlns:a16="http://schemas.microsoft.com/office/drawing/2014/main" id="{8F888000-F132-4646-9AFE-7C2EB0259264}"/>
              </a:ext>
            </a:extLst>
          </p:cNvPr>
          <p:cNvSpPr>
            <a:spLocks noGrp="1"/>
          </p:cNvSpPr>
          <p:nvPr>
            <p:ph idx="15"/>
          </p:nvPr>
        </p:nvSpPr>
        <p:spPr bwMode="gray">
          <a:xfrm>
            <a:off x="4286400" y="1602000"/>
            <a:ext cx="7377600" cy="449640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slide number">
            <a:extLst>
              <a:ext uri="{FF2B5EF4-FFF2-40B4-BE49-F238E27FC236}">
                <a16:creationId xmlns:a16="http://schemas.microsoft.com/office/drawing/2014/main" id="{90B54C2D-8235-4852-8EB7-5E05529B2499}"/>
              </a:ext>
            </a:extLst>
          </p:cNvPr>
          <p:cNvSpPr>
            <a:spLocks noGrp="1"/>
          </p:cNvSpPr>
          <p:nvPr>
            <p:ph type="sldNum" sz="quarter" idx="12"/>
          </p:nvPr>
        </p:nvSpPr>
        <p:spPr bwMode="gray"/>
        <p:txBody>
          <a:bodyPr lIns="0" tIns="0" rIns="0" bIns="0"/>
          <a:lstStyle/>
          <a:p>
            <a:fld id="{9829449A-3FF3-45CE-9F4F-09BADC0910C6}" type="slidenum">
              <a:rPr lang="en-US" smtClean="0"/>
              <a:t>‹Nr.›</a:t>
            </a:fld>
            <a:endParaRPr lang="en-US"/>
          </a:p>
        </p:txBody>
      </p:sp>
      <p:sp>
        <p:nvSpPr>
          <p:cNvPr id="5" name="footer">
            <a:extLst>
              <a:ext uri="{FF2B5EF4-FFF2-40B4-BE49-F238E27FC236}">
                <a16:creationId xmlns:a16="http://schemas.microsoft.com/office/drawing/2014/main" id="{A4534FC4-D037-44B0-B266-D9E820FC1DF2}"/>
              </a:ext>
            </a:extLst>
          </p:cNvPr>
          <p:cNvSpPr>
            <a:spLocks noGrp="1"/>
          </p:cNvSpPr>
          <p:nvPr>
            <p:ph type="ftr" sz="quarter" idx="11"/>
          </p:nvPr>
        </p:nvSpPr>
        <p:spPr bwMode="gray"/>
        <p:txBody>
          <a:bodyPr lIns="0" tIns="0" rIns="0" bIns="0"/>
          <a:lstStyle/>
          <a:p>
            <a:endParaRPr lang="en-US"/>
          </a:p>
        </p:txBody>
      </p:sp>
    </p:spTree>
    <p:extLst>
      <p:ext uri="{BB962C8B-B14F-4D97-AF65-F5344CB8AC3E}">
        <p14:creationId xmlns:p14="http://schemas.microsoft.com/office/powerpoint/2010/main" val="3153298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644" userDrawn="1">
          <p15:clr>
            <a:srgbClr val="FBAE40"/>
          </p15:clr>
        </p15:guide>
        <p15:guide id="2" pos="2610" userDrawn="1">
          <p15:clr>
            <a:srgbClr val="FBAE40"/>
          </p15:clr>
        </p15:guide>
        <p15:guide id="3" pos="270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2/1">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FFCB50B-5503-4467-8A0F-9FBB8B48B97D}"/>
              </a:ext>
            </a:extLst>
          </p:cNvPr>
          <p:cNvSpPr>
            <a:spLocks noGrp="1"/>
          </p:cNvSpPr>
          <p:nvPr>
            <p:ph type="title"/>
          </p:nvPr>
        </p:nvSpPr>
        <p:spPr bwMode="gray">
          <a:xfrm>
            <a:off x="525600" y="673200"/>
            <a:ext cx="11138400" cy="288000"/>
          </a:xfrm>
        </p:spPr>
        <p:txBody>
          <a:bodyPr lIns="0" tIns="0" rIns="0" bIns="0"/>
          <a:lstStyle/>
          <a:p>
            <a:r>
              <a:rPr lang="de-DE"/>
              <a:t>Mastertitelformat bearbeiten</a:t>
            </a:r>
            <a:endParaRPr lang="en-US"/>
          </a:p>
        </p:txBody>
      </p:sp>
      <p:sp>
        <p:nvSpPr>
          <p:cNvPr id="4" name="subtitle">
            <a:extLst>
              <a:ext uri="{FF2B5EF4-FFF2-40B4-BE49-F238E27FC236}">
                <a16:creationId xmlns:a16="http://schemas.microsoft.com/office/drawing/2014/main" id="{7086919D-8D03-4875-B9F0-05F0C8564079}"/>
              </a:ext>
            </a:extLst>
          </p:cNvPr>
          <p:cNvSpPr>
            <a:spLocks noGrp="1"/>
          </p:cNvSpPr>
          <p:nvPr>
            <p:ph type="body" sz="quarter" idx="14" hasCustomPrompt="1"/>
          </p:nvPr>
        </p:nvSpPr>
        <p:spPr bwMode="gray">
          <a:xfrm>
            <a:off x="525600" y="1022400"/>
            <a:ext cx="11138400" cy="504000"/>
          </a:xfrm>
        </p:spPr>
        <p:txBody>
          <a:bodyPr/>
          <a:lstStyle>
            <a:lvl1pPr>
              <a:lnSpc>
                <a:spcPct val="85000"/>
              </a:lnSpc>
              <a:spcBef>
                <a:spcPts val="0"/>
              </a:spcBef>
              <a:spcAft>
                <a:spcPts val="0"/>
              </a:spcAft>
              <a:defRPr sz="2000"/>
            </a:lvl1pPr>
          </a:lstStyle>
          <a:p>
            <a:pPr lvl="0"/>
            <a:r>
              <a:rPr lang="de-DE" err="1"/>
              <a:t>Subtitle</a:t>
            </a:r>
            <a:endParaRPr lang="en-US"/>
          </a:p>
        </p:txBody>
      </p:sp>
      <p:sp>
        <p:nvSpPr>
          <p:cNvPr id="7" name="content 1">
            <a:extLst>
              <a:ext uri="{FF2B5EF4-FFF2-40B4-BE49-F238E27FC236}">
                <a16:creationId xmlns:a16="http://schemas.microsoft.com/office/drawing/2014/main" id="{5ACBB9A0-3E08-4278-AF60-F20CD65CA5C6}"/>
              </a:ext>
            </a:extLst>
          </p:cNvPr>
          <p:cNvSpPr>
            <a:spLocks noGrp="1"/>
          </p:cNvSpPr>
          <p:nvPr>
            <p:ph idx="1"/>
          </p:nvPr>
        </p:nvSpPr>
        <p:spPr bwMode="gray">
          <a:xfrm>
            <a:off x="525600" y="1602000"/>
            <a:ext cx="7376400" cy="449640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8" name="content 2">
            <a:extLst>
              <a:ext uri="{FF2B5EF4-FFF2-40B4-BE49-F238E27FC236}">
                <a16:creationId xmlns:a16="http://schemas.microsoft.com/office/drawing/2014/main" id="{BED0FE55-04B9-478B-A6BA-371329BD23E8}"/>
              </a:ext>
            </a:extLst>
          </p:cNvPr>
          <p:cNvSpPr>
            <a:spLocks noGrp="1"/>
          </p:cNvSpPr>
          <p:nvPr>
            <p:ph idx="15"/>
          </p:nvPr>
        </p:nvSpPr>
        <p:spPr bwMode="gray">
          <a:xfrm>
            <a:off x="8046000" y="1602000"/>
            <a:ext cx="3618000" cy="449640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slide number">
            <a:extLst>
              <a:ext uri="{FF2B5EF4-FFF2-40B4-BE49-F238E27FC236}">
                <a16:creationId xmlns:a16="http://schemas.microsoft.com/office/drawing/2014/main" id="{90B54C2D-8235-4852-8EB7-5E05529B2499}"/>
              </a:ext>
            </a:extLst>
          </p:cNvPr>
          <p:cNvSpPr>
            <a:spLocks noGrp="1"/>
          </p:cNvSpPr>
          <p:nvPr>
            <p:ph type="sldNum" sz="quarter" idx="12"/>
          </p:nvPr>
        </p:nvSpPr>
        <p:spPr bwMode="gray"/>
        <p:txBody>
          <a:bodyPr lIns="0" tIns="0" rIns="0" bIns="0"/>
          <a:lstStyle/>
          <a:p>
            <a:fld id="{9829449A-3FF3-45CE-9F4F-09BADC0910C6}" type="slidenum">
              <a:rPr lang="en-US" smtClean="0"/>
              <a:t>‹Nr.›</a:t>
            </a:fld>
            <a:endParaRPr lang="en-US"/>
          </a:p>
        </p:txBody>
      </p:sp>
      <p:sp>
        <p:nvSpPr>
          <p:cNvPr id="5" name="footer">
            <a:extLst>
              <a:ext uri="{FF2B5EF4-FFF2-40B4-BE49-F238E27FC236}">
                <a16:creationId xmlns:a16="http://schemas.microsoft.com/office/drawing/2014/main" id="{A4534FC4-D037-44B0-B266-D9E820FC1DF2}"/>
              </a:ext>
            </a:extLst>
          </p:cNvPr>
          <p:cNvSpPr>
            <a:spLocks noGrp="1"/>
          </p:cNvSpPr>
          <p:nvPr>
            <p:ph type="ftr" sz="quarter" idx="11"/>
          </p:nvPr>
        </p:nvSpPr>
        <p:spPr bwMode="gray"/>
        <p:txBody>
          <a:bodyPr lIns="0" tIns="0" rIns="0" bIns="0"/>
          <a:lstStyle/>
          <a:p>
            <a:endParaRPr lang="en-US"/>
          </a:p>
        </p:txBody>
      </p:sp>
    </p:spTree>
    <p:extLst>
      <p:ext uri="{BB962C8B-B14F-4D97-AF65-F5344CB8AC3E}">
        <p14:creationId xmlns:p14="http://schemas.microsoft.com/office/powerpoint/2010/main" val="656590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644" userDrawn="1">
          <p15:clr>
            <a:srgbClr val="FBAE40"/>
          </p15:clr>
        </p15:guide>
        <p15:guide id="2" pos="4979" userDrawn="1">
          <p15:clr>
            <a:srgbClr val="FBAE40"/>
          </p15:clr>
        </p15:guide>
        <p15:guide id="3" pos="506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FFCB50B-5503-4467-8A0F-9FBB8B48B97D}"/>
              </a:ext>
            </a:extLst>
          </p:cNvPr>
          <p:cNvSpPr>
            <a:spLocks noGrp="1"/>
          </p:cNvSpPr>
          <p:nvPr>
            <p:ph type="title"/>
          </p:nvPr>
        </p:nvSpPr>
        <p:spPr bwMode="gray"/>
        <p:txBody>
          <a:bodyPr lIns="0" tIns="0" rIns="0" bIns="0"/>
          <a:lstStyle/>
          <a:p>
            <a:r>
              <a:rPr lang="de-DE"/>
              <a:t>Mastertitelformat bearbeiten</a:t>
            </a:r>
            <a:endParaRPr lang="en-US"/>
          </a:p>
        </p:txBody>
      </p:sp>
      <p:sp>
        <p:nvSpPr>
          <p:cNvPr id="4" name="subtitle">
            <a:extLst>
              <a:ext uri="{FF2B5EF4-FFF2-40B4-BE49-F238E27FC236}">
                <a16:creationId xmlns:a16="http://schemas.microsoft.com/office/drawing/2014/main" id="{7086919D-8D03-4875-B9F0-05F0C8564079}"/>
              </a:ext>
            </a:extLst>
          </p:cNvPr>
          <p:cNvSpPr>
            <a:spLocks noGrp="1"/>
          </p:cNvSpPr>
          <p:nvPr>
            <p:ph type="body" sz="quarter" idx="14" hasCustomPrompt="1"/>
          </p:nvPr>
        </p:nvSpPr>
        <p:spPr bwMode="gray">
          <a:xfrm>
            <a:off x="525600" y="1022400"/>
            <a:ext cx="11138400" cy="504000"/>
          </a:xfrm>
        </p:spPr>
        <p:txBody>
          <a:bodyPr/>
          <a:lstStyle>
            <a:lvl1pPr>
              <a:lnSpc>
                <a:spcPct val="85000"/>
              </a:lnSpc>
              <a:spcBef>
                <a:spcPts val="0"/>
              </a:spcBef>
              <a:spcAft>
                <a:spcPts val="0"/>
              </a:spcAft>
              <a:defRPr sz="2000"/>
            </a:lvl1pPr>
          </a:lstStyle>
          <a:p>
            <a:pPr lvl="0"/>
            <a:r>
              <a:rPr lang="de-DE" err="1"/>
              <a:t>Subtitle</a:t>
            </a:r>
            <a:endParaRPr lang="en-US"/>
          </a:p>
        </p:txBody>
      </p:sp>
      <p:sp>
        <p:nvSpPr>
          <p:cNvPr id="6" name="slide number">
            <a:extLst>
              <a:ext uri="{FF2B5EF4-FFF2-40B4-BE49-F238E27FC236}">
                <a16:creationId xmlns:a16="http://schemas.microsoft.com/office/drawing/2014/main" id="{90B54C2D-8235-4852-8EB7-5E05529B2499}"/>
              </a:ext>
            </a:extLst>
          </p:cNvPr>
          <p:cNvSpPr>
            <a:spLocks noGrp="1"/>
          </p:cNvSpPr>
          <p:nvPr>
            <p:ph type="sldNum" sz="quarter" idx="12"/>
          </p:nvPr>
        </p:nvSpPr>
        <p:spPr bwMode="gray"/>
        <p:txBody>
          <a:bodyPr lIns="0" tIns="0" rIns="0" bIns="0"/>
          <a:lstStyle/>
          <a:p>
            <a:fld id="{9829449A-3FF3-45CE-9F4F-09BADC0910C6}" type="slidenum">
              <a:rPr lang="en-US" smtClean="0"/>
              <a:t>‹Nr.›</a:t>
            </a:fld>
            <a:endParaRPr lang="en-US"/>
          </a:p>
        </p:txBody>
      </p:sp>
      <p:sp>
        <p:nvSpPr>
          <p:cNvPr id="5" name="footer">
            <a:extLst>
              <a:ext uri="{FF2B5EF4-FFF2-40B4-BE49-F238E27FC236}">
                <a16:creationId xmlns:a16="http://schemas.microsoft.com/office/drawing/2014/main" id="{A4534FC4-D037-44B0-B266-D9E820FC1DF2}"/>
              </a:ext>
            </a:extLst>
          </p:cNvPr>
          <p:cNvSpPr>
            <a:spLocks noGrp="1"/>
          </p:cNvSpPr>
          <p:nvPr>
            <p:ph type="ftr" sz="quarter" idx="11"/>
          </p:nvPr>
        </p:nvSpPr>
        <p:spPr bwMode="gray"/>
        <p:txBody>
          <a:bodyPr lIns="0" tIns="0" rIns="0" bIns="0"/>
          <a:lstStyle/>
          <a:p>
            <a:endParaRPr lang="en-US"/>
          </a:p>
        </p:txBody>
      </p:sp>
    </p:spTree>
    <p:extLst>
      <p:ext uri="{BB962C8B-B14F-4D97-AF65-F5344CB8AC3E}">
        <p14:creationId xmlns:p14="http://schemas.microsoft.com/office/powerpoint/2010/main" val="114870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64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Only Title">
    <p:spTree>
      <p:nvGrpSpPr>
        <p:cNvPr id="1" name=""/>
        <p:cNvGrpSpPr/>
        <p:nvPr/>
      </p:nvGrpSpPr>
      <p:grpSpPr>
        <a:xfrm>
          <a:off x="0" y="0"/>
          <a:ext cx="0" cy="0"/>
          <a:chOff x="0" y="0"/>
          <a:chExt cx="0" cy="0"/>
        </a:xfrm>
      </p:grpSpPr>
      <p:pic>
        <p:nvPicPr>
          <p:cNvPr id="20" name="Grafik 19" descr="Ein Bild, das Outdoorobjekt, Spinnennetz enthält.&#10;&#10;Automatisch generierte Beschreibung">
            <a:extLst>
              <a:ext uri="{FF2B5EF4-FFF2-40B4-BE49-F238E27FC236}">
                <a16:creationId xmlns:a16="http://schemas.microsoft.com/office/drawing/2014/main" id="{9A756B08-4182-40D0-AC2D-CA48FC0FBC3E}"/>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6156" r="14076"/>
          <a:stretch/>
        </p:blipFill>
        <p:spPr>
          <a:xfrm>
            <a:off x="762343" y="0"/>
            <a:ext cx="11429657" cy="7021730"/>
          </a:xfrm>
          <a:prstGeom prst="rect">
            <a:avLst/>
          </a:prstGeom>
        </p:spPr>
      </p:pic>
      <p:sp>
        <p:nvSpPr>
          <p:cNvPr id="49" name="Rechteck 48">
            <a:extLst>
              <a:ext uri="{FF2B5EF4-FFF2-40B4-BE49-F238E27FC236}">
                <a16:creationId xmlns:a16="http://schemas.microsoft.com/office/drawing/2014/main" id="{A28A32E7-D35E-483E-96AE-F0C3ACD64113}"/>
              </a:ext>
            </a:extLst>
          </p:cNvPr>
          <p:cNvSpPr/>
          <p:nvPr userDrawn="1"/>
        </p:nvSpPr>
        <p:spPr>
          <a:xfrm>
            <a:off x="0" y="0"/>
            <a:ext cx="821049" cy="7021729"/>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400"/>
              </a:spcBef>
              <a:spcAft>
                <a:spcPts val="400"/>
              </a:spcAft>
            </a:pPr>
            <a:endParaRPr lang="de-DE" sz="1400" err="1"/>
          </a:p>
        </p:txBody>
      </p:sp>
      <p:sp>
        <p:nvSpPr>
          <p:cNvPr id="2" name="title">
            <a:extLst>
              <a:ext uri="{FF2B5EF4-FFF2-40B4-BE49-F238E27FC236}">
                <a16:creationId xmlns:a16="http://schemas.microsoft.com/office/drawing/2014/main" id="{8FFCB50B-5503-4467-8A0F-9FBB8B48B97D}"/>
              </a:ext>
            </a:extLst>
          </p:cNvPr>
          <p:cNvSpPr>
            <a:spLocks noGrp="1"/>
          </p:cNvSpPr>
          <p:nvPr>
            <p:ph type="title"/>
          </p:nvPr>
        </p:nvSpPr>
        <p:spPr bwMode="gray"/>
        <p:txBody>
          <a:bodyPr lIns="0" tIns="0" rIns="0" bIns="0"/>
          <a:lstStyle>
            <a:lvl1pPr>
              <a:defRPr>
                <a:solidFill>
                  <a:schemeClr val="bg1"/>
                </a:solidFill>
              </a:defRPr>
            </a:lvl1pPr>
          </a:lstStyle>
          <a:p>
            <a:r>
              <a:rPr lang="de-DE"/>
              <a:t>Mastertitelformat bearbeiten</a:t>
            </a:r>
            <a:endParaRPr lang="en-US"/>
          </a:p>
        </p:txBody>
      </p:sp>
      <p:sp>
        <p:nvSpPr>
          <p:cNvPr id="4" name="subtitle">
            <a:extLst>
              <a:ext uri="{FF2B5EF4-FFF2-40B4-BE49-F238E27FC236}">
                <a16:creationId xmlns:a16="http://schemas.microsoft.com/office/drawing/2014/main" id="{7086919D-8D03-4875-B9F0-05F0C8564079}"/>
              </a:ext>
            </a:extLst>
          </p:cNvPr>
          <p:cNvSpPr>
            <a:spLocks noGrp="1"/>
          </p:cNvSpPr>
          <p:nvPr>
            <p:ph type="body" sz="quarter" idx="14" hasCustomPrompt="1"/>
          </p:nvPr>
        </p:nvSpPr>
        <p:spPr bwMode="gray">
          <a:xfrm>
            <a:off x="525600" y="1022400"/>
            <a:ext cx="11138400" cy="504000"/>
          </a:xfrm>
        </p:spPr>
        <p:txBody>
          <a:bodyPr/>
          <a:lstStyle>
            <a:lvl1pPr>
              <a:lnSpc>
                <a:spcPct val="85000"/>
              </a:lnSpc>
              <a:spcBef>
                <a:spcPts val="0"/>
              </a:spcBef>
              <a:spcAft>
                <a:spcPts val="0"/>
              </a:spcAft>
              <a:defRPr sz="2000">
                <a:solidFill>
                  <a:schemeClr val="bg1"/>
                </a:solidFill>
              </a:defRPr>
            </a:lvl1pPr>
          </a:lstStyle>
          <a:p>
            <a:pPr lvl="0"/>
            <a:r>
              <a:rPr lang="de-DE" err="1"/>
              <a:t>Subtitle</a:t>
            </a:r>
            <a:endParaRPr lang="en-US"/>
          </a:p>
        </p:txBody>
      </p:sp>
      <p:sp>
        <p:nvSpPr>
          <p:cNvPr id="6" name="slide number">
            <a:extLst>
              <a:ext uri="{FF2B5EF4-FFF2-40B4-BE49-F238E27FC236}">
                <a16:creationId xmlns:a16="http://schemas.microsoft.com/office/drawing/2014/main" id="{90B54C2D-8235-4852-8EB7-5E05529B2499}"/>
              </a:ext>
            </a:extLst>
          </p:cNvPr>
          <p:cNvSpPr>
            <a:spLocks noGrp="1"/>
          </p:cNvSpPr>
          <p:nvPr>
            <p:ph type="sldNum" sz="quarter" idx="12"/>
          </p:nvPr>
        </p:nvSpPr>
        <p:spPr bwMode="gray"/>
        <p:txBody>
          <a:bodyPr lIns="0" tIns="0" rIns="0" bIns="0"/>
          <a:lstStyle/>
          <a:p>
            <a:fld id="{9829449A-3FF3-45CE-9F4F-09BADC0910C6}" type="slidenum">
              <a:rPr lang="en-US" smtClean="0"/>
              <a:t>‹Nr.›</a:t>
            </a:fld>
            <a:endParaRPr lang="en-US"/>
          </a:p>
        </p:txBody>
      </p:sp>
      <p:sp>
        <p:nvSpPr>
          <p:cNvPr id="5" name="footer">
            <a:extLst>
              <a:ext uri="{FF2B5EF4-FFF2-40B4-BE49-F238E27FC236}">
                <a16:creationId xmlns:a16="http://schemas.microsoft.com/office/drawing/2014/main" id="{A4534FC4-D037-44B0-B266-D9E820FC1DF2}"/>
              </a:ext>
            </a:extLst>
          </p:cNvPr>
          <p:cNvSpPr>
            <a:spLocks noGrp="1"/>
          </p:cNvSpPr>
          <p:nvPr>
            <p:ph type="ftr" sz="quarter" idx="11"/>
          </p:nvPr>
        </p:nvSpPr>
        <p:spPr bwMode="gray"/>
        <p:txBody>
          <a:bodyPr lIns="0" tIns="0" rIns="0" bIns="0"/>
          <a:lstStyle/>
          <a:p>
            <a:endParaRPr lang="en-US"/>
          </a:p>
        </p:txBody>
      </p:sp>
      <p:sp>
        <p:nvSpPr>
          <p:cNvPr id="3" name="Rechteck 2">
            <a:extLst>
              <a:ext uri="{FF2B5EF4-FFF2-40B4-BE49-F238E27FC236}">
                <a16:creationId xmlns:a16="http://schemas.microsoft.com/office/drawing/2014/main" id="{9DF35DCB-935D-4CF2-94F2-7EED3D06EC83}"/>
              </a:ext>
            </a:extLst>
          </p:cNvPr>
          <p:cNvSpPr/>
          <p:nvPr userDrawn="1"/>
        </p:nvSpPr>
        <p:spPr>
          <a:xfrm>
            <a:off x="10627479" y="6258937"/>
            <a:ext cx="1105319" cy="432079"/>
          </a:xfrm>
          <a:prstGeom prst="rect">
            <a:avLst/>
          </a:prstGeom>
          <a:solidFill>
            <a:srgbClr val="00040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400"/>
              </a:spcBef>
              <a:spcAft>
                <a:spcPts val="400"/>
              </a:spcAft>
            </a:pPr>
            <a:endParaRPr lang="de-DE" sz="1400" err="1"/>
          </a:p>
        </p:txBody>
      </p:sp>
      <p:pic>
        <p:nvPicPr>
          <p:cNvPr id="22" name="16:9 Drees &amp; Sommer Logo weiß- Position vollflächiges Bild" descr="Logo D&amp;S weiss.png">
            <a:extLst>
              <a:ext uri="{FF2B5EF4-FFF2-40B4-BE49-F238E27FC236}">
                <a16:creationId xmlns:a16="http://schemas.microsoft.com/office/drawing/2014/main" id="{37435F92-85FC-43C2-8F1B-5CBA67E757E7}"/>
              </a:ext>
            </a:extLst>
          </p:cNvPr>
          <p:cNvPicPr>
            <a:picLocks noChangeAspect="1"/>
          </p:cNvPicPr>
          <p:nvPr userDrawn="1">
            <p:custDataLst>
              <p:tags r:id="rId1"/>
            </p:custDataLst>
          </p:nvPr>
        </p:nvPicPr>
        <p:blipFill>
          <a:blip r:embed="rId4" cstate="print">
            <a:extLst>
              <a:ext uri="{28A0092B-C50C-407E-A947-70E740481C1C}">
                <a14:useLocalDpi xmlns:a14="http://schemas.microsoft.com/office/drawing/2010/main"/>
              </a:ext>
            </a:extLst>
          </a:blip>
          <a:srcRect/>
          <a:stretch>
            <a:fillRect/>
          </a:stretch>
        </p:blipFill>
        <p:spPr bwMode="auto">
          <a:xfrm>
            <a:off x="10716797" y="6331912"/>
            <a:ext cx="948154" cy="286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37721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64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Only Title">
    <p:spTree>
      <p:nvGrpSpPr>
        <p:cNvPr id="1" name=""/>
        <p:cNvGrpSpPr/>
        <p:nvPr/>
      </p:nvGrpSpPr>
      <p:grpSpPr>
        <a:xfrm>
          <a:off x="0" y="0"/>
          <a:ext cx="0" cy="0"/>
          <a:chOff x="0" y="0"/>
          <a:chExt cx="0" cy="0"/>
        </a:xfrm>
      </p:grpSpPr>
      <p:pic>
        <p:nvPicPr>
          <p:cNvPr id="20" name="Bildplatzhalter 17" descr="Ein Bild, das Text, Karte, Strichzeichnung enthält.&#10;&#10;Automatisch generierte Beschreibung">
            <a:extLst>
              <a:ext uri="{FF2B5EF4-FFF2-40B4-BE49-F238E27FC236}">
                <a16:creationId xmlns:a16="http://schemas.microsoft.com/office/drawing/2014/main" id="{7F25CA88-2DE9-442B-BAFF-C4D82EEFDD4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8672" r="12777"/>
          <a:stretch/>
        </p:blipFill>
        <p:spPr bwMode="gray">
          <a:xfrm>
            <a:off x="548031" y="1"/>
            <a:ext cx="11643970" cy="6858000"/>
          </a:xfrm>
          <a:prstGeom prst="rect">
            <a:avLst/>
          </a:prstGeom>
          <a:noFill/>
        </p:spPr>
      </p:pic>
      <p:sp>
        <p:nvSpPr>
          <p:cNvPr id="21" name="Rechteck 20">
            <a:extLst>
              <a:ext uri="{FF2B5EF4-FFF2-40B4-BE49-F238E27FC236}">
                <a16:creationId xmlns:a16="http://schemas.microsoft.com/office/drawing/2014/main" id="{19CD1789-44E0-4ECE-A959-04F5134EC479}"/>
              </a:ext>
            </a:extLst>
          </p:cNvPr>
          <p:cNvSpPr/>
          <p:nvPr userDrawn="1"/>
        </p:nvSpPr>
        <p:spPr>
          <a:xfrm>
            <a:off x="0" y="0"/>
            <a:ext cx="12192000" cy="6858000"/>
          </a:xfrm>
          <a:prstGeom prst="rect">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400"/>
              </a:spcBef>
              <a:spcAft>
                <a:spcPts val="400"/>
              </a:spcAft>
            </a:pPr>
            <a:endParaRPr lang="de-DE" sz="1400" err="1"/>
          </a:p>
        </p:txBody>
      </p:sp>
      <p:sp>
        <p:nvSpPr>
          <p:cNvPr id="2" name="title">
            <a:extLst>
              <a:ext uri="{FF2B5EF4-FFF2-40B4-BE49-F238E27FC236}">
                <a16:creationId xmlns:a16="http://schemas.microsoft.com/office/drawing/2014/main" id="{8FFCB50B-5503-4467-8A0F-9FBB8B48B97D}"/>
              </a:ext>
            </a:extLst>
          </p:cNvPr>
          <p:cNvSpPr>
            <a:spLocks noGrp="1"/>
          </p:cNvSpPr>
          <p:nvPr>
            <p:ph type="title"/>
          </p:nvPr>
        </p:nvSpPr>
        <p:spPr bwMode="gray"/>
        <p:txBody>
          <a:bodyPr lIns="0" tIns="0" rIns="0" bIns="0"/>
          <a:lstStyle/>
          <a:p>
            <a:r>
              <a:rPr lang="de-DE"/>
              <a:t>Mastertitelformat bearbeiten</a:t>
            </a:r>
            <a:endParaRPr lang="en-US"/>
          </a:p>
        </p:txBody>
      </p:sp>
      <p:sp>
        <p:nvSpPr>
          <p:cNvPr id="4" name="subtitle">
            <a:extLst>
              <a:ext uri="{FF2B5EF4-FFF2-40B4-BE49-F238E27FC236}">
                <a16:creationId xmlns:a16="http://schemas.microsoft.com/office/drawing/2014/main" id="{7086919D-8D03-4875-B9F0-05F0C8564079}"/>
              </a:ext>
            </a:extLst>
          </p:cNvPr>
          <p:cNvSpPr>
            <a:spLocks noGrp="1"/>
          </p:cNvSpPr>
          <p:nvPr>
            <p:ph type="body" sz="quarter" idx="14" hasCustomPrompt="1"/>
          </p:nvPr>
        </p:nvSpPr>
        <p:spPr bwMode="gray">
          <a:xfrm>
            <a:off x="525600" y="1022400"/>
            <a:ext cx="11138400" cy="504000"/>
          </a:xfrm>
        </p:spPr>
        <p:txBody>
          <a:bodyPr/>
          <a:lstStyle>
            <a:lvl1pPr>
              <a:lnSpc>
                <a:spcPct val="85000"/>
              </a:lnSpc>
              <a:spcBef>
                <a:spcPts val="0"/>
              </a:spcBef>
              <a:spcAft>
                <a:spcPts val="0"/>
              </a:spcAft>
              <a:defRPr sz="2000"/>
            </a:lvl1pPr>
          </a:lstStyle>
          <a:p>
            <a:pPr lvl="0"/>
            <a:r>
              <a:rPr lang="de-DE" err="1"/>
              <a:t>Subtitle</a:t>
            </a:r>
            <a:endParaRPr lang="en-US"/>
          </a:p>
        </p:txBody>
      </p:sp>
      <p:sp>
        <p:nvSpPr>
          <p:cNvPr id="6" name="slide number">
            <a:extLst>
              <a:ext uri="{FF2B5EF4-FFF2-40B4-BE49-F238E27FC236}">
                <a16:creationId xmlns:a16="http://schemas.microsoft.com/office/drawing/2014/main" id="{90B54C2D-8235-4852-8EB7-5E05529B2499}"/>
              </a:ext>
            </a:extLst>
          </p:cNvPr>
          <p:cNvSpPr>
            <a:spLocks noGrp="1"/>
          </p:cNvSpPr>
          <p:nvPr>
            <p:ph type="sldNum" sz="quarter" idx="12"/>
          </p:nvPr>
        </p:nvSpPr>
        <p:spPr bwMode="gray"/>
        <p:txBody>
          <a:bodyPr lIns="0" tIns="0" rIns="0" bIns="0"/>
          <a:lstStyle/>
          <a:p>
            <a:fld id="{9829449A-3FF3-45CE-9F4F-09BADC0910C6}" type="slidenum">
              <a:rPr lang="en-US" smtClean="0"/>
              <a:t>‹Nr.›</a:t>
            </a:fld>
            <a:endParaRPr lang="en-US"/>
          </a:p>
        </p:txBody>
      </p:sp>
      <p:sp>
        <p:nvSpPr>
          <p:cNvPr id="5" name="footer">
            <a:extLst>
              <a:ext uri="{FF2B5EF4-FFF2-40B4-BE49-F238E27FC236}">
                <a16:creationId xmlns:a16="http://schemas.microsoft.com/office/drawing/2014/main" id="{A4534FC4-D037-44B0-B266-D9E820FC1DF2}"/>
              </a:ext>
            </a:extLst>
          </p:cNvPr>
          <p:cNvSpPr>
            <a:spLocks noGrp="1"/>
          </p:cNvSpPr>
          <p:nvPr>
            <p:ph type="ftr" sz="quarter" idx="11"/>
          </p:nvPr>
        </p:nvSpPr>
        <p:spPr bwMode="gray"/>
        <p:txBody>
          <a:bodyPr lIns="0" tIns="0" rIns="0" bIns="0"/>
          <a:lstStyle/>
          <a:p>
            <a:endParaRPr lang="en-US"/>
          </a:p>
        </p:txBody>
      </p:sp>
      <p:sp>
        <p:nvSpPr>
          <p:cNvPr id="40" name="Freihandform: Form 39">
            <a:extLst>
              <a:ext uri="{FF2B5EF4-FFF2-40B4-BE49-F238E27FC236}">
                <a16:creationId xmlns:a16="http://schemas.microsoft.com/office/drawing/2014/main" id="{34FDB7F5-6B27-4B1D-AEFD-8D61D6CF863A}"/>
              </a:ext>
            </a:extLst>
          </p:cNvPr>
          <p:cNvSpPr/>
          <p:nvPr userDrawn="1"/>
        </p:nvSpPr>
        <p:spPr>
          <a:xfrm>
            <a:off x="10629901" y="6223371"/>
            <a:ext cx="1133474" cy="504000"/>
          </a:xfrm>
          <a:custGeom>
            <a:avLst/>
            <a:gdLst>
              <a:gd name="connsiteX0" fmla="*/ 0 w 972000"/>
              <a:gd name="connsiteY0" fmla="*/ 0 h 324000"/>
              <a:gd name="connsiteX1" fmla="*/ 868412 w 972000"/>
              <a:gd name="connsiteY1" fmla="*/ 0 h 324000"/>
              <a:gd name="connsiteX2" fmla="*/ 972000 w 972000"/>
              <a:gd name="connsiteY2" fmla="*/ 30994 h 324000"/>
              <a:gd name="connsiteX3" fmla="*/ 972000 w 972000"/>
              <a:gd name="connsiteY3" fmla="*/ 324000 h 324000"/>
              <a:gd name="connsiteX4" fmla="*/ 0 w 972000"/>
              <a:gd name="connsiteY4" fmla="*/ 324000 h 32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2000" h="324000">
                <a:moveTo>
                  <a:pt x="0" y="0"/>
                </a:moveTo>
                <a:lnTo>
                  <a:pt x="868412" y="0"/>
                </a:lnTo>
                <a:lnTo>
                  <a:pt x="972000" y="30994"/>
                </a:lnTo>
                <a:lnTo>
                  <a:pt x="972000" y="324000"/>
                </a:lnTo>
                <a:lnTo>
                  <a:pt x="0" y="324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noAutofit/>
          </a:bodyPr>
          <a:lstStyle/>
          <a:p>
            <a:pPr algn="ctr">
              <a:spcBef>
                <a:spcPts val="400"/>
              </a:spcBef>
              <a:spcAft>
                <a:spcPts val="400"/>
              </a:spcAft>
            </a:pPr>
            <a:endParaRPr lang="de-DE" sz="1400" err="1"/>
          </a:p>
        </p:txBody>
      </p:sp>
      <p:grpSp>
        <p:nvGrpSpPr>
          <p:cNvPr id="26" name="logo drees&amp;sommer blue">
            <a:extLst>
              <a:ext uri="{FF2B5EF4-FFF2-40B4-BE49-F238E27FC236}">
                <a16:creationId xmlns:a16="http://schemas.microsoft.com/office/drawing/2014/main" id="{4131BB9F-4F51-47D6-846A-3B7FFC342730}"/>
              </a:ext>
            </a:extLst>
          </p:cNvPr>
          <p:cNvGrpSpPr>
            <a:grpSpLocks noChangeAspect="1"/>
          </p:cNvGrpSpPr>
          <p:nvPr userDrawn="1"/>
        </p:nvGrpSpPr>
        <p:grpSpPr bwMode="gray">
          <a:xfrm>
            <a:off x="10716797" y="6331911"/>
            <a:ext cx="948154" cy="286131"/>
            <a:chOff x="95247" y="1619247"/>
            <a:chExt cx="12004075" cy="3622552"/>
          </a:xfrm>
          <a:solidFill>
            <a:schemeClr val="tx2"/>
          </a:solidFill>
        </p:grpSpPr>
        <p:sp>
          <p:nvSpPr>
            <p:cNvPr id="27" name="d">
              <a:extLst>
                <a:ext uri="{FF2B5EF4-FFF2-40B4-BE49-F238E27FC236}">
                  <a16:creationId xmlns:a16="http://schemas.microsoft.com/office/drawing/2014/main" id="{A9F29D0D-41C2-4271-AA6B-878B6EDD7495}"/>
                </a:ext>
              </a:extLst>
            </p:cNvPr>
            <p:cNvSpPr/>
            <p:nvPr/>
          </p:nvSpPr>
          <p:spPr bwMode="gray">
            <a:xfrm>
              <a:off x="146585" y="1619247"/>
              <a:ext cx="1890145" cy="1555528"/>
            </a:xfrm>
            <a:custGeom>
              <a:avLst/>
              <a:gdLst>
                <a:gd name="connsiteX0" fmla="*/ 361760 w 1890141"/>
                <a:gd name="connsiteY0" fmla="*/ 1263206 h 1555527"/>
                <a:gd name="connsiteX1" fmla="*/ 361760 w 1890141"/>
                <a:gd name="connsiteY1" fmla="*/ 277368 h 1555527"/>
                <a:gd name="connsiteX2" fmla="*/ 1003840 w 1890141"/>
                <a:gd name="connsiteY2" fmla="*/ 277368 h 1555527"/>
                <a:gd name="connsiteX3" fmla="*/ 1516380 w 1890141"/>
                <a:gd name="connsiteY3" fmla="*/ 762762 h 1555527"/>
                <a:gd name="connsiteX4" fmla="*/ 828961 w 1890141"/>
                <a:gd name="connsiteY4" fmla="*/ 1263206 h 1555527"/>
                <a:gd name="connsiteX5" fmla="*/ 361760 w 1890141"/>
                <a:gd name="connsiteY5" fmla="*/ 1263206 h 1555527"/>
                <a:gd name="connsiteX6" fmla="*/ 0 w 1890141"/>
                <a:gd name="connsiteY6" fmla="*/ 1555528 h 1555527"/>
                <a:gd name="connsiteX7" fmla="*/ 907447 w 1890141"/>
                <a:gd name="connsiteY7" fmla="*/ 1555528 h 1555527"/>
                <a:gd name="connsiteX8" fmla="*/ 1546574 w 1890141"/>
                <a:gd name="connsiteY8" fmla="*/ 1435037 h 1555527"/>
                <a:gd name="connsiteX9" fmla="*/ 1890141 w 1890141"/>
                <a:gd name="connsiteY9" fmla="*/ 768763 h 1555527"/>
                <a:gd name="connsiteX10" fmla="*/ 1000792 w 1890141"/>
                <a:gd name="connsiteY10" fmla="*/ 0 h 1555527"/>
                <a:gd name="connsiteX11" fmla="*/ 0 w 1890141"/>
                <a:gd name="connsiteY11" fmla="*/ 0 h 1555527"/>
                <a:gd name="connsiteX12" fmla="*/ 0 w 1890141"/>
                <a:gd name="connsiteY12" fmla="*/ 1555528 h 155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90141" h="1555527">
                  <a:moveTo>
                    <a:pt x="361760" y="1263206"/>
                  </a:moveTo>
                  <a:lnTo>
                    <a:pt x="361760" y="277368"/>
                  </a:lnTo>
                  <a:lnTo>
                    <a:pt x="1003840" y="277368"/>
                  </a:lnTo>
                  <a:cubicBezTo>
                    <a:pt x="1344549" y="277368"/>
                    <a:pt x="1516380" y="446246"/>
                    <a:pt x="1516380" y="762762"/>
                  </a:cubicBezTo>
                  <a:cubicBezTo>
                    <a:pt x="1516380" y="1148620"/>
                    <a:pt x="1287209" y="1263206"/>
                    <a:pt x="828961" y="1263206"/>
                  </a:cubicBezTo>
                  <a:lnTo>
                    <a:pt x="361760" y="1263206"/>
                  </a:lnTo>
                  <a:close/>
                  <a:moveTo>
                    <a:pt x="0" y="1555528"/>
                  </a:moveTo>
                  <a:lnTo>
                    <a:pt x="907447" y="1555528"/>
                  </a:lnTo>
                  <a:cubicBezTo>
                    <a:pt x="1184624" y="1555528"/>
                    <a:pt x="1395698" y="1528382"/>
                    <a:pt x="1546574" y="1435037"/>
                  </a:cubicBezTo>
                  <a:cubicBezTo>
                    <a:pt x="1763649" y="1302353"/>
                    <a:pt x="1890141" y="1061180"/>
                    <a:pt x="1890141" y="768763"/>
                  </a:cubicBezTo>
                  <a:cubicBezTo>
                    <a:pt x="1890141" y="286417"/>
                    <a:pt x="1582769" y="0"/>
                    <a:pt x="1000792" y="0"/>
                  </a:cubicBezTo>
                  <a:lnTo>
                    <a:pt x="0" y="0"/>
                  </a:lnTo>
                  <a:lnTo>
                    <a:pt x="0" y="1555528"/>
                  </a:lnTo>
                  <a:close/>
                </a:path>
              </a:pathLst>
            </a:custGeom>
            <a:grpFill/>
            <a:ln w="9525" cap="flat">
              <a:noFill/>
              <a:prstDash val="solid"/>
              <a:miter/>
            </a:ln>
          </p:spPr>
          <p:txBody>
            <a:bodyPr lIns="0" tIns="0" rIns="0" bIns="0" rtlCol="0" anchor="ctr"/>
            <a:lstStyle/>
            <a:p>
              <a:endParaRPr lang="de-DE" sz="100"/>
            </a:p>
          </p:txBody>
        </p:sp>
        <p:sp>
          <p:nvSpPr>
            <p:cNvPr id="28" name="r">
              <a:extLst>
                <a:ext uri="{FF2B5EF4-FFF2-40B4-BE49-F238E27FC236}">
                  <a16:creationId xmlns:a16="http://schemas.microsoft.com/office/drawing/2014/main" id="{CC2666D9-FEE0-4CC8-BB11-EA58FFD034B6}"/>
                </a:ext>
              </a:extLst>
            </p:cNvPr>
            <p:cNvSpPr/>
            <p:nvPr/>
          </p:nvSpPr>
          <p:spPr bwMode="gray">
            <a:xfrm>
              <a:off x="2405150" y="1899664"/>
              <a:ext cx="1579811" cy="1275112"/>
            </a:xfrm>
            <a:custGeom>
              <a:avLst/>
              <a:gdLst>
                <a:gd name="connsiteX0" fmla="*/ 1015937 w 1579816"/>
                <a:gd name="connsiteY0" fmla="*/ 220028 h 1275111"/>
                <a:gd name="connsiteX1" fmla="*/ 1157668 w 1579816"/>
                <a:gd name="connsiteY1" fmla="*/ 322517 h 1275111"/>
                <a:gd name="connsiteX2" fmla="*/ 1157668 w 1579816"/>
                <a:gd name="connsiteY2" fmla="*/ 470249 h 1275111"/>
                <a:gd name="connsiteX3" fmla="*/ 1015937 w 1579816"/>
                <a:gd name="connsiteY3" fmla="*/ 572738 h 1275111"/>
                <a:gd name="connsiteX4" fmla="*/ 307467 w 1579816"/>
                <a:gd name="connsiteY4" fmla="*/ 572738 h 1275111"/>
                <a:gd name="connsiteX5" fmla="*/ 307467 w 1579816"/>
                <a:gd name="connsiteY5" fmla="*/ 220028 h 1275111"/>
                <a:gd name="connsiteX6" fmla="*/ 1015937 w 1579816"/>
                <a:gd name="connsiteY6" fmla="*/ 220028 h 1275111"/>
                <a:gd name="connsiteX7" fmla="*/ 0 w 1579816"/>
                <a:gd name="connsiteY7" fmla="*/ 1275112 h 1275111"/>
                <a:gd name="connsiteX8" fmla="*/ 307562 w 1579816"/>
                <a:gd name="connsiteY8" fmla="*/ 1275112 h 1275111"/>
                <a:gd name="connsiteX9" fmla="*/ 307562 w 1579816"/>
                <a:gd name="connsiteY9" fmla="*/ 792671 h 1275111"/>
                <a:gd name="connsiteX10" fmla="*/ 599980 w 1579816"/>
                <a:gd name="connsiteY10" fmla="*/ 792671 h 1275111"/>
                <a:gd name="connsiteX11" fmla="*/ 1133570 w 1579816"/>
                <a:gd name="connsiteY11" fmla="*/ 1275112 h 1275111"/>
                <a:gd name="connsiteX12" fmla="*/ 1579817 w 1579816"/>
                <a:gd name="connsiteY12" fmla="*/ 1275112 h 1275111"/>
                <a:gd name="connsiteX13" fmla="*/ 973741 w 1579816"/>
                <a:gd name="connsiteY13" fmla="*/ 792671 h 1275111"/>
                <a:gd name="connsiteX14" fmla="*/ 1148620 w 1579816"/>
                <a:gd name="connsiteY14" fmla="*/ 792671 h 1275111"/>
                <a:gd name="connsiteX15" fmla="*/ 1447133 w 1579816"/>
                <a:gd name="connsiteY15" fmla="*/ 548640 h 1275111"/>
                <a:gd name="connsiteX16" fmla="*/ 1447133 w 1579816"/>
                <a:gd name="connsiteY16" fmla="*/ 247174 h 1275111"/>
                <a:gd name="connsiteX17" fmla="*/ 1148620 w 1579816"/>
                <a:gd name="connsiteY17" fmla="*/ 0 h 1275111"/>
                <a:gd name="connsiteX18" fmla="*/ 0 w 1579816"/>
                <a:gd name="connsiteY18" fmla="*/ 0 h 1275111"/>
                <a:gd name="connsiteX19" fmla="*/ 0 w 1579816"/>
                <a:gd name="connsiteY19" fmla="*/ 1275112 h 127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79816" h="1275111">
                  <a:moveTo>
                    <a:pt x="1015937" y="220028"/>
                  </a:moveTo>
                  <a:cubicBezTo>
                    <a:pt x="1109282" y="220028"/>
                    <a:pt x="1157668" y="238220"/>
                    <a:pt x="1157668" y="322517"/>
                  </a:cubicBezTo>
                  <a:lnTo>
                    <a:pt x="1157668" y="470249"/>
                  </a:lnTo>
                  <a:cubicBezTo>
                    <a:pt x="1157668" y="554736"/>
                    <a:pt x="1109282" y="572738"/>
                    <a:pt x="1015937" y="572738"/>
                  </a:cubicBezTo>
                  <a:lnTo>
                    <a:pt x="307467" y="572738"/>
                  </a:lnTo>
                  <a:lnTo>
                    <a:pt x="307467" y="220028"/>
                  </a:lnTo>
                  <a:lnTo>
                    <a:pt x="1015937" y="220028"/>
                  </a:lnTo>
                  <a:close/>
                  <a:moveTo>
                    <a:pt x="0" y="1275112"/>
                  </a:moveTo>
                  <a:lnTo>
                    <a:pt x="307562" y="1275112"/>
                  </a:lnTo>
                  <a:lnTo>
                    <a:pt x="307562" y="792671"/>
                  </a:lnTo>
                  <a:lnTo>
                    <a:pt x="599980" y="792671"/>
                  </a:lnTo>
                  <a:lnTo>
                    <a:pt x="1133570" y="1275112"/>
                  </a:lnTo>
                  <a:lnTo>
                    <a:pt x="1579817" y="1275112"/>
                  </a:lnTo>
                  <a:lnTo>
                    <a:pt x="973741" y="792671"/>
                  </a:lnTo>
                  <a:lnTo>
                    <a:pt x="1148620" y="792671"/>
                  </a:lnTo>
                  <a:cubicBezTo>
                    <a:pt x="1353693" y="792671"/>
                    <a:pt x="1447133" y="723329"/>
                    <a:pt x="1447133" y="548640"/>
                  </a:cubicBezTo>
                  <a:lnTo>
                    <a:pt x="1447133" y="247174"/>
                  </a:lnTo>
                  <a:cubicBezTo>
                    <a:pt x="1447133" y="69342"/>
                    <a:pt x="1353598" y="0"/>
                    <a:pt x="1148620" y="0"/>
                  </a:cubicBezTo>
                  <a:lnTo>
                    <a:pt x="0" y="0"/>
                  </a:lnTo>
                  <a:lnTo>
                    <a:pt x="0" y="1275112"/>
                  </a:lnTo>
                  <a:close/>
                </a:path>
              </a:pathLst>
            </a:custGeom>
            <a:grpFill/>
            <a:ln w="9525" cap="flat">
              <a:noFill/>
              <a:prstDash val="solid"/>
              <a:miter/>
            </a:ln>
          </p:spPr>
          <p:txBody>
            <a:bodyPr lIns="0" tIns="0" rIns="0" bIns="0" rtlCol="0" anchor="ctr"/>
            <a:lstStyle/>
            <a:p>
              <a:endParaRPr lang="de-DE" sz="100"/>
            </a:p>
          </p:txBody>
        </p:sp>
        <p:sp>
          <p:nvSpPr>
            <p:cNvPr id="29" name="e">
              <a:extLst>
                <a:ext uri="{FF2B5EF4-FFF2-40B4-BE49-F238E27FC236}">
                  <a16:creationId xmlns:a16="http://schemas.microsoft.com/office/drawing/2014/main" id="{1E24AABA-8802-4A60-B87B-72921579C445}"/>
                </a:ext>
              </a:extLst>
            </p:cNvPr>
            <p:cNvSpPr/>
            <p:nvPr/>
          </p:nvSpPr>
          <p:spPr bwMode="gray">
            <a:xfrm>
              <a:off x="4279102" y="1899664"/>
              <a:ext cx="1383701" cy="1275112"/>
            </a:xfrm>
            <a:custGeom>
              <a:avLst/>
              <a:gdLst>
                <a:gd name="connsiteX0" fmla="*/ 0 w 1383696"/>
                <a:gd name="connsiteY0" fmla="*/ 1275112 h 1275111"/>
                <a:gd name="connsiteX1" fmla="*/ 1383697 w 1383696"/>
                <a:gd name="connsiteY1" fmla="*/ 1275112 h 1275111"/>
                <a:gd name="connsiteX2" fmla="*/ 1383697 w 1383696"/>
                <a:gd name="connsiteY2" fmla="*/ 1036987 h 1275111"/>
                <a:gd name="connsiteX3" fmla="*/ 313563 w 1383696"/>
                <a:gd name="connsiteY3" fmla="*/ 1036987 h 1275111"/>
                <a:gd name="connsiteX4" fmla="*/ 313563 w 1383696"/>
                <a:gd name="connsiteY4" fmla="*/ 723424 h 1275111"/>
                <a:gd name="connsiteX5" fmla="*/ 928497 w 1383696"/>
                <a:gd name="connsiteY5" fmla="*/ 723424 h 1275111"/>
                <a:gd name="connsiteX6" fmla="*/ 928497 w 1383696"/>
                <a:gd name="connsiteY6" fmla="*/ 503396 h 1275111"/>
                <a:gd name="connsiteX7" fmla="*/ 313563 w 1383696"/>
                <a:gd name="connsiteY7" fmla="*/ 503396 h 1275111"/>
                <a:gd name="connsiteX8" fmla="*/ 313563 w 1383696"/>
                <a:gd name="connsiteY8" fmla="*/ 226028 h 1275111"/>
                <a:gd name="connsiteX9" fmla="*/ 1368743 w 1383696"/>
                <a:gd name="connsiteY9" fmla="*/ 226028 h 1275111"/>
                <a:gd name="connsiteX10" fmla="*/ 1368743 w 1383696"/>
                <a:gd name="connsiteY10" fmla="*/ 0 h 1275111"/>
                <a:gd name="connsiteX11" fmla="*/ 0 w 1383696"/>
                <a:gd name="connsiteY11" fmla="*/ 0 h 127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3696" h="1275111">
                  <a:moveTo>
                    <a:pt x="0" y="1275112"/>
                  </a:moveTo>
                  <a:lnTo>
                    <a:pt x="1383697" y="1275112"/>
                  </a:lnTo>
                  <a:lnTo>
                    <a:pt x="1383697" y="1036987"/>
                  </a:lnTo>
                  <a:lnTo>
                    <a:pt x="313563" y="1036987"/>
                  </a:lnTo>
                  <a:lnTo>
                    <a:pt x="313563" y="723424"/>
                  </a:lnTo>
                  <a:lnTo>
                    <a:pt x="928497" y="723424"/>
                  </a:lnTo>
                  <a:lnTo>
                    <a:pt x="928497" y="503396"/>
                  </a:lnTo>
                  <a:lnTo>
                    <a:pt x="313563" y="503396"/>
                  </a:lnTo>
                  <a:lnTo>
                    <a:pt x="313563" y="226028"/>
                  </a:lnTo>
                  <a:lnTo>
                    <a:pt x="1368743" y="226028"/>
                  </a:lnTo>
                  <a:lnTo>
                    <a:pt x="1368743" y="0"/>
                  </a:lnTo>
                  <a:lnTo>
                    <a:pt x="0" y="0"/>
                  </a:lnTo>
                  <a:close/>
                </a:path>
              </a:pathLst>
            </a:custGeom>
            <a:grpFill/>
            <a:ln w="9525" cap="flat">
              <a:noFill/>
              <a:prstDash val="solid"/>
              <a:miter/>
            </a:ln>
          </p:spPr>
          <p:txBody>
            <a:bodyPr lIns="0" tIns="0" rIns="0" bIns="0" rtlCol="0" anchor="ctr"/>
            <a:lstStyle/>
            <a:p>
              <a:endParaRPr lang="de-DE" sz="100"/>
            </a:p>
          </p:txBody>
        </p:sp>
        <p:sp>
          <p:nvSpPr>
            <p:cNvPr id="30" name="e">
              <a:extLst>
                <a:ext uri="{FF2B5EF4-FFF2-40B4-BE49-F238E27FC236}">
                  <a16:creationId xmlns:a16="http://schemas.microsoft.com/office/drawing/2014/main" id="{9CC72E7C-D3EC-48A0-ACD2-2888840F72AE}"/>
                </a:ext>
              </a:extLst>
            </p:cNvPr>
            <p:cNvSpPr/>
            <p:nvPr/>
          </p:nvSpPr>
          <p:spPr bwMode="gray">
            <a:xfrm>
              <a:off x="6022562" y="1899664"/>
              <a:ext cx="1383701" cy="1275112"/>
            </a:xfrm>
            <a:custGeom>
              <a:avLst/>
              <a:gdLst>
                <a:gd name="connsiteX0" fmla="*/ 0 w 1383696"/>
                <a:gd name="connsiteY0" fmla="*/ 1275112 h 1275111"/>
                <a:gd name="connsiteX1" fmla="*/ 1383697 w 1383696"/>
                <a:gd name="connsiteY1" fmla="*/ 1275112 h 1275111"/>
                <a:gd name="connsiteX2" fmla="*/ 1383697 w 1383696"/>
                <a:gd name="connsiteY2" fmla="*/ 1036987 h 1275111"/>
                <a:gd name="connsiteX3" fmla="*/ 313563 w 1383696"/>
                <a:gd name="connsiteY3" fmla="*/ 1036987 h 1275111"/>
                <a:gd name="connsiteX4" fmla="*/ 313563 w 1383696"/>
                <a:gd name="connsiteY4" fmla="*/ 723424 h 1275111"/>
                <a:gd name="connsiteX5" fmla="*/ 928497 w 1383696"/>
                <a:gd name="connsiteY5" fmla="*/ 723424 h 1275111"/>
                <a:gd name="connsiteX6" fmla="*/ 928497 w 1383696"/>
                <a:gd name="connsiteY6" fmla="*/ 503396 h 1275111"/>
                <a:gd name="connsiteX7" fmla="*/ 313563 w 1383696"/>
                <a:gd name="connsiteY7" fmla="*/ 503396 h 1275111"/>
                <a:gd name="connsiteX8" fmla="*/ 313563 w 1383696"/>
                <a:gd name="connsiteY8" fmla="*/ 226028 h 1275111"/>
                <a:gd name="connsiteX9" fmla="*/ 1368743 w 1383696"/>
                <a:gd name="connsiteY9" fmla="*/ 226028 h 1275111"/>
                <a:gd name="connsiteX10" fmla="*/ 1368743 w 1383696"/>
                <a:gd name="connsiteY10" fmla="*/ 0 h 1275111"/>
                <a:gd name="connsiteX11" fmla="*/ 0 w 1383696"/>
                <a:gd name="connsiteY11" fmla="*/ 0 h 127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3696" h="1275111">
                  <a:moveTo>
                    <a:pt x="0" y="1275112"/>
                  </a:moveTo>
                  <a:lnTo>
                    <a:pt x="1383697" y="1275112"/>
                  </a:lnTo>
                  <a:lnTo>
                    <a:pt x="1383697" y="1036987"/>
                  </a:lnTo>
                  <a:lnTo>
                    <a:pt x="313563" y="1036987"/>
                  </a:lnTo>
                  <a:lnTo>
                    <a:pt x="313563" y="723424"/>
                  </a:lnTo>
                  <a:lnTo>
                    <a:pt x="928497" y="723424"/>
                  </a:lnTo>
                  <a:lnTo>
                    <a:pt x="928497" y="503396"/>
                  </a:lnTo>
                  <a:lnTo>
                    <a:pt x="313563" y="503396"/>
                  </a:lnTo>
                  <a:lnTo>
                    <a:pt x="313563" y="226028"/>
                  </a:lnTo>
                  <a:lnTo>
                    <a:pt x="1368743" y="226028"/>
                  </a:lnTo>
                  <a:lnTo>
                    <a:pt x="1368743" y="0"/>
                  </a:lnTo>
                  <a:lnTo>
                    <a:pt x="0" y="0"/>
                  </a:lnTo>
                  <a:close/>
                </a:path>
              </a:pathLst>
            </a:custGeom>
            <a:grpFill/>
            <a:ln w="9525" cap="flat">
              <a:noFill/>
              <a:prstDash val="solid"/>
              <a:miter/>
            </a:ln>
          </p:spPr>
          <p:txBody>
            <a:bodyPr lIns="0" tIns="0" rIns="0" bIns="0" rtlCol="0" anchor="ctr"/>
            <a:lstStyle/>
            <a:p>
              <a:endParaRPr lang="de-DE" sz="100"/>
            </a:p>
          </p:txBody>
        </p:sp>
        <p:sp>
          <p:nvSpPr>
            <p:cNvPr id="31" name="s">
              <a:extLst>
                <a:ext uri="{FF2B5EF4-FFF2-40B4-BE49-F238E27FC236}">
                  <a16:creationId xmlns:a16="http://schemas.microsoft.com/office/drawing/2014/main" id="{CBC4A26D-D085-419A-A059-C007D9A97120}"/>
                </a:ext>
              </a:extLst>
            </p:cNvPr>
            <p:cNvSpPr/>
            <p:nvPr/>
          </p:nvSpPr>
          <p:spPr bwMode="gray">
            <a:xfrm>
              <a:off x="7714204" y="1899664"/>
              <a:ext cx="1495239" cy="1275213"/>
            </a:xfrm>
            <a:custGeom>
              <a:avLst/>
              <a:gdLst>
                <a:gd name="connsiteX0" fmla="*/ 1211770 w 1495234"/>
                <a:gd name="connsiteY0" fmla="*/ 229076 h 1275207"/>
                <a:gd name="connsiteX1" fmla="*/ 1211770 w 1495234"/>
                <a:gd name="connsiteY1" fmla="*/ 348234 h 1275207"/>
                <a:gd name="connsiteX2" fmla="*/ 1479995 w 1495234"/>
                <a:gd name="connsiteY2" fmla="*/ 291084 h 1275207"/>
                <a:gd name="connsiteX3" fmla="*/ 1479995 w 1495234"/>
                <a:gd name="connsiteY3" fmla="*/ 277368 h 1275207"/>
                <a:gd name="connsiteX4" fmla="*/ 1145477 w 1495234"/>
                <a:gd name="connsiteY4" fmla="*/ 0 h 1275207"/>
                <a:gd name="connsiteX5" fmla="*/ 388905 w 1495234"/>
                <a:gd name="connsiteY5" fmla="*/ 0 h 1275207"/>
                <a:gd name="connsiteX6" fmla="*/ 54197 w 1495234"/>
                <a:gd name="connsiteY6" fmla="*/ 301561 h 1275207"/>
                <a:gd name="connsiteX7" fmla="*/ 54197 w 1495234"/>
                <a:gd name="connsiteY7" fmla="*/ 443294 h 1275207"/>
                <a:gd name="connsiteX8" fmla="*/ 388905 w 1495234"/>
                <a:gd name="connsiteY8" fmla="*/ 744665 h 1275207"/>
                <a:gd name="connsiteX9" fmla="*/ 1214818 w 1495234"/>
                <a:gd name="connsiteY9" fmla="*/ 744665 h 1275207"/>
                <a:gd name="connsiteX10" fmla="*/ 1214818 w 1495234"/>
                <a:gd name="connsiteY10" fmla="*/ 1037177 h 1275207"/>
                <a:gd name="connsiteX11" fmla="*/ 277177 w 1495234"/>
                <a:gd name="connsiteY11" fmla="*/ 1037177 h 1275207"/>
                <a:gd name="connsiteX12" fmla="*/ 277177 w 1495234"/>
                <a:gd name="connsiteY12" fmla="*/ 902875 h 1275207"/>
                <a:gd name="connsiteX13" fmla="*/ 0 w 1495234"/>
                <a:gd name="connsiteY13" fmla="*/ 954214 h 1275207"/>
                <a:gd name="connsiteX14" fmla="*/ 0 w 1495234"/>
                <a:gd name="connsiteY14" fmla="*/ 973836 h 1275207"/>
                <a:gd name="connsiteX15" fmla="*/ 334518 w 1495234"/>
                <a:gd name="connsiteY15" fmla="*/ 1275207 h 1275207"/>
                <a:gd name="connsiteX16" fmla="*/ 1163669 w 1495234"/>
                <a:gd name="connsiteY16" fmla="*/ 1275207 h 1275207"/>
                <a:gd name="connsiteX17" fmla="*/ 1495234 w 1495234"/>
                <a:gd name="connsiteY17" fmla="*/ 973836 h 1275207"/>
                <a:gd name="connsiteX18" fmla="*/ 1495234 w 1495234"/>
                <a:gd name="connsiteY18" fmla="*/ 798957 h 1275207"/>
                <a:gd name="connsiteX19" fmla="*/ 1163669 w 1495234"/>
                <a:gd name="connsiteY19" fmla="*/ 497586 h 1275207"/>
                <a:gd name="connsiteX20" fmla="*/ 334518 w 1495234"/>
                <a:gd name="connsiteY20" fmla="*/ 497586 h 1275207"/>
                <a:gd name="connsiteX21" fmla="*/ 334518 w 1495234"/>
                <a:gd name="connsiteY21" fmla="*/ 229076 h 1275207"/>
                <a:gd name="connsiteX22" fmla="*/ 1211770 w 1495234"/>
                <a:gd name="connsiteY22" fmla="*/ 229076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95234" h="1275207">
                  <a:moveTo>
                    <a:pt x="1211770" y="229076"/>
                  </a:moveTo>
                  <a:lnTo>
                    <a:pt x="1211770" y="348234"/>
                  </a:lnTo>
                  <a:lnTo>
                    <a:pt x="1479995" y="291084"/>
                  </a:lnTo>
                  <a:lnTo>
                    <a:pt x="1479995" y="277368"/>
                  </a:lnTo>
                  <a:cubicBezTo>
                    <a:pt x="1479995" y="54388"/>
                    <a:pt x="1380649" y="0"/>
                    <a:pt x="1145477" y="0"/>
                  </a:cubicBezTo>
                  <a:lnTo>
                    <a:pt x="388905" y="0"/>
                  </a:lnTo>
                  <a:cubicBezTo>
                    <a:pt x="138684" y="0"/>
                    <a:pt x="54197" y="60388"/>
                    <a:pt x="54197" y="301561"/>
                  </a:cubicBezTo>
                  <a:lnTo>
                    <a:pt x="54197" y="443294"/>
                  </a:lnTo>
                  <a:cubicBezTo>
                    <a:pt x="54197" y="684467"/>
                    <a:pt x="138684" y="744665"/>
                    <a:pt x="388905" y="744665"/>
                  </a:cubicBezTo>
                  <a:lnTo>
                    <a:pt x="1214818" y="744665"/>
                  </a:lnTo>
                  <a:lnTo>
                    <a:pt x="1214818" y="1037177"/>
                  </a:lnTo>
                  <a:lnTo>
                    <a:pt x="277177" y="1037177"/>
                  </a:lnTo>
                  <a:lnTo>
                    <a:pt x="277177" y="902875"/>
                  </a:lnTo>
                  <a:lnTo>
                    <a:pt x="0" y="954214"/>
                  </a:lnTo>
                  <a:lnTo>
                    <a:pt x="0" y="973836"/>
                  </a:lnTo>
                  <a:cubicBezTo>
                    <a:pt x="0" y="1212056"/>
                    <a:pt x="81343" y="1275207"/>
                    <a:pt x="334518" y="1275207"/>
                  </a:cubicBezTo>
                  <a:lnTo>
                    <a:pt x="1163669" y="1275207"/>
                  </a:lnTo>
                  <a:cubicBezTo>
                    <a:pt x="1416844" y="1275207"/>
                    <a:pt x="1495234" y="1212056"/>
                    <a:pt x="1495234" y="973836"/>
                  </a:cubicBezTo>
                  <a:lnTo>
                    <a:pt x="1495234" y="798957"/>
                  </a:lnTo>
                  <a:cubicBezTo>
                    <a:pt x="1495234" y="557784"/>
                    <a:pt x="1416939" y="497586"/>
                    <a:pt x="1163669" y="497586"/>
                  </a:cubicBezTo>
                  <a:lnTo>
                    <a:pt x="334518" y="497586"/>
                  </a:lnTo>
                  <a:lnTo>
                    <a:pt x="334518" y="229076"/>
                  </a:lnTo>
                  <a:lnTo>
                    <a:pt x="1211770" y="229076"/>
                  </a:lnTo>
                  <a:close/>
                </a:path>
              </a:pathLst>
            </a:custGeom>
            <a:grpFill/>
            <a:ln w="9525" cap="flat">
              <a:noFill/>
              <a:prstDash val="solid"/>
              <a:miter/>
            </a:ln>
          </p:spPr>
          <p:txBody>
            <a:bodyPr lIns="0" tIns="0" rIns="0" bIns="0" rtlCol="0" anchor="ctr"/>
            <a:lstStyle/>
            <a:p>
              <a:endParaRPr lang="de-DE" sz="100"/>
            </a:p>
          </p:txBody>
        </p:sp>
        <p:sp>
          <p:nvSpPr>
            <p:cNvPr id="32" name="&amp;">
              <a:extLst>
                <a:ext uri="{FF2B5EF4-FFF2-40B4-BE49-F238E27FC236}">
                  <a16:creationId xmlns:a16="http://schemas.microsoft.com/office/drawing/2014/main" id="{102E5E67-2FEA-4CC3-ABAE-4EA305CD4251}"/>
                </a:ext>
              </a:extLst>
            </p:cNvPr>
            <p:cNvSpPr/>
            <p:nvPr/>
          </p:nvSpPr>
          <p:spPr bwMode="gray">
            <a:xfrm>
              <a:off x="9995063" y="1619247"/>
              <a:ext cx="2104259" cy="1555528"/>
            </a:xfrm>
            <a:custGeom>
              <a:avLst/>
              <a:gdLst>
                <a:gd name="connsiteX0" fmla="*/ 304514 w 2104263"/>
                <a:gd name="connsiteY0" fmla="*/ 1284161 h 1555527"/>
                <a:gd name="connsiteX1" fmla="*/ 304514 w 2104263"/>
                <a:gd name="connsiteY1" fmla="*/ 1018985 h 1555527"/>
                <a:gd name="connsiteX2" fmla="*/ 702373 w 2104263"/>
                <a:gd name="connsiteY2" fmla="*/ 771811 h 1555527"/>
                <a:gd name="connsiteX3" fmla="*/ 1169575 w 2104263"/>
                <a:gd name="connsiteY3" fmla="*/ 1160717 h 1555527"/>
                <a:gd name="connsiteX4" fmla="*/ 1024890 w 2104263"/>
                <a:gd name="connsiteY4" fmla="*/ 1284256 h 1555527"/>
                <a:gd name="connsiteX5" fmla="*/ 304514 w 2104263"/>
                <a:gd name="connsiteY5" fmla="*/ 1284256 h 1555527"/>
                <a:gd name="connsiteX6" fmla="*/ 388811 w 2104263"/>
                <a:gd name="connsiteY6" fmla="*/ 1555528 h 1555527"/>
                <a:gd name="connsiteX7" fmla="*/ 943547 w 2104263"/>
                <a:gd name="connsiteY7" fmla="*/ 1555528 h 1555527"/>
                <a:gd name="connsiteX8" fmla="*/ 1235964 w 2104263"/>
                <a:gd name="connsiteY8" fmla="*/ 1461992 h 1555527"/>
                <a:gd name="connsiteX9" fmla="*/ 1374649 w 2104263"/>
                <a:gd name="connsiteY9" fmla="*/ 1338453 h 1555527"/>
                <a:gd name="connsiteX10" fmla="*/ 1630870 w 2104263"/>
                <a:gd name="connsiteY10" fmla="*/ 1555528 h 1555527"/>
                <a:gd name="connsiteX11" fmla="*/ 2104264 w 2104263"/>
                <a:gd name="connsiteY11" fmla="*/ 1555528 h 1555527"/>
                <a:gd name="connsiteX12" fmla="*/ 1612869 w 2104263"/>
                <a:gd name="connsiteY12" fmla="*/ 1142429 h 1555527"/>
                <a:gd name="connsiteX13" fmla="*/ 1971580 w 2104263"/>
                <a:gd name="connsiteY13" fmla="*/ 844106 h 1555527"/>
                <a:gd name="connsiteX14" fmla="*/ 1766507 w 2104263"/>
                <a:gd name="connsiteY14" fmla="*/ 666274 h 1555527"/>
                <a:gd name="connsiteX15" fmla="*/ 1404747 w 2104263"/>
                <a:gd name="connsiteY15" fmla="*/ 967645 h 1555527"/>
                <a:gd name="connsiteX16" fmla="*/ 672180 w 2104263"/>
                <a:gd name="connsiteY16" fmla="*/ 358712 h 1555527"/>
                <a:gd name="connsiteX17" fmla="*/ 672180 w 2104263"/>
                <a:gd name="connsiteY17" fmla="*/ 247174 h 1555527"/>
                <a:gd name="connsiteX18" fmla="*/ 1181767 w 2104263"/>
                <a:gd name="connsiteY18" fmla="*/ 247174 h 1555527"/>
                <a:gd name="connsiteX19" fmla="*/ 1181767 w 2104263"/>
                <a:gd name="connsiteY19" fmla="*/ 455295 h 1555527"/>
                <a:gd name="connsiteX20" fmla="*/ 1461992 w 2104263"/>
                <a:gd name="connsiteY20" fmla="*/ 407099 h 1555527"/>
                <a:gd name="connsiteX21" fmla="*/ 1461992 w 2104263"/>
                <a:gd name="connsiteY21" fmla="*/ 313563 h 1555527"/>
                <a:gd name="connsiteX22" fmla="*/ 1076134 w 2104263"/>
                <a:gd name="connsiteY22" fmla="*/ 0 h 1555527"/>
                <a:gd name="connsiteX23" fmla="*/ 762763 w 2104263"/>
                <a:gd name="connsiteY23" fmla="*/ 0 h 1555527"/>
                <a:gd name="connsiteX24" fmla="*/ 376905 w 2104263"/>
                <a:gd name="connsiteY24" fmla="*/ 283369 h 1555527"/>
                <a:gd name="connsiteX25" fmla="*/ 376905 w 2104263"/>
                <a:gd name="connsiteY25" fmla="*/ 370713 h 1555527"/>
                <a:gd name="connsiteX26" fmla="*/ 509588 w 2104263"/>
                <a:gd name="connsiteY26" fmla="*/ 605885 h 1555527"/>
                <a:gd name="connsiteX27" fmla="*/ 192881 w 2104263"/>
                <a:gd name="connsiteY27" fmla="*/ 795909 h 1555527"/>
                <a:gd name="connsiteX28" fmla="*/ 0 w 2104263"/>
                <a:gd name="connsiteY28" fmla="*/ 1085279 h 1555527"/>
                <a:gd name="connsiteX29" fmla="*/ 0 w 2104263"/>
                <a:gd name="connsiteY29" fmla="*/ 1187768 h 1555527"/>
                <a:gd name="connsiteX30" fmla="*/ 388811 w 2104263"/>
                <a:gd name="connsiteY30" fmla="*/ 1555528 h 155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104263" h="1555527">
                  <a:moveTo>
                    <a:pt x="304514" y="1284161"/>
                  </a:moveTo>
                  <a:lnTo>
                    <a:pt x="304514" y="1018985"/>
                  </a:lnTo>
                  <a:lnTo>
                    <a:pt x="702373" y="771811"/>
                  </a:lnTo>
                  <a:lnTo>
                    <a:pt x="1169575" y="1160717"/>
                  </a:lnTo>
                  <a:lnTo>
                    <a:pt x="1024890" y="1284256"/>
                  </a:lnTo>
                  <a:lnTo>
                    <a:pt x="304514" y="1284256"/>
                  </a:lnTo>
                  <a:close/>
                  <a:moveTo>
                    <a:pt x="388811" y="1555528"/>
                  </a:moveTo>
                  <a:lnTo>
                    <a:pt x="943547" y="1555528"/>
                  </a:lnTo>
                  <a:cubicBezTo>
                    <a:pt x="1073087" y="1555528"/>
                    <a:pt x="1136428" y="1549527"/>
                    <a:pt x="1235964" y="1461992"/>
                  </a:cubicBezTo>
                  <a:lnTo>
                    <a:pt x="1374649" y="1338453"/>
                  </a:lnTo>
                  <a:lnTo>
                    <a:pt x="1630870" y="1555528"/>
                  </a:lnTo>
                  <a:lnTo>
                    <a:pt x="2104264" y="1555528"/>
                  </a:lnTo>
                  <a:lnTo>
                    <a:pt x="1612869" y="1142429"/>
                  </a:lnTo>
                  <a:lnTo>
                    <a:pt x="1971580" y="844106"/>
                  </a:lnTo>
                  <a:lnTo>
                    <a:pt x="1766507" y="666274"/>
                  </a:lnTo>
                  <a:lnTo>
                    <a:pt x="1404747" y="967645"/>
                  </a:lnTo>
                  <a:lnTo>
                    <a:pt x="672180" y="358712"/>
                  </a:lnTo>
                  <a:lnTo>
                    <a:pt x="672180" y="247174"/>
                  </a:lnTo>
                  <a:lnTo>
                    <a:pt x="1181767" y="247174"/>
                  </a:lnTo>
                  <a:lnTo>
                    <a:pt x="1181767" y="455295"/>
                  </a:lnTo>
                  <a:lnTo>
                    <a:pt x="1461992" y="407099"/>
                  </a:lnTo>
                  <a:lnTo>
                    <a:pt x="1461992" y="313563"/>
                  </a:lnTo>
                  <a:cubicBezTo>
                    <a:pt x="1461992" y="60389"/>
                    <a:pt x="1356456" y="0"/>
                    <a:pt x="1076134" y="0"/>
                  </a:cubicBezTo>
                  <a:lnTo>
                    <a:pt x="762763" y="0"/>
                  </a:lnTo>
                  <a:cubicBezTo>
                    <a:pt x="497395" y="0"/>
                    <a:pt x="376905" y="60389"/>
                    <a:pt x="376905" y="283369"/>
                  </a:cubicBezTo>
                  <a:lnTo>
                    <a:pt x="376905" y="370713"/>
                  </a:lnTo>
                  <a:cubicBezTo>
                    <a:pt x="376905" y="461200"/>
                    <a:pt x="419100" y="530543"/>
                    <a:pt x="509588" y="605885"/>
                  </a:cubicBezTo>
                  <a:lnTo>
                    <a:pt x="192881" y="795909"/>
                  </a:lnTo>
                  <a:cubicBezTo>
                    <a:pt x="57341" y="877253"/>
                    <a:pt x="0" y="925449"/>
                    <a:pt x="0" y="1085279"/>
                  </a:cubicBezTo>
                  <a:lnTo>
                    <a:pt x="0" y="1187768"/>
                  </a:lnTo>
                  <a:cubicBezTo>
                    <a:pt x="0" y="1480185"/>
                    <a:pt x="96488" y="1555528"/>
                    <a:pt x="388811" y="1555528"/>
                  </a:cubicBezTo>
                </a:path>
              </a:pathLst>
            </a:custGeom>
            <a:grpFill/>
            <a:ln w="9525" cap="flat">
              <a:noFill/>
              <a:prstDash val="solid"/>
              <a:miter/>
            </a:ln>
          </p:spPr>
          <p:txBody>
            <a:bodyPr lIns="0" tIns="0" rIns="0" bIns="0" rtlCol="0" anchor="ctr"/>
            <a:lstStyle/>
            <a:p>
              <a:endParaRPr lang="de-DE" sz="100"/>
            </a:p>
          </p:txBody>
        </p:sp>
        <p:sp>
          <p:nvSpPr>
            <p:cNvPr id="33" name="s">
              <a:extLst>
                <a:ext uri="{FF2B5EF4-FFF2-40B4-BE49-F238E27FC236}">
                  <a16:creationId xmlns:a16="http://schemas.microsoft.com/office/drawing/2014/main" id="{947A1A9B-B23F-4263-9880-41EBCD6B8C33}"/>
                </a:ext>
              </a:extLst>
            </p:cNvPr>
            <p:cNvSpPr/>
            <p:nvPr/>
          </p:nvSpPr>
          <p:spPr bwMode="gray">
            <a:xfrm>
              <a:off x="95247" y="3686081"/>
              <a:ext cx="1739650" cy="1555528"/>
            </a:xfrm>
            <a:custGeom>
              <a:avLst/>
              <a:gdLst>
                <a:gd name="connsiteX0" fmla="*/ 1398842 w 1739645"/>
                <a:gd name="connsiteY0" fmla="*/ 271367 h 1555527"/>
                <a:gd name="connsiteX1" fmla="*/ 1398842 w 1739645"/>
                <a:gd name="connsiteY1" fmla="*/ 439865 h 1555527"/>
                <a:gd name="connsiteX2" fmla="*/ 1718405 w 1739645"/>
                <a:gd name="connsiteY2" fmla="*/ 364522 h 1555527"/>
                <a:gd name="connsiteX3" fmla="*/ 1718405 w 1739645"/>
                <a:gd name="connsiteY3" fmla="*/ 340709 h 1555527"/>
                <a:gd name="connsiteX4" fmla="*/ 1332548 w 1739645"/>
                <a:gd name="connsiteY4" fmla="*/ 0 h 1555527"/>
                <a:gd name="connsiteX5" fmla="*/ 449199 w 1739645"/>
                <a:gd name="connsiteY5" fmla="*/ 0 h 1555527"/>
                <a:gd name="connsiteX6" fmla="*/ 63341 w 1739645"/>
                <a:gd name="connsiteY6" fmla="*/ 367855 h 1555527"/>
                <a:gd name="connsiteX7" fmla="*/ 63341 w 1739645"/>
                <a:gd name="connsiteY7" fmla="*/ 539496 h 1555527"/>
                <a:gd name="connsiteX8" fmla="*/ 449199 w 1739645"/>
                <a:gd name="connsiteY8" fmla="*/ 907351 h 1555527"/>
                <a:gd name="connsiteX9" fmla="*/ 1419987 w 1739645"/>
                <a:gd name="connsiteY9" fmla="*/ 907351 h 1555527"/>
                <a:gd name="connsiteX10" fmla="*/ 1419987 w 1739645"/>
                <a:gd name="connsiteY10" fmla="*/ 1263110 h 1555527"/>
                <a:gd name="connsiteX11" fmla="*/ 319754 w 1739645"/>
                <a:gd name="connsiteY11" fmla="*/ 1263110 h 1555527"/>
                <a:gd name="connsiteX12" fmla="*/ 319754 w 1739645"/>
                <a:gd name="connsiteY12" fmla="*/ 1095661 h 1555527"/>
                <a:gd name="connsiteX13" fmla="*/ 0 w 1739645"/>
                <a:gd name="connsiteY13" fmla="*/ 1162050 h 1555527"/>
                <a:gd name="connsiteX14" fmla="*/ 0 w 1739645"/>
                <a:gd name="connsiteY14" fmla="*/ 1187768 h 1555527"/>
                <a:gd name="connsiteX15" fmla="*/ 388906 w 1739645"/>
                <a:gd name="connsiteY15" fmla="*/ 1555528 h 1555527"/>
                <a:gd name="connsiteX16" fmla="*/ 1350740 w 1739645"/>
                <a:gd name="connsiteY16" fmla="*/ 1555528 h 1555527"/>
                <a:gd name="connsiteX17" fmla="*/ 1739646 w 1739645"/>
                <a:gd name="connsiteY17" fmla="*/ 1187768 h 1555527"/>
                <a:gd name="connsiteX18" fmla="*/ 1739646 w 1739645"/>
                <a:gd name="connsiteY18" fmla="*/ 973741 h 1555527"/>
                <a:gd name="connsiteX19" fmla="*/ 1350740 w 1739645"/>
                <a:gd name="connsiteY19" fmla="*/ 605885 h 1555527"/>
                <a:gd name="connsiteX20" fmla="*/ 379857 w 1739645"/>
                <a:gd name="connsiteY20" fmla="*/ 605885 h 1555527"/>
                <a:gd name="connsiteX21" fmla="*/ 379857 w 1739645"/>
                <a:gd name="connsiteY21" fmla="*/ 271367 h 1555527"/>
                <a:gd name="connsiteX22" fmla="*/ 1398842 w 1739645"/>
                <a:gd name="connsiteY22" fmla="*/ 271367 h 155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39645" h="1555527">
                  <a:moveTo>
                    <a:pt x="1398842" y="271367"/>
                  </a:moveTo>
                  <a:lnTo>
                    <a:pt x="1398842" y="439865"/>
                  </a:lnTo>
                  <a:lnTo>
                    <a:pt x="1718405" y="364522"/>
                  </a:lnTo>
                  <a:lnTo>
                    <a:pt x="1718405" y="340709"/>
                  </a:lnTo>
                  <a:cubicBezTo>
                    <a:pt x="1718405" y="72295"/>
                    <a:pt x="1609916" y="0"/>
                    <a:pt x="1332548" y="0"/>
                  </a:cubicBezTo>
                  <a:lnTo>
                    <a:pt x="449199" y="0"/>
                  </a:lnTo>
                  <a:cubicBezTo>
                    <a:pt x="156781" y="0"/>
                    <a:pt x="63341" y="75343"/>
                    <a:pt x="63341" y="367855"/>
                  </a:cubicBezTo>
                  <a:lnTo>
                    <a:pt x="63341" y="539496"/>
                  </a:lnTo>
                  <a:cubicBezTo>
                    <a:pt x="63341" y="832009"/>
                    <a:pt x="156877" y="907351"/>
                    <a:pt x="449199" y="907351"/>
                  </a:cubicBezTo>
                  <a:lnTo>
                    <a:pt x="1419987" y="907351"/>
                  </a:lnTo>
                  <a:lnTo>
                    <a:pt x="1419987" y="1263110"/>
                  </a:lnTo>
                  <a:lnTo>
                    <a:pt x="319754" y="1263110"/>
                  </a:lnTo>
                  <a:lnTo>
                    <a:pt x="319754" y="1095661"/>
                  </a:lnTo>
                  <a:lnTo>
                    <a:pt x="0" y="1162050"/>
                  </a:lnTo>
                  <a:lnTo>
                    <a:pt x="0" y="1187768"/>
                  </a:lnTo>
                  <a:cubicBezTo>
                    <a:pt x="0" y="1480185"/>
                    <a:pt x="96488" y="1555528"/>
                    <a:pt x="388906" y="1555528"/>
                  </a:cubicBezTo>
                  <a:lnTo>
                    <a:pt x="1350740" y="1555528"/>
                  </a:lnTo>
                  <a:cubicBezTo>
                    <a:pt x="1643158" y="1555528"/>
                    <a:pt x="1739646" y="1480185"/>
                    <a:pt x="1739646" y="1187768"/>
                  </a:cubicBezTo>
                  <a:lnTo>
                    <a:pt x="1739646" y="973741"/>
                  </a:lnTo>
                  <a:cubicBezTo>
                    <a:pt x="1739646" y="681228"/>
                    <a:pt x="1643158" y="605885"/>
                    <a:pt x="1350740" y="605885"/>
                  </a:cubicBezTo>
                  <a:lnTo>
                    <a:pt x="379857" y="605885"/>
                  </a:lnTo>
                  <a:lnTo>
                    <a:pt x="379857" y="271367"/>
                  </a:lnTo>
                  <a:lnTo>
                    <a:pt x="1398842" y="271367"/>
                  </a:lnTo>
                  <a:close/>
                </a:path>
              </a:pathLst>
            </a:custGeom>
            <a:grpFill/>
            <a:ln w="9525" cap="flat">
              <a:noFill/>
              <a:prstDash val="solid"/>
              <a:miter/>
            </a:ln>
          </p:spPr>
          <p:txBody>
            <a:bodyPr lIns="0" tIns="0" rIns="0" bIns="0" rtlCol="0" anchor="ctr"/>
            <a:lstStyle/>
            <a:p>
              <a:endParaRPr lang="de-DE" sz="100"/>
            </a:p>
          </p:txBody>
        </p:sp>
        <p:sp>
          <p:nvSpPr>
            <p:cNvPr id="34" name="o">
              <a:extLst>
                <a:ext uri="{FF2B5EF4-FFF2-40B4-BE49-F238E27FC236}">
                  <a16:creationId xmlns:a16="http://schemas.microsoft.com/office/drawing/2014/main" id="{E25BA865-55A1-4372-9E43-B5A7FD91BE0E}"/>
                </a:ext>
              </a:extLst>
            </p:cNvPr>
            <p:cNvSpPr/>
            <p:nvPr/>
          </p:nvSpPr>
          <p:spPr bwMode="gray">
            <a:xfrm>
              <a:off x="2206937" y="3966587"/>
              <a:ext cx="1682019" cy="1275212"/>
            </a:xfrm>
            <a:custGeom>
              <a:avLst/>
              <a:gdLst>
                <a:gd name="connsiteX0" fmla="*/ 326041 w 1682019"/>
                <a:gd name="connsiteY0" fmla="*/ 234982 h 1275207"/>
                <a:gd name="connsiteX1" fmla="*/ 1374648 w 1682019"/>
                <a:gd name="connsiteY1" fmla="*/ 234982 h 1275207"/>
                <a:gd name="connsiteX2" fmla="*/ 1374648 w 1682019"/>
                <a:gd name="connsiteY2" fmla="*/ 1030891 h 1275207"/>
                <a:gd name="connsiteX3" fmla="*/ 326041 w 1682019"/>
                <a:gd name="connsiteY3" fmla="*/ 1030891 h 1275207"/>
                <a:gd name="connsiteX4" fmla="*/ 326041 w 1682019"/>
                <a:gd name="connsiteY4" fmla="*/ 234982 h 1275207"/>
                <a:gd name="connsiteX5" fmla="*/ 0 w 1682019"/>
                <a:gd name="connsiteY5" fmla="*/ 301371 h 1275207"/>
                <a:gd name="connsiteX6" fmla="*/ 0 w 1682019"/>
                <a:gd name="connsiteY6" fmla="*/ 973646 h 1275207"/>
                <a:gd name="connsiteX7" fmla="*/ 338233 w 1682019"/>
                <a:gd name="connsiteY7" fmla="*/ 1275207 h 1275207"/>
                <a:gd name="connsiteX8" fmla="*/ 1343787 w 1682019"/>
                <a:gd name="connsiteY8" fmla="*/ 1275207 h 1275207"/>
                <a:gd name="connsiteX9" fmla="*/ 1682020 w 1682019"/>
                <a:gd name="connsiteY9" fmla="*/ 973646 h 1275207"/>
                <a:gd name="connsiteX10" fmla="*/ 1682020 w 1682019"/>
                <a:gd name="connsiteY10" fmla="*/ 301371 h 1275207"/>
                <a:gd name="connsiteX11" fmla="*/ 1343787 w 1682019"/>
                <a:gd name="connsiteY11" fmla="*/ 0 h 1275207"/>
                <a:gd name="connsiteX12" fmla="*/ 338233 w 1682019"/>
                <a:gd name="connsiteY12" fmla="*/ 0 h 1275207"/>
                <a:gd name="connsiteX13" fmla="*/ 0 w 1682019"/>
                <a:gd name="connsiteY13" fmla="*/ 301371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82019" h="1275207">
                  <a:moveTo>
                    <a:pt x="326041" y="234982"/>
                  </a:moveTo>
                  <a:lnTo>
                    <a:pt x="1374648" y="234982"/>
                  </a:lnTo>
                  <a:lnTo>
                    <a:pt x="1374648" y="1030891"/>
                  </a:lnTo>
                  <a:lnTo>
                    <a:pt x="326041" y="1030891"/>
                  </a:lnTo>
                  <a:lnTo>
                    <a:pt x="326041" y="234982"/>
                  </a:lnTo>
                  <a:close/>
                  <a:moveTo>
                    <a:pt x="0" y="301371"/>
                  </a:moveTo>
                  <a:lnTo>
                    <a:pt x="0" y="973646"/>
                  </a:lnTo>
                  <a:cubicBezTo>
                    <a:pt x="0" y="1214819"/>
                    <a:pt x="79915" y="1275207"/>
                    <a:pt x="338233" y="1275207"/>
                  </a:cubicBezTo>
                  <a:lnTo>
                    <a:pt x="1343787" y="1275207"/>
                  </a:lnTo>
                  <a:cubicBezTo>
                    <a:pt x="1598962" y="1275207"/>
                    <a:pt x="1682020" y="1214819"/>
                    <a:pt x="1682020" y="973646"/>
                  </a:cubicBezTo>
                  <a:lnTo>
                    <a:pt x="1682020" y="301371"/>
                  </a:lnTo>
                  <a:cubicBezTo>
                    <a:pt x="1682020" y="57150"/>
                    <a:pt x="1598867" y="0"/>
                    <a:pt x="1343787" y="0"/>
                  </a:cubicBezTo>
                  <a:lnTo>
                    <a:pt x="338233" y="0"/>
                  </a:lnTo>
                  <a:cubicBezTo>
                    <a:pt x="83153" y="0"/>
                    <a:pt x="0" y="57150"/>
                    <a:pt x="0" y="301371"/>
                  </a:cubicBezTo>
                </a:path>
              </a:pathLst>
            </a:custGeom>
            <a:grpFill/>
            <a:ln w="9525" cap="flat">
              <a:noFill/>
              <a:prstDash val="solid"/>
              <a:miter/>
            </a:ln>
          </p:spPr>
          <p:txBody>
            <a:bodyPr lIns="0" tIns="0" rIns="0" bIns="0" rtlCol="0" anchor="ctr"/>
            <a:lstStyle/>
            <a:p>
              <a:endParaRPr lang="de-DE" sz="100"/>
            </a:p>
          </p:txBody>
        </p:sp>
        <p:sp>
          <p:nvSpPr>
            <p:cNvPr id="35" name="m">
              <a:extLst>
                <a:ext uri="{FF2B5EF4-FFF2-40B4-BE49-F238E27FC236}">
                  <a16:creationId xmlns:a16="http://schemas.microsoft.com/office/drawing/2014/main" id="{DC9E5A56-9E89-4611-9EC2-4F95CBB6F684}"/>
                </a:ext>
              </a:extLst>
            </p:cNvPr>
            <p:cNvSpPr/>
            <p:nvPr/>
          </p:nvSpPr>
          <p:spPr bwMode="gray">
            <a:xfrm>
              <a:off x="4290154" y="3966498"/>
              <a:ext cx="1815752" cy="1275212"/>
            </a:xfrm>
            <a:custGeom>
              <a:avLst/>
              <a:gdLst>
                <a:gd name="connsiteX0" fmla="*/ 1560576 w 1815750"/>
                <a:gd name="connsiteY0" fmla="*/ 0 h 1275207"/>
                <a:gd name="connsiteX1" fmla="*/ 927163 w 1815750"/>
                <a:gd name="connsiteY1" fmla="*/ 756571 h 1275207"/>
                <a:gd name="connsiteX2" fmla="*/ 290703 w 1815750"/>
                <a:gd name="connsiteY2" fmla="*/ 0 h 1275207"/>
                <a:gd name="connsiteX3" fmla="*/ 0 w 1815750"/>
                <a:gd name="connsiteY3" fmla="*/ 0 h 1275207"/>
                <a:gd name="connsiteX4" fmla="*/ 0 w 1815750"/>
                <a:gd name="connsiteY4" fmla="*/ 1275207 h 1275207"/>
                <a:gd name="connsiteX5" fmla="*/ 290703 w 1815750"/>
                <a:gd name="connsiteY5" fmla="*/ 1275207 h 1275207"/>
                <a:gd name="connsiteX6" fmla="*/ 290703 w 1815750"/>
                <a:gd name="connsiteY6" fmla="*/ 419100 h 1275207"/>
                <a:gd name="connsiteX7" fmla="*/ 877919 w 1815750"/>
                <a:gd name="connsiteY7" fmla="*/ 1121474 h 1275207"/>
                <a:gd name="connsiteX8" fmla="*/ 939356 w 1815750"/>
                <a:gd name="connsiteY8" fmla="*/ 1121474 h 1275207"/>
                <a:gd name="connsiteX9" fmla="*/ 1520571 w 1815750"/>
                <a:gd name="connsiteY9" fmla="*/ 397859 h 1275207"/>
                <a:gd name="connsiteX10" fmla="*/ 1520571 w 1815750"/>
                <a:gd name="connsiteY10" fmla="*/ 1275207 h 1275207"/>
                <a:gd name="connsiteX11" fmla="*/ 1815751 w 1815750"/>
                <a:gd name="connsiteY11" fmla="*/ 1275207 h 1275207"/>
                <a:gd name="connsiteX12" fmla="*/ 1815751 w 1815750"/>
                <a:gd name="connsiteY12" fmla="*/ 0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5750" h="1275207">
                  <a:moveTo>
                    <a:pt x="1560576" y="0"/>
                  </a:moveTo>
                  <a:lnTo>
                    <a:pt x="927163" y="756571"/>
                  </a:lnTo>
                  <a:lnTo>
                    <a:pt x="290703" y="0"/>
                  </a:lnTo>
                  <a:lnTo>
                    <a:pt x="0" y="0"/>
                  </a:lnTo>
                  <a:lnTo>
                    <a:pt x="0" y="1275207"/>
                  </a:lnTo>
                  <a:lnTo>
                    <a:pt x="290703" y="1275207"/>
                  </a:lnTo>
                  <a:lnTo>
                    <a:pt x="290703" y="419100"/>
                  </a:lnTo>
                  <a:lnTo>
                    <a:pt x="877919" y="1121474"/>
                  </a:lnTo>
                  <a:lnTo>
                    <a:pt x="939356" y="1121474"/>
                  </a:lnTo>
                  <a:lnTo>
                    <a:pt x="1520571" y="397859"/>
                  </a:lnTo>
                  <a:lnTo>
                    <a:pt x="1520571" y="1275207"/>
                  </a:lnTo>
                  <a:lnTo>
                    <a:pt x="1815751" y="1275207"/>
                  </a:lnTo>
                  <a:lnTo>
                    <a:pt x="1815751" y="0"/>
                  </a:lnTo>
                  <a:close/>
                </a:path>
              </a:pathLst>
            </a:custGeom>
            <a:grpFill/>
            <a:ln w="9525" cap="flat">
              <a:noFill/>
              <a:prstDash val="solid"/>
              <a:miter/>
            </a:ln>
          </p:spPr>
          <p:txBody>
            <a:bodyPr lIns="0" tIns="0" rIns="0" bIns="0" rtlCol="0" anchor="ctr"/>
            <a:lstStyle/>
            <a:p>
              <a:endParaRPr lang="de-DE" sz="100"/>
            </a:p>
          </p:txBody>
        </p:sp>
        <p:sp>
          <p:nvSpPr>
            <p:cNvPr id="36" name="m">
              <a:extLst>
                <a:ext uri="{FF2B5EF4-FFF2-40B4-BE49-F238E27FC236}">
                  <a16:creationId xmlns:a16="http://schemas.microsoft.com/office/drawing/2014/main" id="{143E0D07-EE7C-418F-934E-E2D3EB953EB4}"/>
                </a:ext>
              </a:extLst>
            </p:cNvPr>
            <p:cNvSpPr/>
            <p:nvPr/>
          </p:nvSpPr>
          <p:spPr bwMode="gray">
            <a:xfrm>
              <a:off x="6535096" y="3966498"/>
              <a:ext cx="1815752" cy="1275212"/>
            </a:xfrm>
            <a:custGeom>
              <a:avLst/>
              <a:gdLst>
                <a:gd name="connsiteX0" fmla="*/ 1560672 w 1815750"/>
                <a:gd name="connsiteY0" fmla="*/ 0 h 1275207"/>
                <a:gd name="connsiteX1" fmla="*/ 927164 w 1815750"/>
                <a:gd name="connsiteY1" fmla="*/ 756571 h 1275207"/>
                <a:gd name="connsiteX2" fmla="*/ 290799 w 1815750"/>
                <a:gd name="connsiteY2" fmla="*/ 0 h 1275207"/>
                <a:gd name="connsiteX3" fmla="*/ 0 w 1815750"/>
                <a:gd name="connsiteY3" fmla="*/ 0 h 1275207"/>
                <a:gd name="connsiteX4" fmla="*/ 0 w 1815750"/>
                <a:gd name="connsiteY4" fmla="*/ 1275207 h 1275207"/>
                <a:gd name="connsiteX5" fmla="*/ 290799 w 1815750"/>
                <a:gd name="connsiteY5" fmla="*/ 1275207 h 1275207"/>
                <a:gd name="connsiteX6" fmla="*/ 290799 w 1815750"/>
                <a:gd name="connsiteY6" fmla="*/ 419100 h 1275207"/>
                <a:gd name="connsiteX7" fmla="*/ 878015 w 1815750"/>
                <a:gd name="connsiteY7" fmla="*/ 1121474 h 1275207"/>
                <a:gd name="connsiteX8" fmla="*/ 939546 w 1815750"/>
                <a:gd name="connsiteY8" fmla="*/ 1121474 h 1275207"/>
                <a:gd name="connsiteX9" fmla="*/ 1520571 w 1815750"/>
                <a:gd name="connsiteY9" fmla="*/ 397859 h 1275207"/>
                <a:gd name="connsiteX10" fmla="*/ 1520571 w 1815750"/>
                <a:gd name="connsiteY10" fmla="*/ 1275207 h 1275207"/>
                <a:gd name="connsiteX11" fmla="*/ 1815751 w 1815750"/>
                <a:gd name="connsiteY11" fmla="*/ 1275207 h 1275207"/>
                <a:gd name="connsiteX12" fmla="*/ 1815751 w 1815750"/>
                <a:gd name="connsiteY12" fmla="*/ 0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5750" h="1275207">
                  <a:moveTo>
                    <a:pt x="1560672" y="0"/>
                  </a:moveTo>
                  <a:lnTo>
                    <a:pt x="927164" y="756571"/>
                  </a:lnTo>
                  <a:lnTo>
                    <a:pt x="290799" y="0"/>
                  </a:lnTo>
                  <a:lnTo>
                    <a:pt x="0" y="0"/>
                  </a:lnTo>
                  <a:lnTo>
                    <a:pt x="0" y="1275207"/>
                  </a:lnTo>
                  <a:lnTo>
                    <a:pt x="290799" y="1275207"/>
                  </a:lnTo>
                  <a:lnTo>
                    <a:pt x="290799" y="419100"/>
                  </a:lnTo>
                  <a:lnTo>
                    <a:pt x="878015" y="1121474"/>
                  </a:lnTo>
                  <a:lnTo>
                    <a:pt x="939546" y="1121474"/>
                  </a:lnTo>
                  <a:lnTo>
                    <a:pt x="1520571" y="397859"/>
                  </a:lnTo>
                  <a:lnTo>
                    <a:pt x="1520571" y="1275207"/>
                  </a:lnTo>
                  <a:lnTo>
                    <a:pt x="1815751" y="1275207"/>
                  </a:lnTo>
                  <a:lnTo>
                    <a:pt x="1815751" y="0"/>
                  </a:lnTo>
                  <a:close/>
                </a:path>
              </a:pathLst>
            </a:custGeom>
            <a:grpFill/>
            <a:ln w="9525" cap="flat">
              <a:noFill/>
              <a:prstDash val="solid"/>
              <a:miter/>
            </a:ln>
          </p:spPr>
          <p:txBody>
            <a:bodyPr lIns="0" tIns="0" rIns="0" bIns="0" rtlCol="0" anchor="ctr"/>
            <a:lstStyle/>
            <a:p>
              <a:endParaRPr lang="de-DE" sz="100"/>
            </a:p>
          </p:txBody>
        </p:sp>
        <p:sp>
          <p:nvSpPr>
            <p:cNvPr id="37" name="e">
              <a:extLst>
                <a:ext uri="{FF2B5EF4-FFF2-40B4-BE49-F238E27FC236}">
                  <a16:creationId xmlns:a16="http://schemas.microsoft.com/office/drawing/2014/main" id="{B927F528-4974-4B77-81F9-589336F41DA5}"/>
                </a:ext>
              </a:extLst>
            </p:cNvPr>
            <p:cNvSpPr/>
            <p:nvPr/>
          </p:nvSpPr>
          <p:spPr bwMode="gray">
            <a:xfrm>
              <a:off x="8765757" y="3966498"/>
              <a:ext cx="1411313" cy="1275212"/>
            </a:xfrm>
            <a:custGeom>
              <a:avLst/>
              <a:gdLst>
                <a:gd name="connsiteX0" fmla="*/ 0 w 1411319"/>
                <a:gd name="connsiteY0" fmla="*/ 0 h 1275207"/>
                <a:gd name="connsiteX1" fmla="*/ 0 w 1411319"/>
                <a:gd name="connsiteY1" fmla="*/ 1275207 h 1275207"/>
                <a:gd name="connsiteX2" fmla="*/ 1411319 w 1411319"/>
                <a:gd name="connsiteY2" fmla="*/ 1275207 h 1275207"/>
                <a:gd name="connsiteX3" fmla="*/ 1411319 w 1411319"/>
                <a:gd name="connsiteY3" fmla="*/ 1036987 h 1275207"/>
                <a:gd name="connsiteX4" fmla="*/ 319850 w 1411319"/>
                <a:gd name="connsiteY4" fmla="*/ 1036987 h 1275207"/>
                <a:gd name="connsiteX5" fmla="*/ 319850 w 1411319"/>
                <a:gd name="connsiteY5" fmla="*/ 723424 h 1275207"/>
                <a:gd name="connsiteX6" fmla="*/ 947166 w 1411319"/>
                <a:gd name="connsiteY6" fmla="*/ 723424 h 1275207"/>
                <a:gd name="connsiteX7" fmla="*/ 947166 w 1411319"/>
                <a:gd name="connsiteY7" fmla="*/ 503396 h 1275207"/>
                <a:gd name="connsiteX8" fmla="*/ 319850 w 1411319"/>
                <a:gd name="connsiteY8" fmla="*/ 503396 h 1275207"/>
                <a:gd name="connsiteX9" fmla="*/ 319850 w 1411319"/>
                <a:gd name="connsiteY9" fmla="*/ 226219 h 1275207"/>
                <a:gd name="connsiteX10" fmla="*/ 1395984 w 1411319"/>
                <a:gd name="connsiteY10" fmla="*/ 226219 h 1275207"/>
                <a:gd name="connsiteX11" fmla="*/ 1395984 w 1411319"/>
                <a:gd name="connsiteY11" fmla="*/ 0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11319" h="1275207">
                  <a:moveTo>
                    <a:pt x="0" y="0"/>
                  </a:moveTo>
                  <a:lnTo>
                    <a:pt x="0" y="1275207"/>
                  </a:lnTo>
                  <a:lnTo>
                    <a:pt x="1411319" y="1275207"/>
                  </a:lnTo>
                  <a:lnTo>
                    <a:pt x="1411319" y="1036987"/>
                  </a:lnTo>
                  <a:lnTo>
                    <a:pt x="319850" y="1036987"/>
                  </a:lnTo>
                  <a:lnTo>
                    <a:pt x="319850" y="723424"/>
                  </a:lnTo>
                  <a:lnTo>
                    <a:pt x="947166" y="723424"/>
                  </a:lnTo>
                  <a:lnTo>
                    <a:pt x="947166" y="503396"/>
                  </a:lnTo>
                  <a:lnTo>
                    <a:pt x="319850" y="503396"/>
                  </a:lnTo>
                  <a:lnTo>
                    <a:pt x="319850" y="226219"/>
                  </a:lnTo>
                  <a:lnTo>
                    <a:pt x="1395984" y="226219"/>
                  </a:lnTo>
                  <a:lnTo>
                    <a:pt x="1395984" y="0"/>
                  </a:lnTo>
                  <a:close/>
                </a:path>
              </a:pathLst>
            </a:custGeom>
            <a:grpFill/>
            <a:ln w="9525" cap="flat">
              <a:noFill/>
              <a:prstDash val="solid"/>
              <a:miter/>
            </a:ln>
          </p:spPr>
          <p:txBody>
            <a:bodyPr lIns="0" tIns="0" rIns="0" bIns="0" rtlCol="0" anchor="ctr"/>
            <a:lstStyle/>
            <a:p>
              <a:endParaRPr lang="de-DE" sz="100"/>
            </a:p>
          </p:txBody>
        </p:sp>
        <p:sp>
          <p:nvSpPr>
            <p:cNvPr id="38" name="r">
              <a:extLst>
                <a:ext uri="{FF2B5EF4-FFF2-40B4-BE49-F238E27FC236}">
                  <a16:creationId xmlns:a16="http://schemas.microsoft.com/office/drawing/2014/main" id="{93D08D62-2FC5-421E-92ED-35EB76100408}"/>
                </a:ext>
              </a:extLst>
            </p:cNvPr>
            <p:cNvSpPr/>
            <p:nvPr/>
          </p:nvSpPr>
          <p:spPr bwMode="gray">
            <a:xfrm>
              <a:off x="10504356" y="3966498"/>
              <a:ext cx="1579811" cy="1275212"/>
            </a:xfrm>
            <a:custGeom>
              <a:avLst/>
              <a:gdLst>
                <a:gd name="connsiteX0" fmla="*/ 1015937 w 1579817"/>
                <a:gd name="connsiteY0" fmla="*/ 220028 h 1275207"/>
                <a:gd name="connsiteX1" fmla="*/ 1157669 w 1579817"/>
                <a:gd name="connsiteY1" fmla="*/ 322517 h 1275207"/>
                <a:gd name="connsiteX2" fmla="*/ 1157669 w 1579817"/>
                <a:gd name="connsiteY2" fmla="*/ 470249 h 1275207"/>
                <a:gd name="connsiteX3" fmla="*/ 1015937 w 1579817"/>
                <a:gd name="connsiteY3" fmla="*/ 572738 h 1275207"/>
                <a:gd name="connsiteX4" fmla="*/ 307467 w 1579817"/>
                <a:gd name="connsiteY4" fmla="*/ 572738 h 1275207"/>
                <a:gd name="connsiteX5" fmla="*/ 307467 w 1579817"/>
                <a:gd name="connsiteY5" fmla="*/ 220028 h 1275207"/>
                <a:gd name="connsiteX6" fmla="*/ 1015937 w 1579817"/>
                <a:gd name="connsiteY6" fmla="*/ 220028 h 1275207"/>
                <a:gd name="connsiteX7" fmla="*/ 0 w 1579817"/>
                <a:gd name="connsiteY7" fmla="*/ 1275207 h 1275207"/>
                <a:gd name="connsiteX8" fmla="*/ 307563 w 1579817"/>
                <a:gd name="connsiteY8" fmla="*/ 1275207 h 1275207"/>
                <a:gd name="connsiteX9" fmla="*/ 307563 w 1579817"/>
                <a:gd name="connsiteY9" fmla="*/ 792766 h 1275207"/>
                <a:gd name="connsiteX10" fmla="*/ 599981 w 1579817"/>
                <a:gd name="connsiteY10" fmla="*/ 792766 h 1275207"/>
                <a:gd name="connsiteX11" fmla="*/ 1133570 w 1579817"/>
                <a:gd name="connsiteY11" fmla="*/ 1275207 h 1275207"/>
                <a:gd name="connsiteX12" fmla="*/ 1579818 w 1579817"/>
                <a:gd name="connsiteY12" fmla="*/ 1275207 h 1275207"/>
                <a:gd name="connsiteX13" fmla="*/ 973931 w 1579817"/>
                <a:gd name="connsiteY13" fmla="*/ 792766 h 1275207"/>
                <a:gd name="connsiteX14" fmla="*/ 1148811 w 1579817"/>
                <a:gd name="connsiteY14" fmla="*/ 792766 h 1275207"/>
                <a:gd name="connsiteX15" fmla="*/ 1447229 w 1579817"/>
                <a:gd name="connsiteY15" fmla="*/ 548545 h 1275207"/>
                <a:gd name="connsiteX16" fmla="*/ 1447229 w 1579817"/>
                <a:gd name="connsiteY16" fmla="*/ 247174 h 1275207"/>
                <a:gd name="connsiteX17" fmla="*/ 1148811 w 1579817"/>
                <a:gd name="connsiteY17" fmla="*/ 0 h 1275207"/>
                <a:gd name="connsiteX18" fmla="*/ 191 w 1579817"/>
                <a:gd name="connsiteY18" fmla="*/ 0 h 1275207"/>
                <a:gd name="connsiteX19" fmla="*/ 191 w 1579817"/>
                <a:gd name="connsiteY19" fmla="*/ 1275207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79817" h="1275207">
                  <a:moveTo>
                    <a:pt x="1015937" y="220028"/>
                  </a:moveTo>
                  <a:cubicBezTo>
                    <a:pt x="1109282" y="220028"/>
                    <a:pt x="1157669" y="238220"/>
                    <a:pt x="1157669" y="322517"/>
                  </a:cubicBezTo>
                  <a:lnTo>
                    <a:pt x="1157669" y="470249"/>
                  </a:lnTo>
                  <a:cubicBezTo>
                    <a:pt x="1157669" y="554736"/>
                    <a:pt x="1109282" y="572738"/>
                    <a:pt x="1015937" y="572738"/>
                  </a:cubicBezTo>
                  <a:lnTo>
                    <a:pt x="307467" y="572738"/>
                  </a:lnTo>
                  <a:lnTo>
                    <a:pt x="307467" y="220028"/>
                  </a:lnTo>
                  <a:lnTo>
                    <a:pt x="1015937" y="220028"/>
                  </a:lnTo>
                  <a:close/>
                  <a:moveTo>
                    <a:pt x="0" y="1275207"/>
                  </a:moveTo>
                  <a:lnTo>
                    <a:pt x="307563" y="1275207"/>
                  </a:lnTo>
                  <a:lnTo>
                    <a:pt x="307563" y="792766"/>
                  </a:lnTo>
                  <a:lnTo>
                    <a:pt x="599981" y="792766"/>
                  </a:lnTo>
                  <a:lnTo>
                    <a:pt x="1133570" y="1275207"/>
                  </a:lnTo>
                  <a:lnTo>
                    <a:pt x="1579818" y="1275207"/>
                  </a:lnTo>
                  <a:lnTo>
                    <a:pt x="973931" y="792766"/>
                  </a:lnTo>
                  <a:lnTo>
                    <a:pt x="1148811" y="792766"/>
                  </a:lnTo>
                  <a:cubicBezTo>
                    <a:pt x="1353693" y="792766"/>
                    <a:pt x="1447229" y="723424"/>
                    <a:pt x="1447229" y="548545"/>
                  </a:cubicBezTo>
                  <a:lnTo>
                    <a:pt x="1447229" y="247174"/>
                  </a:lnTo>
                  <a:cubicBezTo>
                    <a:pt x="1447229" y="69342"/>
                    <a:pt x="1353693" y="0"/>
                    <a:pt x="1148811" y="0"/>
                  </a:cubicBezTo>
                  <a:lnTo>
                    <a:pt x="191" y="0"/>
                  </a:lnTo>
                  <a:lnTo>
                    <a:pt x="191" y="1275207"/>
                  </a:lnTo>
                  <a:close/>
                </a:path>
              </a:pathLst>
            </a:custGeom>
            <a:grpFill/>
            <a:ln w="9525" cap="flat">
              <a:noFill/>
              <a:prstDash val="solid"/>
              <a:miter/>
            </a:ln>
          </p:spPr>
          <p:txBody>
            <a:bodyPr lIns="0" tIns="0" rIns="0" bIns="0" rtlCol="0" anchor="ctr"/>
            <a:lstStyle/>
            <a:p>
              <a:endParaRPr lang="de-DE" sz="100"/>
            </a:p>
          </p:txBody>
        </p:sp>
      </p:grpSp>
      <p:sp>
        <p:nvSpPr>
          <p:cNvPr id="22" name="Freihandform: Form 21">
            <a:extLst>
              <a:ext uri="{FF2B5EF4-FFF2-40B4-BE49-F238E27FC236}">
                <a16:creationId xmlns:a16="http://schemas.microsoft.com/office/drawing/2014/main" id="{C7DEBF1A-9245-4F17-8741-B000ADEDB5B3}"/>
              </a:ext>
            </a:extLst>
          </p:cNvPr>
          <p:cNvSpPr/>
          <p:nvPr userDrawn="1"/>
        </p:nvSpPr>
        <p:spPr>
          <a:xfrm>
            <a:off x="10629901" y="6223371"/>
            <a:ext cx="1133474" cy="504000"/>
          </a:xfrm>
          <a:custGeom>
            <a:avLst/>
            <a:gdLst>
              <a:gd name="connsiteX0" fmla="*/ 0 w 972000"/>
              <a:gd name="connsiteY0" fmla="*/ 0 h 324000"/>
              <a:gd name="connsiteX1" fmla="*/ 868412 w 972000"/>
              <a:gd name="connsiteY1" fmla="*/ 0 h 324000"/>
              <a:gd name="connsiteX2" fmla="*/ 972000 w 972000"/>
              <a:gd name="connsiteY2" fmla="*/ 30994 h 324000"/>
              <a:gd name="connsiteX3" fmla="*/ 972000 w 972000"/>
              <a:gd name="connsiteY3" fmla="*/ 324000 h 324000"/>
              <a:gd name="connsiteX4" fmla="*/ 0 w 972000"/>
              <a:gd name="connsiteY4" fmla="*/ 324000 h 32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2000" h="324000">
                <a:moveTo>
                  <a:pt x="0" y="0"/>
                </a:moveTo>
                <a:lnTo>
                  <a:pt x="868412" y="0"/>
                </a:lnTo>
                <a:lnTo>
                  <a:pt x="972000" y="30994"/>
                </a:lnTo>
                <a:lnTo>
                  <a:pt x="972000" y="324000"/>
                </a:lnTo>
                <a:lnTo>
                  <a:pt x="0" y="324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noAutofit/>
          </a:bodyPr>
          <a:lstStyle/>
          <a:p>
            <a:pPr algn="ctr">
              <a:spcBef>
                <a:spcPts val="400"/>
              </a:spcBef>
              <a:spcAft>
                <a:spcPts val="400"/>
              </a:spcAft>
            </a:pPr>
            <a:endParaRPr lang="de-DE" sz="1400" err="1"/>
          </a:p>
        </p:txBody>
      </p:sp>
      <p:grpSp>
        <p:nvGrpSpPr>
          <p:cNvPr id="23" name="logo drees&amp;sommer blue">
            <a:extLst>
              <a:ext uri="{FF2B5EF4-FFF2-40B4-BE49-F238E27FC236}">
                <a16:creationId xmlns:a16="http://schemas.microsoft.com/office/drawing/2014/main" id="{F7272967-2F35-4D01-9E83-4547151EEA37}"/>
              </a:ext>
            </a:extLst>
          </p:cNvPr>
          <p:cNvGrpSpPr>
            <a:grpSpLocks noChangeAspect="1"/>
          </p:cNvGrpSpPr>
          <p:nvPr userDrawn="1"/>
        </p:nvGrpSpPr>
        <p:grpSpPr bwMode="gray">
          <a:xfrm>
            <a:off x="10716797" y="6331911"/>
            <a:ext cx="948154" cy="286131"/>
            <a:chOff x="95247" y="1619247"/>
            <a:chExt cx="12004075" cy="3622552"/>
          </a:xfrm>
          <a:solidFill>
            <a:schemeClr val="tx2"/>
          </a:solidFill>
        </p:grpSpPr>
        <p:sp>
          <p:nvSpPr>
            <p:cNvPr id="24" name="d">
              <a:extLst>
                <a:ext uri="{FF2B5EF4-FFF2-40B4-BE49-F238E27FC236}">
                  <a16:creationId xmlns:a16="http://schemas.microsoft.com/office/drawing/2014/main" id="{F7D028AD-AA22-41B9-9801-114B7D827A26}"/>
                </a:ext>
              </a:extLst>
            </p:cNvPr>
            <p:cNvSpPr/>
            <p:nvPr/>
          </p:nvSpPr>
          <p:spPr bwMode="gray">
            <a:xfrm>
              <a:off x="146585" y="1619247"/>
              <a:ext cx="1890145" cy="1555528"/>
            </a:xfrm>
            <a:custGeom>
              <a:avLst/>
              <a:gdLst>
                <a:gd name="connsiteX0" fmla="*/ 361760 w 1890141"/>
                <a:gd name="connsiteY0" fmla="*/ 1263206 h 1555527"/>
                <a:gd name="connsiteX1" fmla="*/ 361760 w 1890141"/>
                <a:gd name="connsiteY1" fmla="*/ 277368 h 1555527"/>
                <a:gd name="connsiteX2" fmla="*/ 1003840 w 1890141"/>
                <a:gd name="connsiteY2" fmla="*/ 277368 h 1555527"/>
                <a:gd name="connsiteX3" fmla="*/ 1516380 w 1890141"/>
                <a:gd name="connsiteY3" fmla="*/ 762762 h 1555527"/>
                <a:gd name="connsiteX4" fmla="*/ 828961 w 1890141"/>
                <a:gd name="connsiteY4" fmla="*/ 1263206 h 1555527"/>
                <a:gd name="connsiteX5" fmla="*/ 361760 w 1890141"/>
                <a:gd name="connsiteY5" fmla="*/ 1263206 h 1555527"/>
                <a:gd name="connsiteX6" fmla="*/ 0 w 1890141"/>
                <a:gd name="connsiteY6" fmla="*/ 1555528 h 1555527"/>
                <a:gd name="connsiteX7" fmla="*/ 907447 w 1890141"/>
                <a:gd name="connsiteY7" fmla="*/ 1555528 h 1555527"/>
                <a:gd name="connsiteX8" fmla="*/ 1546574 w 1890141"/>
                <a:gd name="connsiteY8" fmla="*/ 1435037 h 1555527"/>
                <a:gd name="connsiteX9" fmla="*/ 1890141 w 1890141"/>
                <a:gd name="connsiteY9" fmla="*/ 768763 h 1555527"/>
                <a:gd name="connsiteX10" fmla="*/ 1000792 w 1890141"/>
                <a:gd name="connsiteY10" fmla="*/ 0 h 1555527"/>
                <a:gd name="connsiteX11" fmla="*/ 0 w 1890141"/>
                <a:gd name="connsiteY11" fmla="*/ 0 h 1555527"/>
                <a:gd name="connsiteX12" fmla="*/ 0 w 1890141"/>
                <a:gd name="connsiteY12" fmla="*/ 1555528 h 155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90141" h="1555527">
                  <a:moveTo>
                    <a:pt x="361760" y="1263206"/>
                  </a:moveTo>
                  <a:lnTo>
                    <a:pt x="361760" y="277368"/>
                  </a:lnTo>
                  <a:lnTo>
                    <a:pt x="1003840" y="277368"/>
                  </a:lnTo>
                  <a:cubicBezTo>
                    <a:pt x="1344549" y="277368"/>
                    <a:pt x="1516380" y="446246"/>
                    <a:pt x="1516380" y="762762"/>
                  </a:cubicBezTo>
                  <a:cubicBezTo>
                    <a:pt x="1516380" y="1148620"/>
                    <a:pt x="1287209" y="1263206"/>
                    <a:pt x="828961" y="1263206"/>
                  </a:cubicBezTo>
                  <a:lnTo>
                    <a:pt x="361760" y="1263206"/>
                  </a:lnTo>
                  <a:close/>
                  <a:moveTo>
                    <a:pt x="0" y="1555528"/>
                  </a:moveTo>
                  <a:lnTo>
                    <a:pt x="907447" y="1555528"/>
                  </a:lnTo>
                  <a:cubicBezTo>
                    <a:pt x="1184624" y="1555528"/>
                    <a:pt x="1395698" y="1528382"/>
                    <a:pt x="1546574" y="1435037"/>
                  </a:cubicBezTo>
                  <a:cubicBezTo>
                    <a:pt x="1763649" y="1302353"/>
                    <a:pt x="1890141" y="1061180"/>
                    <a:pt x="1890141" y="768763"/>
                  </a:cubicBezTo>
                  <a:cubicBezTo>
                    <a:pt x="1890141" y="286417"/>
                    <a:pt x="1582769" y="0"/>
                    <a:pt x="1000792" y="0"/>
                  </a:cubicBezTo>
                  <a:lnTo>
                    <a:pt x="0" y="0"/>
                  </a:lnTo>
                  <a:lnTo>
                    <a:pt x="0" y="1555528"/>
                  </a:lnTo>
                  <a:close/>
                </a:path>
              </a:pathLst>
            </a:custGeom>
            <a:grpFill/>
            <a:ln w="9525" cap="flat">
              <a:noFill/>
              <a:prstDash val="solid"/>
              <a:miter/>
            </a:ln>
          </p:spPr>
          <p:txBody>
            <a:bodyPr lIns="0" tIns="0" rIns="0" bIns="0" rtlCol="0" anchor="ctr"/>
            <a:lstStyle/>
            <a:p>
              <a:endParaRPr lang="de-DE" sz="100"/>
            </a:p>
          </p:txBody>
        </p:sp>
        <p:sp>
          <p:nvSpPr>
            <p:cNvPr id="25" name="r">
              <a:extLst>
                <a:ext uri="{FF2B5EF4-FFF2-40B4-BE49-F238E27FC236}">
                  <a16:creationId xmlns:a16="http://schemas.microsoft.com/office/drawing/2014/main" id="{06DB16CB-514A-423B-98BA-0D9EC626ACCF}"/>
                </a:ext>
              </a:extLst>
            </p:cNvPr>
            <p:cNvSpPr/>
            <p:nvPr/>
          </p:nvSpPr>
          <p:spPr bwMode="gray">
            <a:xfrm>
              <a:off x="2405150" y="1899664"/>
              <a:ext cx="1579811" cy="1275112"/>
            </a:xfrm>
            <a:custGeom>
              <a:avLst/>
              <a:gdLst>
                <a:gd name="connsiteX0" fmla="*/ 1015937 w 1579816"/>
                <a:gd name="connsiteY0" fmla="*/ 220028 h 1275111"/>
                <a:gd name="connsiteX1" fmla="*/ 1157668 w 1579816"/>
                <a:gd name="connsiteY1" fmla="*/ 322517 h 1275111"/>
                <a:gd name="connsiteX2" fmla="*/ 1157668 w 1579816"/>
                <a:gd name="connsiteY2" fmla="*/ 470249 h 1275111"/>
                <a:gd name="connsiteX3" fmla="*/ 1015937 w 1579816"/>
                <a:gd name="connsiteY3" fmla="*/ 572738 h 1275111"/>
                <a:gd name="connsiteX4" fmla="*/ 307467 w 1579816"/>
                <a:gd name="connsiteY4" fmla="*/ 572738 h 1275111"/>
                <a:gd name="connsiteX5" fmla="*/ 307467 w 1579816"/>
                <a:gd name="connsiteY5" fmla="*/ 220028 h 1275111"/>
                <a:gd name="connsiteX6" fmla="*/ 1015937 w 1579816"/>
                <a:gd name="connsiteY6" fmla="*/ 220028 h 1275111"/>
                <a:gd name="connsiteX7" fmla="*/ 0 w 1579816"/>
                <a:gd name="connsiteY7" fmla="*/ 1275112 h 1275111"/>
                <a:gd name="connsiteX8" fmla="*/ 307562 w 1579816"/>
                <a:gd name="connsiteY8" fmla="*/ 1275112 h 1275111"/>
                <a:gd name="connsiteX9" fmla="*/ 307562 w 1579816"/>
                <a:gd name="connsiteY9" fmla="*/ 792671 h 1275111"/>
                <a:gd name="connsiteX10" fmla="*/ 599980 w 1579816"/>
                <a:gd name="connsiteY10" fmla="*/ 792671 h 1275111"/>
                <a:gd name="connsiteX11" fmla="*/ 1133570 w 1579816"/>
                <a:gd name="connsiteY11" fmla="*/ 1275112 h 1275111"/>
                <a:gd name="connsiteX12" fmla="*/ 1579817 w 1579816"/>
                <a:gd name="connsiteY12" fmla="*/ 1275112 h 1275111"/>
                <a:gd name="connsiteX13" fmla="*/ 973741 w 1579816"/>
                <a:gd name="connsiteY13" fmla="*/ 792671 h 1275111"/>
                <a:gd name="connsiteX14" fmla="*/ 1148620 w 1579816"/>
                <a:gd name="connsiteY14" fmla="*/ 792671 h 1275111"/>
                <a:gd name="connsiteX15" fmla="*/ 1447133 w 1579816"/>
                <a:gd name="connsiteY15" fmla="*/ 548640 h 1275111"/>
                <a:gd name="connsiteX16" fmla="*/ 1447133 w 1579816"/>
                <a:gd name="connsiteY16" fmla="*/ 247174 h 1275111"/>
                <a:gd name="connsiteX17" fmla="*/ 1148620 w 1579816"/>
                <a:gd name="connsiteY17" fmla="*/ 0 h 1275111"/>
                <a:gd name="connsiteX18" fmla="*/ 0 w 1579816"/>
                <a:gd name="connsiteY18" fmla="*/ 0 h 1275111"/>
                <a:gd name="connsiteX19" fmla="*/ 0 w 1579816"/>
                <a:gd name="connsiteY19" fmla="*/ 1275112 h 127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79816" h="1275111">
                  <a:moveTo>
                    <a:pt x="1015937" y="220028"/>
                  </a:moveTo>
                  <a:cubicBezTo>
                    <a:pt x="1109282" y="220028"/>
                    <a:pt x="1157668" y="238220"/>
                    <a:pt x="1157668" y="322517"/>
                  </a:cubicBezTo>
                  <a:lnTo>
                    <a:pt x="1157668" y="470249"/>
                  </a:lnTo>
                  <a:cubicBezTo>
                    <a:pt x="1157668" y="554736"/>
                    <a:pt x="1109282" y="572738"/>
                    <a:pt x="1015937" y="572738"/>
                  </a:cubicBezTo>
                  <a:lnTo>
                    <a:pt x="307467" y="572738"/>
                  </a:lnTo>
                  <a:lnTo>
                    <a:pt x="307467" y="220028"/>
                  </a:lnTo>
                  <a:lnTo>
                    <a:pt x="1015937" y="220028"/>
                  </a:lnTo>
                  <a:close/>
                  <a:moveTo>
                    <a:pt x="0" y="1275112"/>
                  </a:moveTo>
                  <a:lnTo>
                    <a:pt x="307562" y="1275112"/>
                  </a:lnTo>
                  <a:lnTo>
                    <a:pt x="307562" y="792671"/>
                  </a:lnTo>
                  <a:lnTo>
                    <a:pt x="599980" y="792671"/>
                  </a:lnTo>
                  <a:lnTo>
                    <a:pt x="1133570" y="1275112"/>
                  </a:lnTo>
                  <a:lnTo>
                    <a:pt x="1579817" y="1275112"/>
                  </a:lnTo>
                  <a:lnTo>
                    <a:pt x="973741" y="792671"/>
                  </a:lnTo>
                  <a:lnTo>
                    <a:pt x="1148620" y="792671"/>
                  </a:lnTo>
                  <a:cubicBezTo>
                    <a:pt x="1353693" y="792671"/>
                    <a:pt x="1447133" y="723329"/>
                    <a:pt x="1447133" y="548640"/>
                  </a:cubicBezTo>
                  <a:lnTo>
                    <a:pt x="1447133" y="247174"/>
                  </a:lnTo>
                  <a:cubicBezTo>
                    <a:pt x="1447133" y="69342"/>
                    <a:pt x="1353598" y="0"/>
                    <a:pt x="1148620" y="0"/>
                  </a:cubicBezTo>
                  <a:lnTo>
                    <a:pt x="0" y="0"/>
                  </a:lnTo>
                  <a:lnTo>
                    <a:pt x="0" y="1275112"/>
                  </a:lnTo>
                  <a:close/>
                </a:path>
              </a:pathLst>
            </a:custGeom>
            <a:grpFill/>
            <a:ln w="9525" cap="flat">
              <a:noFill/>
              <a:prstDash val="solid"/>
              <a:miter/>
            </a:ln>
          </p:spPr>
          <p:txBody>
            <a:bodyPr lIns="0" tIns="0" rIns="0" bIns="0" rtlCol="0" anchor="ctr"/>
            <a:lstStyle/>
            <a:p>
              <a:endParaRPr lang="de-DE" sz="100"/>
            </a:p>
          </p:txBody>
        </p:sp>
        <p:sp>
          <p:nvSpPr>
            <p:cNvPr id="39" name="e">
              <a:extLst>
                <a:ext uri="{FF2B5EF4-FFF2-40B4-BE49-F238E27FC236}">
                  <a16:creationId xmlns:a16="http://schemas.microsoft.com/office/drawing/2014/main" id="{A9B29F1D-A2CC-4DBA-B988-B2F8C7F62449}"/>
                </a:ext>
              </a:extLst>
            </p:cNvPr>
            <p:cNvSpPr/>
            <p:nvPr/>
          </p:nvSpPr>
          <p:spPr bwMode="gray">
            <a:xfrm>
              <a:off x="4279102" y="1899664"/>
              <a:ext cx="1383701" cy="1275112"/>
            </a:xfrm>
            <a:custGeom>
              <a:avLst/>
              <a:gdLst>
                <a:gd name="connsiteX0" fmla="*/ 0 w 1383696"/>
                <a:gd name="connsiteY0" fmla="*/ 1275112 h 1275111"/>
                <a:gd name="connsiteX1" fmla="*/ 1383697 w 1383696"/>
                <a:gd name="connsiteY1" fmla="*/ 1275112 h 1275111"/>
                <a:gd name="connsiteX2" fmla="*/ 1383697 w 1383696"/>
                <a:gd name="connsiteY2" fmla="*/ 1036987 h 1275111"/>
                <a:gd name="connsiteX3" fmla="*/ 313563 w 1383696"/>
                <a:gd name="connsiteY3" fmla="*/ 1036987 h 1275111"/>
                <a:gd name="connsiteX4" fmla="*/ 313563 w 1383696"/>
                <a:gd name="connsiteY4" fmla="*/ 723424 h 1275111"/>
                <a:gd name="connsiteX5" fmla="*/ 928497 w 1383696"/>
                <a:gd name="connsiteY5" fmla="*/ 723424 h 1275111"/>
                <a:gd name="connsiteX6" fmla="*/ 928497 w 1383696"/>
                <a:gd name="connsiteY6" fmla="*/ 503396 h 1275111"/>
                <a:gd name="connsiteX7" fmla="*/ 313563 w 1383696"/>
                <a:gd name="connsiteY7" fmla="*/ 503396 h 1275111"/>
                <a:gd name="connsiteX8" fmla="*/ 313563 w 1383696"/>
                <a:gd name="connsiteY8" fmla="*/ 226028 h 1275111"/>
                <a:gd name="connsiteX9" fmla="*/ 1368743 w 1383696"/>
                <a:gd name="connsiteY9" fmla="*/ 226028 h 1275111"/>
                <a:gd name="connsiteX10" fmla="*/ 1368743 w 1383696"/>
                <a:gd name="connsiteY10" fmla="*/ 0 h 1275111"/>
                <a:gd name="connsiteX11" fmla="*/ 0 w 1383696"/>
                <a:gd name="connsiteY11" fmla="*/ 0 h 127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3696" h="1275111">
                  <a:moveTo>
                    <a:pt x="0" y="1275112"/>
                  </a:moveTo>
                  <a:lnTo>
                    <a:pt x="1383697" y="1275112"/>
                  </a:lnTo>
                  <a:lnTo>
                    <a:pt x="1383697" y="1036987"/>
                  </a:lnTo>
                  <a:lnTo>
                    <a:pt x="313563" y="1036987"/>
                  </a:lnTo>
                  <a:lnTo>
                    <a:pt x="313563" y="723424"/>
                  </a:lnTo>
                  <a:lnTo>
                    <a:pt x="928497" y="723424"/>
                  </a:lnTo>
                  <a:lnTo>
                    <a:pt x="928497" y="503396"/>
                  </a:lnTo>
                  <a:lnTo>
                    <a:pt x="313563" y="503396"/>
                  </a:lnTo>
                  <a:lnTo>
                    <a:pt x="313563" y="226028"/>
                  </a:lnTo>
                  <a:lnTo>
                    <a:pt x="1368743" y="226028"/>
                  </a:lnTo>
                  <a:lnTo>
                    <a:pt x="1368743" y="0"/>
                  </a:lnTo>
                  <a:lnTo>
                    <a:pt x="0" y="0"/>
                  </a:lnTo>
                  <a:close/>
                </a:path>
              </a:pathLst>
            </a:custGeom>
            <a:grpFill/>
            <a:ln w="9525" cap="flat">
              <a:noFill/>
              <a:prstDash val="solid"/>
              <a:miter/>
            </a:ln>
          </p:spPr>
          <p:txBody>
            <a:bodyPr lIns="0" tIns="0" rIns="0" bIns="0" rtlCol="0" anchor="ctr"/>
            <a:lstStyle/>
            <a:p>
              <a:endParaRPr lang="de-DE" sz="100"/>
            </a:p>
          </p:txBody>
        </p:sp>
        <p:sp>
          <p:nvSpPr>
            <p:cNvPr id="41" name="e">
              <a:extLst>
                <a:ext uri="{FF2B5EF4-FFF2-40B4-BE49-F238E27FC236}">
                  <a16:creationId xmlns:a16="http://schemas.microsoft.com/office/drawing/2014/main" id="{9CAC12B1-CADF-46E8-AED6-0F39C189488E}"/>
                </a:ext>
              </a:extLst>
            </p:cNvPr>
            <p:cNvSpPr/>
            <p:nvPr/>
          </p:nvSpPr>
          <p:spPr bwMode="gray">
            <a:xfrm>
              <a:off x="6022562" y="1899664"/>
              <a:ext cx="1383701" cy="1275112"/>
            </a:xfrm>
            <a:custGeom>
              <a:avLst/>
              <a:gdLst>
                <a:gd name="connsiteX0" fmla="*/ 0 w 1383696"/>
                <a:gd name="connsiteY0" fmla="*/ 1275112 h 1275111"/>
                <a:gd name="connsiteX1" fmla="*/ 1383697 w 1383696"/>
                <a:gd name="connsiteY1" fmla="*/ 1275112 h 1275111"/>
                <a:gd name="connsiteX2" fmla="*/ 1383697 w 1383696"/>
                <a:gd name="connsiteY2" fmla="*/ 1036987 h 1275111"/>
                <a:gd name="connsiteX3" fmla="*/ 313563 w 1383696"/>
                <a:gd name="connsiteY3" fmla="*/ 1036987 h 1275111"/>
                <a:gd name="connsiteX4" fmla="*/ 313563 w 1383696"/>
                <a:gd name="connsiteY4" fmla="*/ 723424 h 1275111"/>
                <a:gd name="connsiteX5" fmla="*/ 928497 w 1383696"/>
                <a:gd name="connsiteY5" fmla="*/ 723424 h 1275111"/>
                <a:gd name="connsiteX6" fmla="*/ 928497 w 1383696"/>
                <a:gd name="connsiteY6" fmla="*/ 503396 h 1275111"/>
                <a:gd name="connsiteX7" fmla="*/ 313563 w 1383696"/>
                <a:gd name="connsiteY7" fmla="*/ 503396 h 1275111"/>
                <a:gd name="connsiteX8" fmla="*/ 313563 w 1383696"/>
                <a:gd name="connsiteY8" fmla="*/ 226028 h 1275111"/>
                <a:gd name="connsiteX9" fmla="*/ 1368743 w 1383696"/>
                <a:gd name="connsiteY9" fmla="*/ 226028 h 1275111"/>
                <a:gd name="connsiteX10" fmla="*/ 1368743 w 1383696"/>
                <a:gd name="connsiteY10" fmla="*/ 0 h 1275111"/>
                <a:gd name="connsiteX11" fmla="*/ 0 w 1383696"/>
                <a:gd name="connsiteY11" fmla="*/ 0 h 127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3696" h="1275111">
                  <a:moveTo>
                    <a:pt x="0" y="1275112"/>
                  </a:moveTo>
                  <a:lnTo>
                    <a:pt x="1383697" y="1275112"/>
                  </a:lnTo>
                  <a:lnTo>
                    <a:pt x="1383697" y="1036987"/>
                  </a:lnTo>
                  <a:lnTo>
                    <a:pt x="313563" y="1036987"/>
                  </a:lnTo>
                  <a:lnTo>
                    <a:pt x="313563" y="723424"/>
                  </a:lnTo>
                  <a:lnTo>
                    <a:pt x="928497" y="723424"/>
                  </a:lnTo>
                  <a:lnTo>
                    <a:pt x="928497" y="503396"/>
                  </a:lnTo>
                  <a:lnTo>
                    <a:pt x="313563" y="503396"/>
                  </a:lnTo>
                  <a:lnTo>
                    <a:pt x="313563" y="226028"/>
                  </a:lnTo>
                  <a:lnTo>
                    <a:pt x="1368743" y="226028"/>
                  </a:lnTo>
                  <a:lnTo>
                    <a:pt x="1368743" y="0"/>
                  </a:lnTo>
                  <a:lnTo>
                    <a:pt x="0" y="0"/>
                  </a:lnTo>
                  <a:close/>
                </a:path>
              </a:pathLst>
            </a:custGeom>
            <a:grpFill/>
            <a:ln w="9525" cap="flat">
              <a:noFill/>
              <a:prstDash val="solid"/>
              <a:miter/>
            </a:ln>
          </p:spPr>
          <p:txBody>
            <a:bodyPr lIns="0" tIns="0" rIns="0" bIns="0" rtlCol="0" anchor="ctr"/>
            <a:lstStyle/>
            <a:p>
              <a:endParaRPr lang="de-DE" sz="100"/>
            </a:p>
          </p:txBody>
        </p:sp>
        <p:sp>
          <p:nvSpPr>
            <p:cNvPr id="42" name="s">
              <a:extLst>
                <a:ext uri="{FF2B5EF4-FFF2-40B4-BE49-F238E27FC236}">
                  <a16:creationId xmlns:a16="http://schemas.microsoft.com/office/drawing/2014/main" id="{6057E163-B9BB-402C-866E-C94FC2F98E6F}"/>
                </a:ext>
              </a:extLst>
            </p:cNvPr>
            <p:cNvSpPr/>
            <p:nvPr/>
          </p:nvSpPr>
          <p:spPr bwMode="gray">
            <a:xfrm>
              <a:off x="7714204" y="1899664"/>
              <a:ext cx="1495239" cy="1275213"/>
            </a:xfrm>
            <a:custGeom>
              <a:avLst/>
              <a:gdLst>
                <a:gd name="connsiteX0" fmla="*/ 1211770 w 1495234"/>
                <a:gd name="connsiteY0" fmla="*/ 229076 h 1275207"/>
                <a:gd name="connsiteX1" fmla="*/ 1211770 w 1495234"/>
                <a:gd name="connsiteY1" fmla="*/ 348234 h 1275207"/>
                <a:gd name="connsiteX2" fmla="*/ 1479995 w 1495234"/>
                <a:gd name="connsiteY2" fmla="*/ 291084 h 1275207"/>
                <a:gd name="connsiteX3" fmla="*/ 1479995 w 1495234"/>
                <a:gd name="connsiteY3" fmla="*/ 277368 h 1275207"/>
                <a:gd name="connsiteX4" fmla="*/ 1145477 w 1495234"/>
                <a:gd name="connsiteY4" fmla="*/ 0 h 1275207"/>
                <a:gd name="connsiteX5" fmla="*/ 388905 w 1495234"/>
                <a:gd name="connsiteY5" fmla="*/ 0 h 1275207"/>
                <a:gd name="connsiteX6" fmla="*/ 54197 w 1495234"/>
                <a:gd name="connsiteY6" fmla="*/ 301561 h 1275207"/>
                <a:gd name="connsiteX7" fmla="*/ 54197 w 1495234"/>
                <a:gd name="connsiteY7" fmla="*/ 443294 h 1275207"/>
                <a:gd name="connsiteX8" fmla="*/ 388905 w 1495234"/>
                <a:gd name="connsiteY8" fmla="*/ 744665 h 1275207"/>
                <a:gd name="connsiteX9" fmla="*/ 1214818 w 1495234"/>
                <a:gd name="connsiteY9" fmla="*/ 744665 h 1275207"/>
                <a:gd name="connsiteX10" fmla="*/ 1214818 w 1495234"/>
                <a:gd name="connsiteY10" fmla="*/ 1037177 h 1275207"/>
                <a:gd name="connsiteX11" fmla="*/ 277177 w 1495234"/>
                <a:gd name="connsiteY11" fmla="*/ 1037177 h 1275207"/>
                <a:gd name="connsiteX12" fmla="*/ 277177 w 1495234"/>
                <a:gd name="connsiteY12" fmla="*/ 902875 h 1275207"/>
                <a:gd name="connsiteX13" fmla="*/ 0 w 1495234"/>
                <a:gd name="connsiteY13" fmla="*/ 954214 h 1275207"/>
                <a:gd name="connsiteX14" fmla="*/ 0 w 1495234"/>
                <a:gd name="connsiteY14" fmla="*/ 973836 h 1275207"/>
                <a:gd name="connsiteX15" fmla="*/ 334518 w 1495234"/>
                <a:gd name="connsiteY15" fmla="*/ 1275207 h 1275207"/>
                <a:gd name="connsiteX16" fmla="*/ 1163669 w 1495234"/>
                <a:gd name="connsiteY16" fmla="*/ 1275207 h 1275207"/>
                <a:gd name="connsiteX17" fmla="*/ 1495234 w 1495234"/>
                <a:gd name="connsiteY17" fmla="*/ 973836 h 1275207"/>
                <a:gd name="connsiteX18" fmla="*/ 1495234 w 1495234"/>
                <a:gd name="connsiteY18" fmla="*/ 798957 h 1275207"/>
                <a:gd name="connsiteX19" fmla="*/ 1163669 w 1495234"/>
                <a:gd name="connsiteY19" fmla="*/ 497586 h 1275207"/>
                <a:gd name="connsiteX20" fmla="*/ 334518 w 1495234"/>
                <a:gd name="connsiteY20" fmla="*/ 497586 h 1275207"/>
                <a:gd name="connsiteX21" fmla="*/ 334518 w 1495234"/>
                <a:gd name="connsiteY21" fmla="*/ 229076 h 1275207"/>
                <a:gd name="connsiteX22" fmla="*/ 1211770 w 1495234"/>
                <a:gd name="connsiteY22" fmla="*/ 229076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95234" h="1275207">
                  <a:moveTo>
                    <a:pt x="1211770" y="229076"/>
                  </a:moveTo>
                  <a:lnTo>
                    <a:pt x="1211770" y="348234"/>
                  </a:lnTo>
                  <a:lnTo>
                    <a:pt x="1479995" y="291084"/>
                  </a:lnTo>
                  <a:lnTo>
                    <a:pt x="1479995" y="277368"/>
                  </a:lnTo>
                  <a:cubicBezTo>
                    <a:pt x="1479995" y="54388"/>
                    <a:pt x="1380649" y="0"/>
                    <a:pt x="1145477" y="0"/>
                  </a:cubicBezTo>
                  <a:lnTo>
                    <a:pt x="388905" y="0"/>
                  </a:lnTo>
                  <a:cubicBezTo>
                    <a:pt x="138684" y="0"/>
                    <a:pt x="54197" y="60388"/>
                    <a:pt x="54197" y="301561"/>
                  </a:cubicBezTo>
                  <a:lnTo>
                    <a:pt x="54197" y="443294"/>
                  </a:lnTo>
                  <a:cubicBezTo>
                    <a:pt x="54197" y="684467"/>
                    <a:pt x="138684" y="744665"/>
                    <a:pt x="388905" y="744665"/>
                  </a:cubicBezTo>
                  <a:lnTo>
                    <a:pt x="1214818" y="744665"/>
                  </a:lnTo>
                  <a:lnTo>
                    <a:pt x="1214818" y="1037177"/>
                  </a:lnTo>
                  <a:lnTo>
                    <a:pt x="277177" y="1037177"/>
                  </a:lnTo>
                  <a:lnTo>
                    <a:pt x="277177" y="902875"/>
                  </a:lnTo>
                  <a:lnTo>
                    <a:pt x="0" y="954214"/>
                  </a:lnTo>
                  <a:lnTo>
                    <a:pt x="0" y="973836"/>
                  </a:lnTo>
                  <a:cubicBezTo>
                    <a:pt x="0" y="1212056"/>
                    <a:pt x="81343" y="1275207"/>
                    <a:pt x="334518" y="1275207"/>
                  </a:cubicBezTo>
                  <a:lnTo>
                    <a:pt x="1163669" y="1275207"/>
                  </a:lnTo>
                  <a:cubicBezTo>
                    <a:pt x="1416844" y="1275207"/>
                    <a:pt x="1495234" y="1212056"/>
                    <a:pt x="1495234" y="973836"/>
                  </a:cubicBezTo>
                  <a:lnTo>
                    <a:pt x="1495234" y="798957"/>
                  </a:lnTo>
                  <a:cubicBezTo>
                    <a:pt x="1495234" y="557784"/>
                    <a:pt x="1416939" y="497586"/>
                    <a:pt x="1163669" y="497586"/>
                  </a:cubicBezTo>
                  <a:lnTo>
                    <a:pt x="334518" y="497586"/>
                  </a:lnTo>
                  <a:lnTo>
                    <a:pt x="334518" y="229076"/>
                  </a:lnTo>
                  <a:lnTo>
                    <a:pt x="1211770" y="229076"/>
                  </a:lnTo>
                  <a:close/>
                </a:path>
              </a:pathLst>
            </a:custGeom>
            <a:grpFill/>
            <a:ln w="9525" cap="flat">
              <a:noFill/>
              <a:prstDash val="solid"/>
              <a:miter/>
            </a:ln>
          </p:spPr>
          <p:txBody>
            <a:bodyPr lIns="0" tIns="0" rIns="0" bIns="0" rtlCol="0" anchor="ctr"/>
            <a:lstStyle/>
            <a:p>
              <a:endParaRPr lang="de-DE" sz="100"/>
            </a:p>
          </p:txBody>
        </p:sp>
        <p:sp>
          <p:nvSpPr>
            <p:cNvPr id="43" name="&amp;">
              <a:extLst>
                <a:ext uri="{FF2B5EF4-FFF2-40B4-BE49-F238E27FC236}">
                  <a16:creationId xmlns:a16="http://schemas.microsoft.com/office/drawing/2014/main" id="{AE4E3A1E-FE53-4234-B7CE-ECD1703B1EC6}"/>
                </a:ext>
              </a:extLst>
            </p:cNvPr>
            <p:cNvSpPr/>
            <p:nvPr/>
          </p:nvSpPr>
          <p:spPr bwMode="gray">
            <a:xfrm>
              <a:off x="9995063" y="1619247"/>
              <a:ext cx="2104259" cy="1555528"/>
            </a:xfrm>
            <a:custGeom>
              <a:avLst/>
              <a:gdLst>
                <a:gd name="connsiteX0" fmla="*/ 304514 w 2104263"/>
                <a:gd name="connsiteY0" fmla="*/ 1284161 h 1555527"/>
                <a:gd name="connsiteX1" fmla="*/ 304514 w 2104263"/>
                <a:gd name="connsiteY1" fmla="*/ 1018985 h 1555527"/>
                <a:gd name="connsiteX2" fmla="*/ 702373 w 2104263"/>
                <a:gd name="connsiteY2" fmla="*/ 771811 h 1555527"/>
                <a:gd name="connsiteX3" fmla="*/ 1169575 w 2104263"/>
                <a:gd name="connsiteY3" fmla="*/ 1160717 h 1555527"/>
                <a:gd name="connsiteX4" fmla="*/ 1024890 w 2104263"/>
                <a:gd name="connsiteY4" fmla="*/ 1284256 h 1555527"/>
                <a:gd name="connsiteX5" fmla="*/ 304514 w 2104263"/>
                <a:gd name="connsiteY5" fmla="*/ 1284256 h 1555527"/>
                <a:gd name="connsiteX6" fmla="*/ 388811 w 2104263"/>
                <a:gd name="connsiteY6" fmla="*/ 1555528 h 1555527"/>
                <a:gd name="connsiteX7" fmla="*/ 943547 w 2104263"/>
                <a:gd name="connsiteY7" fmla="*/ 1555528 h 1555527"/>
                <a:gd name="connsiteX8" fmla="*/ 1235964 w 2104263"/>
                <a:gd name="connsiteY8" fmla="*/ 1461992 h 1555527"/>
                <a:gd name="connsiteX9" fmla="*/ 1374649 w 2104263"/>
                <a:gd name="connsiteY9" fmla="*/ 1338453 h 1555527"/>
                <a:gd name="connsiteX10" fmla="*/ 1630870 w 2104263"/>
                <a:gd name="connsiteY10" fmla="*/ 1555528 h 1555527"/>
                <a:gd name="connsiteX11" fmla="*/ 2104264 w 2104263"/>
                <a:gd name="connsiteY11" fmla="*/ 1555528 h 1555527"/>
                <a:gd name="connsiteX12" fmla="*/ 1612869 w 2104263"/>
                <a:gd name="connsiteY12" fmla="*/ 1142429 h 1555527"/>
                <a:gd name="connsiteX13" fmla="*/ 1971580 w 2104263"/>
                <a:gd name="connsiteY13" fmla="*/ 844106 h 1555527"/>
                <a:gd name="connsiteX14" fmla="*/ 1766507 w 2104263"/>
                <a:gd name="connsiteY14" fmla="*/ 666274 h 1555527"/>
                <a:gd name="connsiteX15" fmla="*/ 1404747 w 2104263"/>
                <a:gd name="connsiteY15" fmla="*/ 967645 h 1555527"/>
                <a:gd name="connsiteX16" fmla="*/ 672180 w 2104263"/>
                <a:gd name="connsiteY16" fmla="*/ 358712 h 1555527"/>
                <a:gd name="connsiteX17" fmla="*/ 672180 w 2104263"/>
                <a:gd name="connsiteY17" fmla="*/ 247174 h 1555527"/>
                <a:gd name="connsiteX18" fmla="*/ 1181767 w 2104263"/>
                <a:gd name="connsiteY18" fmla="*/ 247174 h 1555527"/>
                <a:gd name="connsiteX19" fmla="*/ 1181767 w 2104263"/>
                <a:gd name="connsiteY19" fmla="*/ 455295 h 1555527"/>
                <a:gd name="connsiteX20" fmla="*/ 1461992 w 2104263"/>
                <a:gd name="connsiteY20" fmla="*/ 407099 h 1555527"/>
                <a:gd name="connsiteX21" fmla="*/ 1461992 w 2104263"/>
                <a:gd name="connsiteY21" fmla="*/ 313563 h 1555527"/>
                <a:gd name="connsiteX22" fmla="*/ 1076134 w 2104263"/>
                <a:gd name="connsiteY22" fmla="*/ 0 h 1555527"/>
                <a:gd name="connsiteX23" fmla="*/ 762763 w 2104263"/>
                <a:gd name="connsiteY23" fmla="*/ 0 h 1555527"/>
                <a:gd name="connsiteX24" fmla="*/ 376905 w 2104263"/>
                <a:gd name="connsiteY24" fmla="*/ 283369 h 1555527"/>
                <a:gd name="connsiteX25" fmla="*/ 376905 w 2104263"/>
                <a:gd name="connsiteY25" fmla="*/ 370713 h 1555527"/>
                <a:gd name="connsiteX26" fmla="*/ 509588 w 2104263"/>
                <a:gd name="connsiteY26" fmla="*/ 605885 h 1555527"/>
                <a:gd name="connsiteX27" fmla="*/ 192881 w 2104263"/>
                <a:gd name="connsiteY27" fmla="*/ 795909 h 1555527"/>
                <a:gd name="connsiteX28" fmla="*/ 0 w 2104263"/>
                <a:gd name="connsiteY28" fmla="*/ 1085279 h 1555527"/>
                <a:gd name="connsiteX29" fmla="*/ 0 w 2104263"/>
                <a:gd name="connsiteY29" fmla="*/ 1187768 h 1555527"/>
                <a:gd name="connsiteX30" fmla="*/ 388811 w 2104263"/>
                <a:gd name="connsiteY30" fmla="*/ 1555528 h 155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104263" h="1555527">
                  <a:moveTo>
                    <a:pt x="304514" y="1284161"/>
                  </a:moveTo>
                  <a:lnTo>
                    <a:pt x="304514" y="1018985"/>
                  </a:lnTo>
                  <a:lnTo>
                    <a:pt x="702373" y="771811"/>
                  </a:lnTo>
                  <a:lnTo>
                    <a:pt x="1169575" y="1160717"/>
                  </a:lnTo>
                  <a:lnTo>
                    <a:pt x="1024890" y="1284256"/>
                  </a:lnTo>
                  <a:lnTo>
                    <a:pt x="304514" y="1284256"/>
                  </a:lnTo>
                  <a:close/>
                  <a:moveTo>
                    <a:pt x="388811" y="1555528"/>
                  </a:moveTo>
                  <a:lnTo>
                    <a:pt x="943547" y="1555528"/>
                  </a:lnTo>
                  <a:cubicBezTo>
                    <a:pt x="1073087" y="1555528"/>
                    <a:pt x="1136428" y="1549527"/>
                    <a:pt x="1235964" y="1461992"/>
                  </a:cubicBezTo>
                  <a:lnTo>
                    <a:pt x="1374649" y="1338453"/>
                  </a:lnTo>
                  <a:lnTo>
                    <a:pt x="1630870" y="1555528"/>
                  </a:lnTo>
                  <a:lnTo>
                    <a:pt x="2104264" y="1555528"/>
                  </a:lnTo>
                  <a:lnTo>
                    <a:pt x="1612869" y="1142429"/>
                  </a:lnTo>
                  <a:lnTo>
                    <a:pt x="1971580" y="844106"/>
                  </a:lnTo>
                  <a:lnTo>
                    <a:pt x="1766507" y="666274"/>
                  </a:lnTo>
                  <a:lnTo>
                    <a:pt x="1404747" y="967645"/>
                  </a:lnTo>
                  <a:lnTo>
                    <a:pt x="672180" y="358712"/>
                  </a:lnTo>
                  <a:lnTo>
                    <a:pt x="672180" y="247174"/>
                  </a:lnTo>
                  <a:lnTo>
                    <a:pt x="1181767" y="247174"/>
                  </a:lnTo>
                  <a:lnTo>
                    <a:pt x="1181767" y="455295"/>
                  </a:lnTo>
                  <a:lnTo>
                    <a:pt x="1461992" y="407099"/>
                  </a:lnTo>
                  <a:lnTo>
                    <a:pt x="1461992" y="313563"/>
                  </a:lnTo>
                  <a:cubicBezTo>
                    <a:pt x="1461992" y="60389"/>
                    <a:pt x="1356456" y="0"/>
                    <a:pt x="1076134" y="0"/>
                  </a:cubicBezTo>
                  <a:lnTo>
                    <a:pt x="762763" y="0"/>
                  </a:lnTo>
                  <a:cubicBezTo>
                    <a:pt x="497395" y="0"/>
                    <a:pt x="376905" y="60389"/>
                    <a:pt x="376905" y="283369"/>
                  </a:cubicBezTo>
                  <a:lnTo>
                    <a:pt x="376905" y="370713"/>
                  </a:lnTo>
                  <a:cubicBezTo>
                    <a:pt x="376905" y="461200"/>
                    <a:pt x="419100" y="530543"/>
                    <a:pt x="509588" y="605885"/>
                  </a:cubicBezTo>
                  <a:lnTo>
                    <a:pt x="192881" y="795909"/>
                  </a:lnTo>
                  <a:cubicBezTo>
                    <a:pt x="57341" y="877253"/>
                    <a:pt x="0" y="925449"/>
                    <a:pt x="0" y="1085279"/>
                  </a:cubicBezTo>
                  <a:lnTo>
                    <a:pt x="0" y="1187768"/>
                  </a:lnTo>
                  <a:cubicBezTo>
                    <a:pt x="0" y="1480185"/>
                    <a:pt x="96488" y="1555528"/>
                    <a:pt x="388811" y="1555528"/>
                  </a:cubicBezTo>
                </a:path>
              </a:pathLst>
            </a:custGeom>
            <a:grpFill/>
            <a:ln w="9525" cap="flat">
              <a:noFill/>
              <a:prstDash val="solid"/>
              <a:miter/>
            </a:ln>
          </p:spPr>
          <p:txBody>
            <a:bodyPr lIns="0" tIns="0" rIns="0" bIns="0" rtlCol="0" anchor="ctr"/>
            <a:lstStyle/>
            <a:p>
              <a:endParaRPr lang="de-DE" sz="100"/>
            </a:p>
          </p:txBody>
        </p:sp>
        <p:sp>
          <p:nvSpPr>
            <p:cNvPr id="44" name="s">
              <a:extLst>
                <a:ext uri="{FF2B5EF4-FFF2-40B4-BE49-F238E27FC236}">
                  <a16:creationId xmlns:a16="http://schemas.microsoft.com/office/drawing/2014/main" id="{E2D377C2-71BC-4D8E-A895-4C720146124C}"/>
                </a:ext>
              </a:extLst>
            </p:cNvPr>
            <p:cNvSpPr/>
            <p:nvPr/>
          </p:nvSpPr>
          <p:spPr bwMode="gray">
            <a:xfrm>
              <a:off x="95247" y="3686081"/>
              <a:ext cx="1739650" cy="1555528"/>
            </a:xfrm>
            <a:custGeom>
              <a:avLst/>
              <a:gdLst>
                <a:gd name="connsiteX0" fmla="*/ 1398842 w 1739645"/>
                <a:gd name="connsiteY0" fmla="*/ 271367 h 1555527"/>
                <a:gd name="connsiteX1" fmla="*/ 1398842 w 1739645"/>
                <a:gd name="connsiteY1" fmla="*/ 439865 h 1555527"/>
                <a:gd name="connsiteX2" fmla="*/ 1718405 w 1739645"/>
                <a:gd name="connsiteY2" fmla="*/ 364522 h 1555527"/>
                <a:gd name="connsiteX3" fmla="*/ 1718405 w 1739645"/>
                <a:gd name="connsiteY3" fmla="*/ 340709 h 1555527"/>
                <a:gd name="connsiteX4" fmla="*/ 1332548 w 1739645"/>
                <a:gd name="connsiteY4" fmla="*/ 0 h 1555527"/>
                <a:gd name="connsiteX5" fmla="*/ 449199 w 1739645"/>
                <a:gd name="connsiteY5" fmla="*/ 0 h 1555527"/>
                <a:gd name="connsiteX6" fmla="*/ 63341 w 1739645"/>
                <a:gd name="connsiteY6" fmla="*/ 367855 h 1555527"/>
                <a:gd name="connsiteX7" fmla="*/ 63341 w 1739645"/>
                <a:gd name="connsiteY7" fmla="*/ 539496 h 1555527"/>
                <a:gd name="connsiteX8" fmla="*/ 449199 w 1739645"/>
                <a:gd name="connsiteY8" fmla="*/ 907351 h 1555527"/>
                <a:gd name="connsiteX9" fmla="*/ 1419987 w 1739645"/>
                <a:gd name="connsiteY9" fmla="*/ 907351 h 1555527"/>
                <a:gd name="connsiteX10" fmla="*/ 1419987 w 1739645"/>
                <a:gd name="connsiteY10" fmla="*/ 1263110 h 1555527"/>
                <a:gd name="connsiteX11" fmla="*/ 319754 w 1739645"/>
                <a:gd name="connsiteY11" fmla="*/ 1263110 h 1555527"/>
                <a:gd name="connsiteX12" fmla="*/ 319754 w 1739645"/>
                <a:gd name="connsiteY12" fmla="*/ 1095661 h 1555527"/>
                <a:gd name="connsiteX13" fmla="*/ 0 w 1739645"/>
                <a:gd name="connsiteY13" fmla="*/ 1162050 h 1555527"/>
                <a:gd name="connsiteX14" fmla="*/ 0 w 1739645"/>
                <a:gd name="connsiteY14" fmla="*/ 1187768 h 1555527"/>
                <a:gd name="connsiteX15" fmla="*/ 388906 w 1739645"/>
                <a:gd name="connsiteY15" fmla="*/ 1555528 h 1555527"/>
                <a:gd name="connsiteX16" fmla="*/ 1350740 w 1739645"/>
                <a:gd name="connsiteY16" fmla="*/ 1555528 h 1555527"/>
                <a:gd name="connsiteX17" fmla="*/ 1739646 w 1739645"/>
                <a:gd name="connsiteY17" fmla="*/ 1187768 h 1555527"/>
                <a:gd name="connsiteX18" fmla="*/ 1739646 w 1739645"/>
                <a:gd name="connsiteY18" fmla="*/ 973741 h 1555527"/>
                <a:gd name="connsiteX19" fmla="*/ 1350740 w 1739645"/>
                <a:gd name="connsiteY19" fmla="*/ 605885 h 1555527"/>
                <a:gd name="connsiteX20" fmla="*/ 379857 w 1739645"/>
                <a:gd name="connsiteY20" fmla="*/ 605885 h 1555527"/>
                <a:gd name="connsiteX21" fmla="*/ 379857 w 1739645"/>
                <a:gd name="connsiteY21" fmla="*/ 271367 h 1555527"/>
                <a:gd name="connsiteX22" fmla="*/ 1398842 w 1739645"/>
                <a:gd name="connsiteY22" fmla="*/ 271367 h 155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39645" h="1555527">
                  <a:moveTo>
                    <a:pt x="1398842" y="271367"/>
                  </a:moveTo>
                  <a:lnTo>
                    <a:pt x="1398842" y="439865"/>
                  </a:lnTo>
                  <a:lnTo>
                    <a:pt x="1718405" y="364522"/>
                  </a:lnTo>
                  <a:lnTo>
                    <a:pt x="1718405" y="340709"/>
                  </a:lnTo>
                  <a:cubicBezTo>
                    <a:pt x="1718405" y="72295"/>
                    <a:pt x="1609916" y="0"/>
                    <a:pt x="1332548" y="0"/>
                  </a:cubicBezTo>
                  <a:lnTo>
                    <a:pt x="449199" y="0"/>
                  </a:lnTo>
                  <a:cubicBezTo>
                    <a:pt x="156781" y="0"/>
                    <a:pt x="63341" y="75343"/>
                    <a:pt x="63341" y="367855"/>
                  </a:cubicBezTo>
                  <a:lnTo>
                    <a:pt x="63341" y="539496"/>
                  </a:lnTo>
                  <a:cubicBezTo>
                    <a:pt x="63341" y="832009"/>
                    <a:pt x="156877" y="907351"/>
                    <a:pt x="449199" y="907351"/>
                  </a:cubicBezTo>
                  <a:lnTo>
                    <a:pt x="1419987" y="907351"/>
                  </a:lnTo>
                  <a:lnTo>
                    <a:pt x="1419987" y="1263110"/>
                  </a:lnTo>
                  <a:lnTo>
                    <a:pt x="319754" y="1263110"/>
                  </a:lnTo>
                  <a:lnTo>
                    <a:pt x="319754" y="1095661"/>
                  </a:lnTo>
                  <a:lnTo>
                    <a:pt x="0" y="1162050"/>
                  </a:lnTo>
                  <a:lnTo>
                    <a:pt x="0" y="1187768"/>
                  </a:lnTo>
                  <a:cubicBezTo>
                    <a:pt x="0" y="1480185"/>
                    <a:pt x="96488" y="1555528"/>
                    <a:pt x="388906" y="1555528"/>
                  </a:cubicBezTo>
                  <a:lnTo>
                    <a:pt x="1350740" y="1555528"/>
                  </a:lnTo>
                  <a:cubicBezTo>
                    <a:pt x="1643158" y="1555528"/>
                    <a:pt x="1739646" y="1480185"/>
                    <a:pt x="1739646" y="1187768"/>
                  </a:cubicBezTo>
                  <a:lnTo>
                    <a:pt x="1739646" y="973741"/>
                  </a:lnTo>
                  <a:cubicBezTo>
                    <a:pt x="1739646" y="681228"/>
                    <a:pt x="1643158" y="605885"/>
                    <a:pt x="1350740" y="605885"/>
                  </a:cubicBezTo>
                  <a:lnTo>
                    <a:pt x="379857" y="605885"/>
                  </a:lnTo>
                  <a:lnTo>
                    <a:pt x="379857" y="271367"/>
                  </a:lnTo>
                  <a:lnTo>
                    <a:pt x="1398842" y="271367"/>
                  </a:lnTo>
                  <a:close/>
                </a:path>
              </a:pathLst>
            </a:custGeom>
            <a:grpFill/>
            <a:ln w="9525" cap="flat">
              <a:noFill/>
              <a:prstDash val="solid"/>
              <a:miter/>
            </a:ln>
          </p:spPr>
          <p:txBody>
            <a:bodyPr lIns="0" tIns="0" rIns="0" bIns="0" rtlCol="0" anchor="ctr"/>
            <a:lstStyle/>
            <a:p>
              <a:endParaRPr lang="de-DE" sz="100"/>
            </a:p>
          </p:txBody>
        </p:sp>
        <p:sp>
          <p:nvSpPr>
            <p:cNvPr id="45" name="o">
              <a:extLst>
                <a:ext uri="{FF2B5EF4-FFF2-40B4-BE49-F238E27FC236}">
                  <a16:creationId xmlns:a16="http://schemas.microsoft.com/office/drawing/2014/main" id="{9FDA0E25-44BC-4BA3-A7B2-7CAA53D345FF}"/>
                </a:ext>
              </a:extLst>
            </p:cNvPr>
            <p:cNvSpPr/>
            <p:nvPr/>
          </p:nvSpPr>
          <p:spPr bwMode="gray">
            <a:xfrm>
              <a:off x="2206937" y="3966587"/>
              <a:ext cx="1682019" cy="1275212"/>
            </a:xfrm>
            <a:custGeom>
              <a:avLst/>
              <a:gdLst>
                <a:gd name="connsiteX0" fmla="*/ 326041 w 1682019"/>
                <a:gd name="connsiteY0" fmla="*/ 234982 h 1275207"/>
                <a:gd name="connsiteX1" fmla="*/ 1374648 w 1682019"/>
                <a:gd name="connsiteY1" fmla="*/ 234982 h 1275207"/>
                <a:gd name="connsiteX2" fmla="*/ 1374648 w 1682019"/>
                <a:gd name="connsiteY2" fmla="*/ 1030891 h 1275207"/>
                <a:gd name="connsiteX3" fmla="*/ 326041 w 1682019"/>
                <a:gd name="connsiteY3" fmla="*/ 1030891 h 1275207"/>
                <a:gd name="connsiteX4" fmla="*/ 326041 w 1682019"/>
                <a:gd name="connsiteY4" fmla="*/ 234982 h 1275207"/>
                <a:gd name="connsiteX5" fmla="*/ 0 w 1682019"/>
                <a:gd name="connsiteY5" fmla="*/ 301371 h 1275207"/>
                <a:gd name="connsiteX6" fmla="*/ 0 w 1682019"/>
                <a:gd name="connsiteY6" fmla="*/ 973646 h 1275207"/>
                <a:gd name="connsiteX7" fmla="*/ 338233 w 1682019"/>
                <a:gd name="connsiteY7" fmla="*/ 1275207 h 1275207"/>
                <a:gd name="connsiteX8" fmla="*/ 1343787 w 1682019"/>
                <a:gd name="connsiteY8" fmla="*/ 1275207 h 1275207"/>
                <a:gd name="connsiteX9" fmla="*/ 1682020 w 1682019"/>
                <a:gd name="connsiteY9" fmla="*/ 973646 h 1275207"/>
                <a:gd name="connsiteX10" fmla="*/ 1682020 w 1682019"/>
                <a:gd name="connsiteY10" fmla="*/ 301371 h 1275207"/>
                <a:gd name="connsiteX11" fmla="*/ 1343787 w 1682019"/>
                <a:gd name="connsiteY11" fmla="*/ 0 h 1275207"/>
                <a:gd name="connsiteX12" fmla="*/ 338233 w 1682019"/>
                <a:gd name="connsiteY12" fmla="*/ 0 h 1275207"/>
                <a:gd name="connsiteX13" fmla="*/ 0 w 1682019"/>
                <a:gd name="connsiteY13" fmla="*/ 301371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82019" h="1275207">
                  <a:moveTo>
                    <a:pt x="326041" y="234982"/>
                  </a:moveTo>
                  <a:lnTo>
                    <a:pt x="1374648" y="234982"/>
                  </a:lnTo>
                  <a:lnTo>
                    <a:pt x="1374648" y="1030891"/>
                  </a:lnTo>
                  <a:lnTo>
                    <a:pt x="326041" y="1030891"/>
                  </a:lnTo>
                  <a:lnTo>
                    <a:pt x="326041" y="234982"/>
                  </a:lnTo>
                  <a:close/>
                  <a:moveTo>
                    <a:pt x="0" y="301371"/>
                  </a:moveTo>
                  <a:lnTo>
                    <a:pt x="0" y="973646"/>
                  </a:lnTo>
                  <a:cubicBezTo>
                    <a:pt x="0" y="1214819"/>
                    <a:pt x="79915" y="1275207"/>
                    <a:pt x="338233" y="1275207"/>
                  </a:cubicBezTo>
                  <a:lnTo>
                    <a:pt x="1343787" y="1275207"/>
                  </a:lnTo>
                  <a:cubicBezTo>
                    <a:pt x="1598962" y="1275207"/>
                    <a:pt x="1682020" y="1214819"/>
                    <a:pt x="1682020" y="973646"/>
                  </a:cubicBezTo>
                  <a:lnTo>
                    <a:pt x="1682020" y="301371"/>
                  </a:lnTo>
                  <a:cubicBezTo>
                    <a:pt x="1682020" y="57150"/>
                    <a:pt x="1598867" y="0"/>
                    <a:pt x="1343787" y="0"/>
                  </a:cubicBezTo>
                  <a:lnTo>
                    <a:pt x="338233" y="0"/>
                  </a:lnTo>
                  <a:cubicBezTo>
                    <a:pt x="83153" y="0"/>
                    <a:pt x="0" y="57150"/>
                    <a:pt x="0" y="301371"/>
                  </a:cubicBezTo>
                </a:path>
              </a:pathLst>
            </a:custGeom>
            <a:grpFill/>
            <a:ln w="9525" cap="flat">
              <a:noFill/>
              <a:prstDash val="solid"/>
              <a:miter/>
            </a:ln>
          </p:spPr>
          <p:txBody>
            <a:bodyPr lIns="0" tIns="0" rIns="0" bIns="0" rtlCol="0" anchor="ctr"/>
            <a:lstStyle/>
            <a:p>
              <a:endParaRPr lang="de-DE" sz="100"/>
            </a:p>
          </p:txBody>
        </p:sp>
        <p:sp>
          <p:nvSpPr>
            <p:cNvPr id="46" name="m">
              <a:extLst>
                <a:ext uri="{FF2B5EF4-FFF2-40B4-BE49-F238E27FC236}">
                  <a16:creationId xmlns:a16="http://schemas.microsoft.com/office/drawing/2014/main" id="{8B8DD294-D991-4946-8CE3-00765A1C5406}"/>
                </a:ext>
              </a:extLst>
            </p:cNvPr>
            <p:cNvSpPr/>
            <p:nvPr/>
          </p:nvSpPr>
          <p:spPr bwMode="gray">
            <a:xfrm>
              <a:off x="4290154" y="3966498"/>
              <a:ext cx="1815752" cy="1275212"/>
            </a:xfrm>
            <a:custGeom>
              <a:avLst/>
              <a:gdLst>
                <a:gd name="connsiteX0" fmla="*/ 1560576 w 1815750"/>
                <a:gd name="connsiteY0" fmla="*/ 0 h 1275207"/>
                <a:gd name="connsiteX1" fmla="*/ 927163 w 1815750"/>
                <a:gd name="connsiteY1" fmla="*/ 756571 h 1275207"/>
                <a:gd name="connsiteX2" fmla="*/ 290703 w 1815750"/>
                <a:gd name="connsiteY2" fmla="*/ 0 h 1275207"/>
                <a:gd name="connsiteX3" fmla="*/ 0 w 1815750"/>
                <a:gd name="connsiteY3" fmla="*/ 0 h 1275207"/>
                <a:gd name="connsiteX4" fmla="*/ 0 w 1815750"/>
                <a:gd name="connsiteY4" fmla="*/ 1275207 h 1275207"/>
                <a:gd name="connsiteX5" fmla="*/ 290703 w 1815750"/>
                <a:gd name="connsiteY5" fmla="*/ 1275207 h 1275207"/>
                <a:gd name="connsiteX6" fmla="*/ 290703 w 1815750"/>
                <a:gd name="connsiteY6" fmla="*/ 419100 h 1275207"/>
                <a:gd name="connsiteX7" fmla="*/ 877919 w 1815750"/>
                <a:gd name="connsiteY7" fmla="*/ 1121474 h 1275207"/>
                <a:gd name="connsiteX8" fmla="*/ 939356 w 1815750"/>
                <a:gd name="connsiteY8" fmla="*/ 1121474 h 1275207"/>
                <a:gd name="connsiteX9" fmla="*/ 1520571 w 1815750"/>
                <a:gd name="connsiteY9" fmla="*/ 397859 h 1275207"/>
                <a:gd name="connsiteX10" fmla="*/ 1520571 w 1815750"/>
                <a:gd name="connsiteY10" fmla="*/ 1275207 h 1275207"/>
                <a:gd name="connsiteX11" fmla="*/ 1815751 w 1815750"/>
                <a:gd name="connsiteY11" fmla="*/ 1275207 h 1275207"/>
                <a:gd name="connsiteX12" fmla="*/ 1815751 w 1815750"/>
                <a:gd name="connsiteY12" fmla="*/ 0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5750" h="1275207">
                  <a:moveTo>
                    <a:pt x="1560576" y="0"/>
                  </a:moveTo>
                  <a:lnTo>
                    <a:pt x="927163" y="756571"/>
                  </a:lnTo>
                  <a:lnTo>
                    <a:pt x="290703" y="0"/>
                  </a:lnTo>
                  <a:lnTo>
                    <a:pt x="0" y="0"/>
                  </a:lnTo>
                  <a:lnTo>
                    <a:pt x="0" y="1275207"/>
                  </a:lnTo>
                  <a:lnTo>
                    <a:pt x="290703" y="1275207"/>
                  </a:lnTo>
                  <a:lnTo>
                    <a:pt x="290703" y="419100"/>
                  </a:lnTo>
                  <a:lnTo>
                    <a:pt x="877919" y="1121474"/>
                  </a:lnTo>
                  <a:lnTo>
                    <a:pt x="939356" y="1121474"/>
                  </a:lnTo>
                  <a:lnTo>
                    <a:pt x="1520571" y="397859"/>
                  </a:lnTo>
                  <a:lnTo>
                    <a:pt x="1520571" y="1275207"/>
                  </a:lnTo>
                  <a:lnTo>
                    <a:pt x="1815751" y="1275207"/>
                  </a:lnTo>
                  <a:lnTo>
                    <a:pt x="1815751" y="0"/>
                  </a:lnTo>
                  <a:close/>
                </a:path>
              </a:pathLst>
            </a:custGeom>
            <a:grpFill/>
            <a:ln w="9525" cap="flat">
              <a:noFill/>
              <a:prstDash val="solid"/>
              <a:miter/>
            </a:ln>
          </p:spPr>
          <p:txBody>
            <a:bodyPr lIns="0" tIns="0" rIns="0" bIns="0" rtlCol="0" anchor="ctr"/>
            <a:lstStyle/>
            <a:p>
              <a:endParaRPr lang="de-DE" sz="100"/>
            </a:p>
          </p:txBody>
        </p:sp>
        <p:sp>
          <p:nvSpPr>
            <p:cNvPr id="47" name="m">
              <a:extLst>
                <a:ext uri="{FF2B5EF4-FFF2-40B4-BE49-F238E27FC236}">
                  <a16:creationId xmlns:a16="http://schemas.microsoft.com/office/drawing/2014/main" id="{913E15F5-E8BB-44A3-849E-8C7172249A9E}"/>
                </a:ext>
              </a:extLst>
            </p:cNvPr>
            <p:cNvSpPr/>
            <p:nvPr/>
          </p:nvSpPr>
          <p:spPr bwMode="gray">
            <a:xfrm>
              <a:off x="6535096" y="3966498"/>
              <a:ext cx="1815752" cy="1275212"/>
            </a:xfrm>
            <a:custGeom>
              <a:avLst/>
              <a:gdLst>
                <a:gd name="connsiteX0" fmla="*/ 1560672 w 1815750"/>
                <a:gd name="connsiteY0" fmla="*/ 0 h 1275207"/>
                <a:gd name="connsiteX1" fmla="*/ 927164 w 1815750"/>
                <a:gd name="connsiteY1" fmla="*/ 756571 h 1275207"/>
                <a:gd name="connsiteX2" fmla="*/ 290799 w 1815750"/>
                <a:gd name="connsiteY2" fmla="*/ 0 h 1275207"/>
                <a:gd name="connsiteX3" fmla="*/ 0 w 1815750"/>
                <a:gd name="connsiteY3" fmla="*/ 0 h 1275207"/>
                <a:gd name="connsiteX4" fmla="*/ 0 w 1815750"/>
                <a:gd name="connsiteY4" fmla="*/ 1275207 h 1275207"/>
                <a:gd name="connsiteX5" fmla="*/ 290799 w 1815750"/>
                <a:gd name="connsiteY5" fmla="*/ 1275207 h 1275207"/>
                <a:gd name="connsiteX6" fmla="*/ 290799 w 1815750"/>
                <a:gd name="connsiteY6" fmla="*/ 419100 h 1275207"/>
                <a:gd name="connsiteX7" fmla="*/ 878015 w 1815750"/>
                <a:gd name="connsiteY7" fmla="*/ 1121474 h 1275207"/>
                <a:gd name="connsiteX8" fmla="*/ 939546 w 1815750"/>
                <a:gd name="connsiteY8" fmla="*/ 1121474 h 1275207"/>
                <a:gd name="connsiteX9" fmla="*/ 1520571 w 1815750"/>
                <a:gd name="connsiteY9" fmla="*/ 397859 h 1275207"/>
                <a:gd name="connsiteX10" fmla="*/ 1520571 w 1815750"/>
                <a:gd name="connsiteY10" fmla="*/ 1275207 h 1275207"/>
                <a:gd name="connsiteX11" fmla="*/ 1815751 w 1815750"/>
                <a:gd name="connsiteY11" fmla="*/ 1275207 h 1275207"/>
                <a:gd name="connsiteX12" fmla="*/ 1815751 w 1815750"/>
                <a:gd name="connsiteY12" fmla="*/ 0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5750" h="1275207">
                  <a:moveTo>
                    <a:pt x="1560672" y="0"/>
                  </a:moveTo>
                  <a:lnTo>
                    <a:pt x="927164" y="756571"/>
                  </a:lnTo>
                  <a:lnTo>
                    <a:pt x="290799" y="0"/>
                  </a:lnTo>
                  <a:lnTo>
                    <a:pt x="0" y="0"/>
                  </a:lnTo>
                  <a:lnTo>
                    <a:pt x="0" y="1275207"/>
                  </a:lnTo>
                  <a:lnTo>
                    <a:pt x="290799" y="1275207"/>
                  </a:lnTo>
                  <a:lnTo>
                    <a:pt x="290799" y="419100"/>
                  </a:lnTo>
                  <a:lnTo>
                    <a:pt x="878015" y="1121474"/>
                  </a:lnTo>
                  <a:lnTo>
                    <a:pt x="939546" y="1121474"/>
                  </a:lnTo>
                  <a:lnTo>
                    <a:pt x="1520571" y="397859"/>
                  </a:lnTo>
                  <a:lnTo>
                    <a:pt x="1520571" y="1275207"/>
                  </a:lnTo>
                  <a:lnTo>
                    <a:pt x="1815751" y="1275207"/>
                  </a:lnTo>
                  <a:lnTo>
                    <a:pt x="1815751" y="0"/>
                  </a:lnTo>
                  <a:close/>
                </a:path>
              </a:pathLst>
            </a:custGeom>
            <a:grpFill/>
            <a:ln w="9525" cap="flat">
              <a:noFill/>
              <a:prstDash val="solid"/>
              <a:miter/>
            </a:ln>
          </p:spPr>
          <p:txBody>
            <a:bodyPr lIns="0" tIns="0" rIns="0" bIns="0" rtlCol="0" anchor="ctr"/>
            <a:lstStyle/>
            <a:p>
              <a:endParaRPr lang="de-DE" sz="100"/>
            </a:p>
          </p:txBody>
        </p:sp>
        <p:sp>
          <p:nvSpPr>
            <p:cNvPr id="48" name="e">
              <a:extLst>
                <a:ext uri="{FF2B5EF4-FFF2-40B4-BE49-F238E27FC236}">
                  <a16:creationId xmlns:a16="http://schemas.microsoft.com/office/drawing/2014/main" id="{CC10B9AA-B0F8-4332-B5FA-909128FEF0FE}"/>
                </a:ext>
              </a:extLst>
            </p:cNvPr>
            <p:cNvSpPr/>
            <p:nvPr/>
          </p:nvSpPr>
          <p:spPr bwMode="gray">
            <a:xfrm>
              <a:off x="8765757" y="3966498"/>
              <a:ext cx="1411313" cy="1275212"/>
            </a:xfrm>
            <a:custGeom>
              <a:avLst/>
              <a:gdLst>
                <a:gd name="connsiteX0" fmla="*/ 0 w 1411319"/>
                <a:gd name="connsiteY0" fmla="*/ 0 h 1275207"/>
                <a:gd name="connsiteX1" fmla="*/ 0 w 1411319"/>
                <a:gd name="connsiteY1" fmla="*/ 1275207 h 1275207"/>
                <a:gd name="connsiteX2" fmla="*/ 1411319 w 1411319"/>
                <a:gd name="connsiteY2" fmla="*/ 1275207 h 1275207"/>
                <a:gd name="connsiteX3" fmla="*/ 1411319 w 1411319"/>
                <a:gd name="connsiteY3" fmla="*/ 1036987 h 1275207"/>
                <a:gd name="connsiteX4" fmla="*/ 319850 w 1411319"/>
                <a:gd name="connsiteY4" fmla="*/ 1036987 h 1275207"/>
                <a:gd name="connsiteX5" fmla="*/ 319850 w 1411319"/>
                <a:gd name="connsiteY5" fmla="*/ 723424 h 1275207"/>
                <a:gd name="connsiteX6" fmla="*/ 947166 w 1411319"/>
                <a:gd name="connsiteY6" fmla="*/ 723424 h 1275207"/>
                <a:gd name="connsiteX7" fmla="*/ 947166 w 1411319"/>
                <a:gd name="connsiteY7" fmla="*/ 503396 h 1275207"/>
                <a:gd name="connsiteX8" fmla="*/ 319850 w 1411319"/>
                <a:gd name="connsiteY8" fmla="*/ 503396 h 1275207"/>
                <a:gd name="connsiteX9" fmla="*/ 319850 w 1411319"/>
                <a:gd name="connsiteY9" fmla="*/ 226219 h 1275207"/>
                <a:gd name="connsiteX10" fmla="*/ 1395984 w 1411319"/>
                <a:gd name="connsiteY10" fmla="*/ 226219 h 1275207"/>
                <a:gd name="connsiteX11" fmla="*/ 1395984 w 1411319"/>
                <a:gd name="connsiteY11" fmla="*/ 0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11319" h="1275207">
                  <a:moveTo>
                    <a:pt x="0" y="0"/>
                  </a:moveTo>
                  <a:lnTo>
                    <a:pt x="0" y="1275207"/>
                  </a:lnTo>
                  <a:lnTo>
                    <a:pt x="1411319" y="1275207"/>
                  </a:lnTo>
                  <a:lnTo>
                    <a:pt x="1411319" y="1036987"/>
                  </a:lnTo>
                  <a:lnTo>
                    <a:pt x="319850" y="1036987"/>
                  </a:lnTo>
                  <a:lnTo>
                    <a:pt x="319850" y="723424"/>
                  </a:lnTo>
                  <a:lnTo>
                    <a:pt x="947166" y="723424"/>
                  </a:lnTo>
                  <a:lnTo>
                    <a:pt x="947166" y="503396"/>
                  </a:lnTo>
                  <a:lnTo>
                    <a:pt x="319850" y="503396"/>
                  </a:lnTo>
                  <a:lnTo>
                    <a:pt x="319850" y="226219"/>
                  </a:lnTo>
                  <a:lnTo>
                    <a:pt x="1395984" y="226219"/>
                  </a:lnTo>
                  <a:lnTo>
                    <a:pt x="1395984" y="0"/>
                  </a:lnTo>
                  <a:close/>
                </a:path>
              </a:pathLst>
            </a:custGeom>
            <a:grpFill/>
            <a:ln w="9525" cap="flat">
              <a:noFill/>
              <a:prstDash val="solid"/>
              <a:miter/>
            </a:ln>
          </p:spPr>
          <p:txBody>
            <a:bodyPr lIns="0" tIns="0" rIns="0" bIns="0" rtlCol="0" anchor="ctr"/>
            <a:lstStyle/>
            <a:p>
              <a:endParaRPr lang="de-DE" sz="100"/>
            </a:p>
          </p:txBody>
        </p:sp>
        <p:sp>
          <p:nvSpPr>
            <p:cNvPr id="49" name="r">
              <a:extLst>
                <a:ext uri="{FF2B5EF4-FFF2-40B4-BE49-F238E27FC236}">
                  <a16:creationId xmlns:a16="http://schemas.microsoft.com/office/drawing/2014/main" id="{29D51DC5-434E-419A-AF1C-4DCBEA271FF7}"/>
                </a:ext>
              </a:extLst>
            </p:cNvPr>
            <p:cNvSpPr/>
            <p:nvPr/>
          </p:nvSpPr>
          <p:spPr bwMode="gray">
            <a:xfrm>
              <a:off x="10504356" y="3966498"/>
              <a:ext cx="1579811" cy="1275212"/>
            </a:xfrm>
            <a:custGeom>
              <a:avLst/>
              <a:gdLst>
                <a:gd name="connsiteX0" fmla="*/ 1015937 w 1579817"/>
                <a:gd name="connsiteY0" fmla="*/ 220028 h 1275207"/>
                <a:gd name="connsiteX1" fmla="*/ 1157669 w 1579817"/>
                <a:gd name="connsiteY1" fmla="*/ 322517 h 1275207"/>
                <a:gd name="connsiteX2" fmla="*/ 1157669 w 1579817"/>
                <a:gd name="connsiteY2" fmla="*/ 470249 h 1275207"/>
                <a:gd name="connsiteX3" fmla="*/ 1015937 w 1579817"/>
                <a:gd name="connsiteY3" fmla="*/ 572738 h 1275207"/>
                <a:gd name="connsiteX4" fmla="*/ 307467 w 1579817"/>
                <a:gd name="connsiteY4" fmla="*/ 572738 h 1275207"/>
                <a:gd name="connsiteX5" fmla="*/ 307467 w 1579817"/>
                <a:gd name="connsiteY5" fmla="*/ 220028 h 1275207"/>
                <a:gd name="connsiteX6" fmla="*/ 1015937 w 1579817"/>
                <a:gd name="connsiteY6" fmla="*/ 220028 h 1275207"/>
                <a:gd name="connsiteX7" fmla="*/ 0 w 1579817"/>
                <a:gd name="connsiteY7" fmla="*/ 1275207 h 1275207"/>
                <a:gd name="connsiteX8" fmla="*/ 307563 w 1579817"/>
                <a:gd name="connsiteY8" fmla="*/ 1275207 h 1275207"/>
                <a:gd name="connsiteX9" fmla="*/ 307563 w 1579817"/>
                <a:gd name="connsiteY9" fmla="*/ 792766 h 1275207"/>
                <a:gd name="connsiteX10" fmla="*/ 599981 w 1579817"/>
                <a:gd name="connsiteY10" fmla="*/ 792766 h 1275207"/>
                <a:gd name="connsiteX11" fmla="*/ 1133570 w 1579817"/>
                <a:gd name="connsiteY11" fmla="*/ 1275207 h 1275207"/>
                <a:gd name="connsiteX12" fmla="*/ 1579818 w 1579817"/>
                <a:gd name="connsiteY12" fmla="*/ 1275207 h 1275207"/>
                <a:gd name="connsiteX13" fmla="*/ 973931 w 1579817"/>
                <a:gd name="connsiteY13" fmla="*/ 792766 h 1275207"/>
                <a:gd name="connsiteX14" fmla="*/ 1148811 w 1579817"/>
                <a:gd name="connsiteY14" fmla="*/ 792766 h 1275207"/>
                <a:gd name="connsiteX15" fmla="*/ 1447229 w 1579817"/>
                <a:gd name="connsiteY15" fmla="*/ 548545 h 1275207"/>
                <a:gd name="connsiteX16" fmla="*/ 1447229 w 1579817"/>
                <a:gd name="connsiteY16" fmla="*/ 247174 h 1275207"/>
                <a:gd name="connsiteX17" fmla="*/ 1148811 w 1579817"/>
                <a:gd name="connsiteY17" fmla="*/ 0 h 1275207"/>
                <a:gd name="connsiteX18" fmla="*/ 191 w 1579817"/>
                <a:gd name="connsiteY18" fmla="*/ 0 h 1275207"/>
                <a:gd name="connsiteX19" fmla="*/ 191 w 1579817"/>
                <a:gd name="connsiteY19" fmla="*/ 1275207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79817" h="1275207">
                  <a:moveTo>
                    <a:pt x="1015937" y="220028"/>
                  </a:moveTo>
                  <a:cubicBezTo>
                    <a:pt x="1109282" y="220028"/>
                    <a:pt x="1157669" y="238220"/>
                    <a:pt x="1157669" y="322517"/>
                  </a:cubicBezTo>
                  <a:lnTo>
                    <a:pt x="1157669" y="470249"/>
                  </a:lnTo>
                  <a:cubicBezTo>
                    <a:pt x="1157669" y="554736"/>
                    <a:pt x="1109282" y="572738"/>
                    <a:pt x="1015937" y="572738"/>
                  </a:cubicBezTo>
                  <a:lnTo>
                    <a:pt x="307467" y="572738"/>
                  </a:lnTo>
                  <a:lnTo>
                    <a:pt x="307467" y="220028"/>
                  </a:lnTo>
                  <a:lnTo>
                    <a:pt x="1015937" y="220028"/>
                  </a:lnTo>
                  <a:close/>
                  <a:moveTo>
                    <a:pt x="0" y="1275207"/>
                  </a:moveTo>
                  <a:lnTo>
                    <a:pt x="307563" y="1275207"/>
                  </a:lnTo>
                  <a:lnTo>
                    <a:pt x="307563" y="792766"/>
                  </a:lnTo>
                  <a:lnTo>
                    <a:pt x="599981" y="792766"/>
                  </a:lnTo>
                  <a:lnTo>
                    <a:pt x="1133570" y="1275207"/>
                  </a:lnTo>
                  <a:lnTo>
                    <a:pt x="1579818" y="1275207"/>
                  </a:lnTo>
                  <a:lnTo>
                    <a:pt x="973931" y="792766"/>
                  </a:lnTo>
                  <a:lnTo>
                    <a:pt x="1148811" y="792766"/>
                  </a:lnTo>
                  <a:cubicBezTo>
                    <a:pt x="1353693" y="792766"/>
                    <a:pt x="1447229" y="723424"/>
                    <a:pt x="1447229" y="548545"/>
                  </a:cubicBezTo>
                  <a:lnTo>
                    <a:pt x="1447229" y="247174"/>
                  </a:lnTo>
                  <a:cubicBezTo>
                    <a:pt x="1447229" y="69342"/>
                    <a:pt x="1353693" y="0"/>
                    <a:pt x="1148811" y="0"/>
                  </a:cubicBezTo>
                  <a:lnTo>
                    <a:pt x="191" y="0"/>
                  </a:lnTo>
                  <a:lnTo>
                    <a:pt x="191" y="1275207"/>
                  </a:lnTo>
                  <a:close/>
                </a:path>
              </a:pathLst>
            </a:custGeom>
            <a:grpFill/>
            <a:ln w="9525" cap="flat">
              <a:noFill/>
              <a:prstDash val="solid"/>
              <a:miter/>
            </a:ln>
          </p:spPr>
          <p:txBody>
            <a:bodyPr lIns="0" tIns="0" rIns="0" bIns="0" rtlCol="0" anchor="ctr"/>
            <a:lstStyle/>
            <a:p>
              <a:endParaRPr lang="de-DE" sz="100"/>
            </a:p>
          </p:txBody>
        </p:sp>
      </p:grpSp>
    </p:spTree>
    <p:extLst>
      <p:ext uri="{BB962C8B-B14F-4D97-AF65-F5344CB8AC3E}">
        <p14:creationId xmlns:p14="http://schemas.microsoft.com/office/powerpoint/2010/main" val="3231286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64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6" name="slide number">
            <a:extLst>
              <a:ext uri="{FF2B5EF4-FFF2-40B4-BE49-F238E27FC236}">
                <a16:creationId xmlns:a16="http://schemas.microsoft.com/office/drawing/2014/main" id="{90B54C2D-8235-4852-8EB7-5E05529B2499}"/>
              </a:ext>
            </a:extLst>
          </p:cNvPr>
          <p:cNvSpPr>
            <a:spLocks noGrp="1"/>
          </p:cNvSpPr>
          <p:nvPr>
            <p:ph type="sldNum" sz="quarter" idx="12"/>
          </p:nvPr>
        </p:nvSpPr>
        <p:spPr bwMode="gray"/>
        <p:txBody>
          <a:bodyPr lIns="0" tIns="0" rIns="0" bIns="0"/>
          <a:lstStyle/>
          <a:p>
            <a:fld id="{9829449A-3FF3-45CE-9F4F-09BADC0910C6}" type="slidenum">
              <a:rPr lang="en-US" smtClean="0"/>
              <a:t>‹Nr.›</a:t>
            </a:fld>
            <a:endParaRPr lang="en-US"/>
          </a:p>
        </p:txBody>
      </p:sp>
      <p:sp>
        <p:nvSpPr>
          <p:cNvPr id="5" name="footer">
            <a:extLst>
              <a:ext uri="{FF2B5EF4-FFF2-40B4-BE49-F238E27FC236}">
                <a16:creationId xmlns:a16="http://schemas.microsoft.com/office/drawing/2014/main" id="{A4534FC4-D037-44B0-B266-D9E820FC1DF2}"/>
              </a:ext>
            </a:extLst>
          </p:cNvPr>
          <p:cNvSpPr>
            <a:spLocks noGrp="1"/>
          </p:cNvSpPr>
          <p:nvPr>
            <p:ph type="ftr" sz="quarter" idx="11"/>
          </p:nvPr>
        </p:nvSpPr>
        <p:spPr bwMode="gray"/>
        <p:txBody>
          <a:bodyPr lIns="0" tIns="0" rIns="0" bIns="0"/>
          <a:lstStyle/>
          <a:p>
            <a:endParaRPr lang="en-US"/>
          </a:p>
        </p:txBody>
      </p:sp>
    </p:spTree>
    <p:extLst>
      <p:ext uri="{BB962C8B-B14F-4D97-AF65-F5344CB8AC3E}">
        <p14:creationId xmlns:p14="http://schemas.microsoft.com/office/powerpoint/2010/main" val="1131094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pic>
        <p:nvPicPr>
          <p:cNvPr id="7" name="Bildplatzhalter 17" descr="Ein Bild, das Text, Karte, Strichzeichnung enthält.&#10;&#10;Automatisch generierte Beschreibung">
            <a:extLst>
              <a:ext uri="{FF2B5EF4-FFF2-40B4-BE49-F238E27FC236}">
                <a16:creationId xmlns:a16="http://schemas.microsoft.com/office/drawing/2014/main" id="{99EFF16E-7C50-4463-8C61-2A4369506DD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8672" r="12777"/>
          <a:stretch/>
        </p:blipFill>
        <p:spPr bwMode="gray">
          <a:xfrm>
            <a:off x="548031" y="1"/>
            <a:ext cx="11643970" cy="6858000"/>
          </a:xfrm>
          <a:prstGeom prst="rect">
            <a:avLst/>
          </a:prstGeom>
          <a:noFill/>
        </p:spPr>
      </p:pic>
      <p:sp>
        <p:nvSpPr>
          <p:cNvPr id="6" name="slide number">
            <a:extLst>
              <a:ext uri="{FF2B5EF4-FFF2-40B4-BE49-F238E27FC236}">
                <a16:creationId xmlns:a16="http://schemas.microsoft.com/office/drawing/2014/main" id="{90B54C2D-8235-4852-8EB7-5E05529B2499}"/>
              </a:ext>
            </a:extLst>
          </p:cNvPr>
          <p:cNvSpPr>
            <a:spLocks noGrp="1"/>
          </p:cNvSpPr>
          <p:nvPr>
            <p:ph type="sldNum" sz="quarter" idx="12"/>
          </p:nvPr>
        </p:nvSpPr>
        <p:spPr bwMode="gray"/>
        <p:txBody>
          <a:bodyPr lIns="0" tIns="0" rIns="0" bIns="0"/>
          <a:lstStyle/>
          <a:p>
            <a:fld id="{9829449A-3FF3-45CE-9F4F-09BADC0910C6}" type="slidenum">
              <a:rPr lang="en-US" smtClean="0"/>
              <a:t>‹Nr.›</a:t>
            </a:fld>
            <a:endParaRPr lang="en-US"/>
          </a:p>
        </p:txBody>
      </p:sp>
      <p:sp>
        <p:nvSpPr>
          <p:cNvPr id="5" name="footer">
            <a:extLst>
              <a:ext uri="{FF2B5EF4-FFF2-40B4-BE49-F238E27FC236}">
                <a16:creationId xmlns:a16="http://schemas.microsoft.com/office/drawing/2014/main" id="{A4534FC4-D037-44B0-B266-D9E820FC1DF2}"/>
              </a:ext>
            </a:extLst>
          </p:cNvPr>
          <p:cNvSpPr>
            <a:spLocks noGrp="1"/>
          </p:cNvSpPr>
          <p:nvPr>
            <p:ph type="ftr" sz="quarter" idx="11"/>
          </p:nvPr>
        </p:nvSpPr>
        <p:spPr bwMode="gray"/>
        <p:txBody>
          <a:bodyPr lIns="0" tIns="0" rIns="0" bIns="0"/>
          <a:lstStyle/>
          <a:p>
            <a:endParaRPr lang="en-US"/>
          </a:p>
        </p:txBody>
      </p:sp>
      <p:sp>
        <p:nvSpPr>
          <p:cNvPr id="4" name="Rechteck 3">
            <a:extLst>
              <a:ext uri="{FF2B5EF4-FFF2-40B4-BE49-F238E27FC236}">
                <a16:creationId xmlns:a16="http://schemas.microsoft.com/office/drawing/2014/main" id="{DF61C654-2D84-419C-896C-A5B76871CC3E}"/>
              </a:ext>
            </a:extLst>
          </p:cNvPr>
          <p:cNvSpPr/>
          <p:nvPr userDrawn="1"/>
        </p:nvSpPr>
        <p:spPr>
          <a:xfrm>
            <a:off x="0" y="0"/>
            <a:ext cx="12192000" cy="6858000"/>
          </a:xfrm>
          <a:prstGeom prst="rect">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400"/>
              </a:spcBef>
              <a:spcAft>
                <a:spcPts val="400"/>
              </a:spcAft>
            </a:pPr>
            <a:endParaRPr lang="de-DE" sz="1400" err="1"/>
          </a:p>
        </p:txBody>
      </p:sp>
      <p:sp>
        <p:nvSpPr>
          <p:cNvPr id="8" name="Freihandform: Form 7">
            <a:extLst>
              <a:ext uri="{FF2B5EF4-FFF2-40B4-BE49-F238E27FC236}">
                <a16:creationId xmlns:a16="http://schemas.microsoft.com/office/drawing/2014/main" id="{B1EBD72B-3698-4020-9DAE-1E7B6F1861FC}"/>
              </a:ext>
            </a:extLst>
          </p:cNvPr>
          <p:cNvSpPr/>
          <p:nvPr userDrawn="1"/>
        </p:nvSpPr>
        <p:spPr>
          <a:xfrm>
            <a:off x="10629901" y="6223371"/>
            <a:ext cx="1133474" cy="504000"/>
          </a:xfrm>
          <a:custGeom>
            <a:avLst/>
            <a:gdLst>
              <a:gd name="connsiteX0" fmla="*/ 0 w 972000"/>
              <a:gd name="connsiteY0" fmla="*/ 0 h 324000"/>
              <a:gd name="connsiteX1" fmla="*/ 868412 w 972000"/>
              <a:gd name="connsiteY1" fmla="*/ 0 h 324000"/>
              <a:gd name="connsiteX2" fmla="*/ 972000 w 972000"/>
              <a:gd name="connsiteY2" fmla="*/ 30994 h 324000"/>
              <a:gd name="connsiteX3" fmla="*/ 972000 w 972000"/>
              <a:gd name="connsiteY3" fmla="*/ 324000 h 324000"/>
              <a:gd name="connsiteX4" fmla="*/ 0 w 972000"/>
              <a:gd name="connsiteY4" fmla="*/ 324000 h 32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2000" h="324000">
                <a:moveTo>
                  <a:pt x="0" y="0"/>
                </a:moveTo>
                <a:lnTo>
                  <a:pt x="868412" y="0"/>
                </a:lnTo>
                <a:lnTo>
                  <a:pt x="972000" y="30994"/>
                </a:lnTo>
                <a:lnTo>
                  <a:pt x="972000" y="324000"/>
                </a:lnTo>
                <a:lnTo>
                  <a:pt x="0" y="324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noAutofit/>
          </a:bodyPr>
          <a:lstStyle/>
          <a:p>
            <a:pPr algn="ctr">
              <a:spcBef>
                <a:spcPts val="400"/>
              </a:spcBef>
              <a:spcAft>
                <a:spcPts val="400"/>
              </a:spcAft>
            </a:pPr>
            <a:endParaRPr lang="de-DE" sz="1400" err="1"/>
          </a:p>
        </p:txBody>
      </p:sp>
      <p:grpSp>
        <p:nvGrpSpPr>
          <p:cNvPr id="9" name="logo drees&amp;sommer blue">
            <a:extLst>
              <a:ext uri="{FF2B5EF4-FFF2-40B4-BE49-F238E27FC236}">
                <a16:creationId xmlns:a16="http://schemas.microsoft.com/office/drawing/2014/main" id="{E5C86A8E-8004-416B-A26E-206539924D00}"/>
              </a:ext>
            </a:extLst>
          </p:cNvPr>
          <p:cNvGrpSpPr>
            <a:grpSpLocks noChangeAspect="1"/>
          </p:cNvGrpSpPr>
          <p:nvPr userDrawn="1"/>
        </p:nvGrpSpPr>
        <p:grpSpPr bwMode="gray">
          <a:xfrm>
            <a:off x="10716797" y="6331911"/>
            <a:ext cx="948154" cy="286131"/>
            <a:chOff x="95247" y="1619247"/>
            <a:chExt cx="12004075" cy="3622552"/>
          </a:xfrm>
          <a:solidFill>
            <a:schemeClr val="tx2"/>
          </a:solidFill>
        </p:grpSpPr>
        <p:sp>
          <p:nvSpPr>
            <p:cNvPr id="10" name="d">
              <a:extLst>
                <a:ext uri="{FF2B5EF4-FFF2-40B4-BE49-F238E27FC236}">
                  <a16:creationId xmlns:a16="http://schemas.microsoft.com/office/drawing/2014/main" id="{36AAD179-7D65-4778-A4F4-4A3F36A24148}"/>
                </a:ext>
              </a:extLst>
            </p:cNvPr>
            <p:cNvSpPr/>
            <p:nvPr/>
          </p:nvSpPr>
          <p:spPr bwMode="gray">
            <a:xfrm>
              <a:off x="146585" y="1619247"/>
              <a:ext cx="1890145" cy="1555528"/>
            </a:xfrm>
            <a:custGeom>
              <a:avLst/>
              <a:gdLst>
                <a:gd name="connsiteX0" fmla="*/ 361760 w 1890141"/>
                <a:gd name="connsiteY0" fmla="*/ 1263206 h 1555527"/>
                <a:gd name="connsiteX1" fmla="*/ 361760 w 1890141"/>
                <a:gd name="connsiteY1" fmla="*/ 277368 h 1555527"/>
                <a:gd name="connsiteX2" fmla="*/ 1003840 w 1890141"/>
                <a:gd name="connsiteY2" fmla="*/ 277368 h 1555527"/>
                <a:gd name="connsiteX3" fmla="*/ 1516380 w 1890141"/>
                <a:gd name="connsiteY3" fmla="*/ 762762 h 1555527"/>
                <a:gd name="connsiteX4" fmla="*/ 828961 w 1890141"/>
                <a:gd name="connsiteY4" fmla="*/ 1263206 h 1555527"/>
                <a:gd name="connsiteX5" fmla="*/ 361760 w 1890141"/>
                <a:gd name="connsiteY5" fmla="*/ 1263206 h 1555527"/>
                <a:gd name="connsiteX6" fmla="*/ 0 w 1890141"/>
                <a:gd name="connsiteY6" fmla="*/ 1555528 h 1555527"/>
                <a:gd name="connsiteX7" fmla="*/ 907447 w 1890141"/>
                <a:gd name="connsiteY7" fmla="*/ 1555528 h 1555527"/>
                <a:gd name="connsiteX8" fmla="*/ 1546574 w 1890141"/>
                <a:gd name="connsiteY8" fmla="*/ 1435037 h 1555527"/>
                <a:gd name="connsiteX9" fmla="*/ 1890141 w 1890141"/>
                <a:gd name="connsiteY9" fmla="*/ 768763 h 1555527"/>
                <a:gd name="connsiteX10" fmla="*/ 1000792 w 1890141"/>
                <a:gd name="connsiteY10" fmla="*/ 0 h 1555527"/>
                <a:gd name="connsiteX11" fmla="*/ 0 w 1890141"/>
                <a:gd name="connsiteY11" fmla="*/ 0 h 1555527"/>
                <a:gd name="connsiteX12" fmla="*/ 0 w 1890141"/>
                <a:gd name="connsiteY12" fmla="*/ 1555528 h 155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90141" h="1555527">
                  <a:moveTo>
                    <a:pt x="361760" y="1263206"/>
                  </a:moveTo>
                  <a:lnTo>
                    <a:pt x="361760" y="277368"/>
                  </a:lnTo>
                  <a:lnTo>
                    <a:pt x="1003840" y="277368"/>
                  </a:lnTo>
                  <a:cubicBezTo>
                    <a:pt x="1344549" y="277368"/>
                    <a:pt x="1516380" y="446246"/>
                    <a:pt x="1516380" y="762762"/>
                  </a:cubicBezTo>
                  <a:cubicBezTo>
                    <a:pt x="1516380" y="1148620"/>
                    <a:pt x="1287209" y="1263206"/>
                    <a:pt x="828961" y="1263206"/>
                  </a:cubicBezTo>
                  <a:lnTo>
                    <a:pt x="361760" y="1263206"/>
                  </a:lnTo>
                  <a:close/>
                  <a:moveTo>
                    <a:pt x="0" y="1555528"/>
                  </a:moveTo>
                  <a:lnTo>
                    <a:pt x="907447" y="1555528"/>
                  </a:lnTo>
                  <a:cubicBezTo>
                    <a:pt x="1184624" y="1555528"/>
                    <a:pt x="1395698" y="1528382"/>
                    <a:pt x="1546574" y="1435037"/>
                  </a:cubicBezTo>
                  <a:cubicBezTo>
                    <a:pt x="1763649" y="1302353"/>
                    <a:pt x="1890141" y="1061180"/>
                    <a:pt x="1890141" y="768763"/>
                  </a:cubicBezTo>
                  <a:cubicBezTo>
                    <a:pt x="1890141" y="286417"/>
                    <a:pt x="1582769" y="0"/>
                    <a:pt x="1000792" y="0"/>
                  </a:cubicBezTo>
                  <a:lnTo>
                    <a:pt x="0" y="0"/>
                  </a:lnTo>
                  <a:lnTo>
                    <a:pt x="0" y="1555528"/>
                  </a:lnTo>
                  <a:close/>
                </a:path>
              </a:pathLst>
            </a:custGeom>
            <a:grpFill/>
            <a:ln w="9525" cap="flat">
              <a:noFill/>
              <a:prstDash val="solid"/>
              <a:miter/>
            </a:ln>
          </p:spPr>
          <p:txBody>
            <a:bodyPr lIns="0" tIns="0" rIns="0" bIns="0" rtlCol="0" anchor="ctr"/>
            <a:lstStyle/>
            <a:p>
              <a:endParaRPr lang="de-DE" sz="100"/>
            </a:p>
          </p:txBody>
        </p:sp>
        <p:sp>
          <p:nvSpPr>
            <p:cNvPr id="11" name="r">
              <a:extLst>
                <a:ext uri="{FF2B5EF4-FFF2-40B4-BE49-F238E27FC236}">
                  <a16:creationId xmlns:a16="http://schemas.microsoft.com/office/drawing/2014/main" id="{C3735631-722B-47CF-8676-996CF08D2711}"/>
                </a:ext>
              </a:extLst>
            </p:cNvPr>
            <p:cNvSpPr/>
            <p:nvPr/>
          </p:nvSpPr>
          <p:spPr bwMode="gray">
            <a:xfrm>
              <a:off x="2405150" y="1899664"/>
              <a:ext cx="1579811" cy="1275112"/>
            </a:xfrm>
            <a:custGeom>
              <a:avLst/>
              <a:gdLst>
                <a:gd name="connsiteX0" fmla="*/ 1015937 w 1579816"/>
                <a:gd name="connsiteY0" fmla="*/ 220028 h 1275111"/>
                <a:gd name="connsiteX1" fmla="*/ 1157668 w 1579816"/>
                <a:gd name="connsiteY1" fmla="*/ 322517 h 1275111"/>
                <a:gd name="connsiteX2" fmla="*/ 1157668 w 1579816"/>
                <a:gd name="connsiteY2" fmla="*/ 470249 h 1275111"/>
                <a:gd name="connsiteX3" fmla="*/ 1015937 w 1579816"/>
                <a:gd name="connsiteY3" fmla="*/ 572738 h 1275111"/>
                <a:gd name="connsiteX4" fmla="*/ 307467 w 1579816"/>
                <a:gd name="connsiteY4" fmla="*/ 572738 h 1275111"/>
                <a:gd name="connsiteX5" fmla="*/ 307467 w 1579816"/>
                <a:gd name="connsiteY5" fmla="*/ 220028 h 1275111"/>
                <a:gd name="connsiteX6" fmla="*/ 1015937 w 1579816"/>
                <a:gd name="connsiteY6" fmla="*/ 220028 h 1275111"/>
                <a:gd name="connsiteX7" fmla="*/ 0 w 1579816"/>
                <a:gd name="connsiteY7" fmla="*/ 1275112 h 1275111"/>
                <a:gd name="connsiteX8" fmla="*/ 307562 w 1579816"/>
                <a:gd name="connsiteY8" fmla="*/ 1275112 h 1275111"/>
                <a:gd name="connsiteX9" fmla="*/ 307562 w 1579816"/>
                <a:gd name="connsiteY9" fmla="*/ 792671 h 1275111"/>
                <a:gd name="connsiteX10" fmla="*/ 599980 w 1579816"/>
                <a:gd name="connsiteY10" fmla="*/ 792671 h 1275111"/>
                <a:gd name="connsiteX11" fmla="*/ 1133570 w 1579816"/>
                <a:gd name="connsiteY11" fmla="*/ 1275112 h 1275111"/>
                <a:gd name="connsiteX12" fmla="*/ 1579817 w 1579816"/>
                <a:gd name="connsiteY12" fmla="*/ 1275112 h 1275111"/>
                <a:gd name="connsiteX13" fmla="*/ 973741 w 1579816"/>
                <a:gd name="connsiteY13" fmla="*/ 792671 h 1275111"/>
                <a:gd name="connsiteX14" fmla="*/ 1148620 w 1579816"/>
                <a:gd name="connsiteY14" fmla="*/ 792671 h 1275111"/>
                <a:gd name="connsiteX15" fmla="*/ 1447133 w 1579816"/>
                <a:gd name="connsiteY15" fmla="*/ 548640 h 1275111"/>
                <a:gd name="connsiteX16" fmla="*/ 1447133 w 1579816"/>
                <a:gd name="connsiteY16" fmla="*/ 247174 h 1275111"/>
                <a:gd name="connsiteX17" fmla="*/ 1148620 w 1579816"/>
                <a:gd name="connsiteY17" fmla="*/ 0 h 1275111"/>
                <a:gd name="connsiteX18" fmla="*/ 0 w 1579816"/>
                <a:gd name="connsiteY18" fmla="*/ 0 h 1275111"/>
                <a:gd name="connsiteX19" fmla="*/ 0 w 1579816"/>
                <a:gd name="connsiteY19" fmla="*/ 1275112 h 127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79816" h="1275111">
                  <a:moveTo>
                    <a:pt x="1015937" y="220028"/>
                  </a:moveTo>
                  <a:cubicBezTo>
                    <a:pt x="1109282" y="220028"/>
                    <a:pt x="1157668" y="238220"/>
                    <a:pt x="1157668" y="322517"/>
                  </a:cubicBezTo>
                  <a:lnTo>
                    <a:pt x="1157668" y="470249"/>
                  </a:lnTo>
                  <a:cubicBezTo>
                    <a:pt x="1157668" y="554736"/>
                    <a:pt x="1109282" y="572738"/>
                    <a:pt x="1015937" y="572738"/>
                  </a:cubicBezTo>
                  <a:lnTo>
                    <a:pt x="307467" y="572738"/>
                  </a:lnTo>
                  <a:lnTo>
                    <a:pt x="307467" y="220028"/>
                  </a:lnTo>
                  <a:lnTo>
                    <a:pt x="1015937" y="220028"/>
                  </a:lnTo>
                  <a:close/>
                  <a:moveTo>
                    <a:pt x="0" y="1275112"/>
                  </a:moveTo>
                  <a:lnTo>
                    <a:pt x="307562" y="1275112"/>
                  </a:lnTo>
                  <a:lnTo>
                    <a:pt x="307562" y="792671"/>
                  </a:lnTo>
                  <a:lnTo>
                    <a:pt x="599980" y="792671"/>
                  </a:lnTo>
                  <a:lnTo>
                    <a:pt x="1133570" y="1275112"/>
                  </a:lnTo>
                  <a:lnTo>
                    <a:pt x="1579817" y="1275112"/>
                  </a:lnTo>
                  <a:lnTo>
                    <a:pt x="973741" y="792671"/>
                  </a:lnTo>
                  <a:lnTo>
                    <a:pt x="1148620" y="792671"/>
                  </a:lnTo>
                  <a:cubicBezTo>
                    <a:pt x="1353693" y="792671"/>
                    <a:pt x="1447133" y="723329"/>
                    <a:pt x="1447133" y="548640"/>
                  </a:cubicBezTo>
                  <a:lnTo>
                    <a:pt x="1447133" y="247174"/>
                  </a:lnTo>
                  <a:cubicBezTo>
                    <a:pt x="1447133" y="69342"/>
                    <a:pt x="1353598" y="0"/>
                    <a:pt x="1148620" y="0"/>
                  </a:cubicBezTo>
                  <a:lnTo>
                    <a:pt x="0" y="0"/>
                  </a:lnTo>
                  <a:lnTo>
                    <a:pt x="0" y="1275112"/>
                  </a:lnTo>
                  <a:close/>
                </a:path>
              </a:pathLst>
            </a:custGeom>
            <a:grpFill/>
            <a:ln w="9525" cap="flat">
              <a:noFill/>
              <a:prstDash val="solid"/>
              <a:miter/>
            </a:ln>
          </p:spPr>
          <p:txBody>
            <a:bodyPr lIns="0" tIns="0" rIns="0" bIns="0" rtlCol="0" anchor="ctr"/>
            <a:lstStyle/>
            <a:p>
              <a:endParaRPr lang="de-DE" sz="100"/>
            </a:p>
          </p:txBody>
        </p:sp>
        <p:sp>
          <p:nvSpPr>
            <p:cNvPr id="12" name="e">
              <a:extLst>
                <a:ext uri="{FF2B5EF4-FFF2-40B4-BE49-F238E27FC236}">
                  <a16:creationId xmlns:a16="http://schemas.microsoft.com/office/drawing/2014/main" id="{4FF6F8B6-98CA-454A-AB60-DC706C24CA49}"/>
                </a:ext>
              </a:extLst>
            </p:cNvPr>
            <p:cNvSpPr/>
            <p:nvPr/>
          </p:nvSpPr>
          <p:spPr bwMode="gray">
            <a:xfrm>
              <a:off x="4279102" y="1899664"/>
              <a:ext cx="1383701" cy="1275112"/>
            </a:xfrm>
            <a:custGeom>
              <a:avLst/>
              <a:gdLst>
                <a:gd name="connsiteX0" fmla="*/ 0 w 1383696"/>
                <a:gd name="connsiteY0" fmla="*/ 1275112 h 1275111"/>
                <a:gd name="connsiteX1" fmla="*/ 1383697 w 1383696"/>
                <a:gd name="connsiteY1" fmla="*/ 1275112 h 1275111"/>
                <a:gd name="connsiteX2" fmla="*/ 1383697 w 1383696"/>
                <a:gd name="connsiteY2" fmla="*/ 1036987 h 1275111"/>
                <a:gd name="connsiteX3" fmla="*/ 313563 w 1383696"/>
                <a:gd name="connsiteY3" fmla="*/ 1036987 h 1275111"/>
                <a:gd name="connsiteX4" fmla="*/ 313563 w 1383696"/>
                <a:gd name="connsiteY4" fmla="*/ 723424 h 1275111"/>
                <a:gd name="connsiteX5" fmla="*/ 928497 w 1383696"/>
                <a:gd name="connsiteY5" fmla="*/ 723424 h 1275111"/>
                <a:gd name="connsiteX6" fmla="*/ 928497 w 1383696"/>
                <a:gd name="connsiteY6" fmla="*/ 503396 h 1275111"/>
                <a:gd name="connsiteX7" fmla="*/ 313563 w 1383696"/>
                <a:gd name="connsiteY7" fmla="*/ 503396 h 1275111"/>
                <a:gd name="connsiteX8" fmla="*/ 313563 w 1383696"/>
                <a:gd name="connsiteY8" fmla="*/ 226028 h 1275111"/>
                <a:gd name="connsiteX9" fmla="*/ 1368743 w 1383696"/>
                <a:gd name="connsiteY9" fmla="*/ 226028 h 1275111"/>
                <a:gd name="connsiteX10" fmla="*/ 1368743 w 1383696"/>
                <a:gd name="connsiteY10" fmla="*/ 0 h 1275111"/>
                <a:gd name="connsiteX11" fmla="*/ 0 w 1383696"/>
                <a:gd name="connsiteY11" fmla="*/ 0 h 127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3696" h="1275111">
                  <a:moveTo>
                    <a:pt x="0" y="1275112"/>
                  </a:moveTo>
                  <a:lnTo>
                    <a:pt x="1383697" y="1275112"/>
                  </a:lnTo>
                  <a:lnTo>
                    <a:pt x="1383697" y="1036987"/>
                  </a:lnTo>
                  <a:lnTo>
                    <a:pt x="313563" y="1036987"/>
                  </a:lnTo>
                  <a:lnTo>
                    <a:pt x="313563" y="723424"/>
                  </a:lnTo>
                  <a:lnTo>
                    <a:pt x="928497" y="723424"/>
                  </a:lnTo>
                  <a:lnTo>
                    <a:pt x="928497" y="503396"/>
                  </a:lnTo>
                  <a:lnTo>
                    <a:pt x="313563" y="503396"/>
                  </a:lnTo>
                  <a:lnTo>
                    <a:pt x="313563" y="226028"/>
                  </a:lnTo>
                  <a:lnTo>
                    <a:pt x="1368743" y="226028"/>
                  </a:lnTo>
                  <a:lnTo>
                    <a:pt x="1368743" y="0"/>
                  </a:lnTo>
                  <a:lnTo>
                    <a:pt x="0" y="0"/>
                  </a:lnTo>
                  <a:close/>
                </a:path>
              </a:pathLst>
            </a:custGeom>
            <a:grpFill/>
            <a:ln w="9525" cap="flat">
              <a:noFill/>
              <a:prstDash val="solid"/>
              <a:miter/>
            </a:ln>
          </p:spPr>
          <p:txBody>
            <a:bodyPr lIns="0" tIns="0" rIns="0" bIns="0" rtlCol="0" anchor="ctr"/>
            <a:lstStyle/>
            <a:p>
              <a:endParaRPr lang="de-DE" sz="100"/>
            </a:p>
          </p:txBody>
        </p:sp>
        <p:sp>
          <p:nvSpPr>
            <p:cNvPr id="13" name="e">
              <a:extLst>
                <a:ext uri="{FF2B5EF4-FFF2-40B4-BE49-F238E27FC236}">
                  <a16:creationId xmlns:a16="http://schemas.microsoft.com/office/drawing/2014/main" id="{83324C11-2300-4E6E-A330-C7B6CC37FBC2}"/>
                </a:ext>
              </a:extLst>
            </p:cNvPr>
            <p:cNvSpPr/>
            <p:nvPr/>
          </p:nvSpPr>
          <p:spPr bwMode="gray">
            <a:xfrm>
              <a:off x="6022562" y="1899664"/>
              <a:ext cx="1383701" cy="1275112"/>
            </a:xfrm>
            <a:custGeom>
              <a:avLst/>
              <a:gdLst>
                <a:gd name="connsiteX0" fmla="*/ 0 w 1383696"/>
                <a:gd name="connsiteY0" fmla="*/ 1275112 h 1275111"/>
                <a:gd name="connsiteX1" fmla="*/ 1383697 w 1383696"/>
                <a:gd name="connsiteY1" fmla="*/ 1275112 h 1275111"/>
                <a:gd name="connsiteX2" fmla="*/ 1383697 w 1383696"/>
                <a:gd name="connsiteY2" fmla="*/ 1036987 h 1275111"/>
                <a:gd name="connsiteX3" fmla="*/ 313563 w 1383696"/>
                <a:gd name="connsiteY3" fmla="*/ 1036987 h 1275111"/>
                <a:gd name="connsiteX4" fmla="*/ 313563 w 1383696"/>
                <a:gd name="connsiteY4" fmla="*/ 723424 h 1275111"/>
                <a:gd name="connsiteX5" fmla="*/ 928497 w 1383696"/>
                <a:gd name="connsiteY5" fmla="*/ 723424 h 1275111"/>
                <a:gd name="connsiteX6" fmla="*/ 928497 w 1383696"/>
                <a:gd name="connsiteY6" fmla="*/ 503396 h 1275111"/>
                <a:gd name="connsiteX7" fmla="*/ 313563 w 1383696"/>
                <a:gd name="connsiteY7" fmla="*/ 503396 h 1275111"/>
                <a:gd name="connsiteX8" fmla="*/ 313563 w 1383696"/>
                <a:gd name="connsiteY8" fmla="*/ 226028 h 1275111"/>
                <a:gd name="connsiteX9" fmla="*/ 1368743 w 1383696"/>
                <a:gd name="connsiteY9" fmla="*/ 226028 h 1275111"/>
                <a:gd name="connsiteX10" fmla="*/ 1368743 w 1383696"/>
                <a:gd name="connsiteY10" fmla="*/ 0 h 1275111"/>
                <a:gd name="connsiteX11" fmla="*/ 0 w 1383696"/>
                <a:gd name="connsiteY11" fmla="*/ 0 h 127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3696" h="1275111">
                  <a:moveTo>
                    <a:pt x="0" y="1275112"/>
                  </a:moveTo>
                  <a:lnTo>
                    <a:pt x="1383697" y="1275112"/>
                  </a:lnTo>
                  <a:lnTo>
                    <a:pt x="1383697" y="1036987"/>
                  </a:lnTo>
                  <a:lnTo>
                    <a:pt x="313563" y="1036987"/>
                  </a:lnTo>
                  <a:lnTo>
                    <a:pt x="313563" y="723424"/>
                  </a:lnTo>
                  <a:lnTo>
                    <a:pt x="928497" y="723424"/>
                  </a:lnTo>
                  <a:lnTo>
                    <a:pt x="928497" y="503396"/>
                  </a:lnTo>
                  <a:lnTo>
                    <a:pt x="313563" y="503396"/>
                  </a:lnTo>
                  <a:lnTo>
                    <a:pt x="313563" y="226028"/>
                  </a:lnTo>
                  <a:lnTo>
                    <a:pt x="1368743" y="226028"/>
                  </a:lnTo>
                  <a:lnTo>
                    <a:pt x="1368743" y="0"/>
                  </a:lnTo>
                  <a:lnTo>
                    <a:pt x="0" y="0"/>
                  </a:lnTo>
                  <a:close/>
                </a:path>
              </a:pathLst>
            </a:custGeom>
            <a:grpFill/>
            <a:ln w="9525" cap="flat">
              <a:noFill/>
              <a:prstDash val="solid"/>
              <a:miter/>
            </a:ln>
          </p:spPr>
          <p:txBody>
            <a:bodyPr lIns="0" tIns="0" rIns="0" bIns="0" rtlCol="0" anchor="ctr"/>
            <a:lstStyle/>
            <a:p>
              <a:endParaRPr lang="de-DE" sz="100"/>
            </a:p>
          </p:txBody>
        </p:sp>
        <p:sp>
          <p:nvSpPr>
            <p:cNvPr id="14" name="s">
              <a:extLst>
                <a:ext uri="{FF2B5EF4-FFF2-40B4-BE49-F238E27FC236}">
                  <a16:creationId xmlns:a16="http://schemas.microsoft.com/office/drawing/2014/main" id="{74248B2F-AA25-405D-961A-BC351D2D496B}"/>
                </a:ext>
              </a:extLst>
            </p:cNvPr>
            <p:cNvSpPr/>
            <p:nvPr/>
          </p:nvSpPr>
          <p:spPr bwMode="gray">
            <a:xfrm>
              <a:off x="7714204" y="1899664"/>
              <a:ext cx="1495239" cy="1275213"/>
            </a:xfrm>
            <a:custGeom>
              <a:avLst/>
              <a:gdLst>
                <a:gd name="connsiteX0" fmla="*/ 1211770 w 1495234"/>
                <a:gd name="connsiteY0" fmla="*/ 229076 h 1275207"/>
                <a:gd name="connsiteX1" fmla="*/ 1211770 w 1495234"/>
                <a:gd name="connsiteY1" fmla="*/ 348234 h 1275207"/>
                <a:gd name="connsiteX2" fmla="*/ 1479995 w 1495234"/>
                <a:gd name="connsiteY2" fmla="*/ 291084 h 1275207"/>
                <a:gd name="connsiteX3" fmla="*/ 1479995 w 1495234"/>
                <a:gd name="connsiteY3" fmla="*/ 277368 h 1275207"/>
                <a:gd name="connsiteX4" fmla="*/ 1145477 w 1495234"/>
                <a:gd name="connsiteY4" fmla="*/ 0 h 1275207"/>
                <a:gd name="connsiteX5" fmla="*/ 388905 w 1495234"/>
                <a:gd name="connsiteY5" fmla="*/ 0 h 1275207"/>
                <a:gd name="connsiteX6" fmla="*/ 54197 w 1495234"/>
                <a:gd name="connsiteY6" fmla="*/ 301561 h 1275207"/>
                <a:gd name="connsiteX7" fmla="*/ 54197 w 1495234"/>
                <a:gd name="connsiteY7" fmla="*/ 443294 h 1275207"/>
                <a:gd name="connsiteX8" fmla="*/ 388905 w 1495234"/>
                <a:gd name="connsiteY8" fmla="*/ 744665 h 1275207"/>
                <a:gd name="connsiteX9" fmla="*/ 1214818 w 1495234"/>
                <a:gd name="connsiteY9" fmla="*/ 744665 h 1275207"/>
                <a:gd name="connsiteX10" fmla="*/ 1214818 w 1495234"/>
                <a:gd name="connsiteY10" fmla="*/ 1037177 h 1275207"/>
                <a:gd name="connsiteX11" fmla="*/ 277177 w 1495234"/>
                <a:gd name="connsiteY11" fmla="*/ 1037177 h 1275207"/>
                <a:gd name="connsiteX12" fmla="*/ 277177 w 1495234"/>
                <a:gd name="connsiteY12" fmla="*/ 902875 h 1275207"/>
                <a:gd name="connsiteX13" fmla="*/ 0 w 1495234"/>
                <a:gd name="connsiteY13" fmla="*/ 954214 h 1275207"/>
                <a:gd name="connsiteX14" fmla="*/ 0 w 1495234"/>
                <a:gd name="connsiteY14" fmla="*/ 973836 h 1275207"/>
                <a:gd name="connsiteX15" fmla="*/ 334518 w 1495234"/>
                <a:gd name="connsiteY15" fmla="*/ 1275207 h 1275207"/>
                <a:gd name="connsiteX16" fmla="*/ 1163669 w 1495234"/>
                <a:gd name="connsiteY16" fmla="*/ 1275207 h 1275207"/>
                <a:gd name="connsiteX17" fmla="*/ 1495234 w 1495234"/>
                <a:gd name="connsiteY17" fmla="*/ 973836 h 1275207"/>
                <a:gd name="connsiteX18" fmla="*/ 1495234 w 1495234"/>
                <a:gd name="connsiteY18" fmla="*/ 798957 h 1275207"/>
                <a:gd name="connsiteX19" fmla="*/ 1163669 w 1495234"/>
                <a:gd name="connsiteY19" fmla="*/ 497586 h 1275207"/>
                <a:gd name="connsiteX20" fmla="*/ 334518 w 1495234"/>
                <a:gd name="connsiteY20" fmla="*/ 497586 h 1275207"/>
                <a:gd name="connsiteX21" fmla="*/ 334518 w 1495234"/>
                <a:gd name="connsiteY21" fmla="*/ 229076 h 1275207"/>
                <a:gd name="connsiteX22" fmla="*/ 1211770 w 1495234"/>
                <a:gd name="connsiteY22" fmla="*/ 229076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95234" h="1275207">
                  <a:moveTo>
                    <a:pt x="1211770" y="229076"/>
                  </a:moveTo>
                  <a:lnTo>
                    <a:pt x="1211770" y="348234"/>
                  </a:lnTo>
                  <a:lnTo>
                    <a:pt x="1479995" y="291084"/>
                  </a:lnTo>
                  <a:lnTo>
                    <a:pt x="1479995" y="277368"/>
                  </a:lnTo>
                  <a:cubicBezTo>
                    <a:pt x="1479995" y="54388"/>
                    <a:pt x="1380649" y="0"/>
                    <a:pt x="1145477" y="0"/>
                  </a:cubicBezTo>
                  <a:lnTo>
                    <a:pt x="388905" y="0"/>
                  </a:lnTo>
                  <a:cubicBezTo>
                    <a:pt x="138684" y="0"/>
                    <a:pt x="54197" y="60388"/>
                    <a:pt x="54197" y="301561"/>
                  </a:cubicBezTo>
                  <a:lnTo>
                    <a:pt x="54197" y="443294"/>
                  </a:lnTo>
                  <a:cubicBezTo>
                    <a:pt x="54197" y="684467"/>
                    <a:pt x="138684" y="744665"/>
                    <a:pt x="388905" y="744665"/>
                  </a:cubicBezTo>
                  <a:lnTo>
                    <a:pt x="1214818" y="744665"/>
                  </a:lnTo>
                  <a:lnTo>
                    <a:pt x="1214818" y="1037177"/>
                  </a:lnTo>
                  <a:lnTo>
                    <a:pt x="277177" y="1037177"/>
                  </a:lnTo>
                  <a:lnTo>
                    <a:pt x="277177" y="902875"/>
                  </a:lnTo>
                  <a:lnTo>
                    <a:pt x="0" y="954214"/>
                  </a:lnTo>
                  <a:lnTo>
                    <a:pt x="0" y="973836"/>
                  </a:lnTo>
                  <a:cubicBezTo>
                    <a:pt x="0" y="1212056"/>
                    <a:pt x="81343" y="1275207"/>
                    <a:pt x="334518" y="1275207"/>
                  </a:cubicBezTo>
                  <a:lnTo>
                    <a:pt x="1163669" y="1275207"/>
                  </a:lnTo>
                  <a:cubicBezTo>
                    <a:pt x="1416844" y="1275207"/>
                    <a:pt x="1495234" y="1212056"/>
                    <a:pt x="1495234" y="973836"/>
                  </a:cubicBezTo>
                  <a:lnTo>
                    <a:pt x="1495234" y="798957"/>
                  </a:lnTo>
                  <a:cubicBezTo>
                    <a:pt x="1495234" y="557784"/>
                    <a:pt x="1416939" y="497586"/>
                    <a:pt x="1163669" y="497586"/>
                  </a:cubicBezTo>
                  <a:lnTo>
                    <a:pt x="334518" y="497586"/>
                  </a:lnTo>
                  <a:lnTo>
                    <a:pt x="334518" y="229076"/>
                  </a:lnTo>
                  <a:lnTo>
                    <a:pt x="1211770" y="229076"/>
                  </a:lnTo>
                  <a:close/>
                </a:path>
              </a:pathLst>
            </a:custGeom>
            <a:grpFill/>
            <a:ln w="9525" cap="flat">
              <a:noFill/>
              <a:prstDash val="solid"/>
              <a:miter/>
            </a:ln>
          </p:spPr>
          <p:txBody>
            <a:bodyPr lIns="0" tIns="0" rIns="0" bIns="0" rtlCol="0" anchor="ctr"/>
            <a:lstStyle/>
            <a:p>
              <a:endParaRPr lang="de-DE" sz="100"/>
            </a:p>
          </p:txBody>
        </p:sp>
        <p:sp>
          <p:nvSpPr>
            <p:cNvPr id="15" name="&amp;">
              <a:extLst>
                <a:ext uri="{FF2B5EF4-FFF2-40B4-BE49-F238E27FC236}">
                  <a16:creationId xmlns:a16="http://schemas.microsoft.com/office/drawing/2014/main" id="{1A4BE789-F3C6-4C7F-A282-B637C0866FF8}"/>
                </a:ext>
              </a:extLst>
            </p:cNvPr>
            <p:cNvSpPr/>
            <p:nvPr/>
          </p:nvSpPr>
          <p:spPr bwMode="gray">
            <a:xfrm>
              <a:off x="9995063" y="1619247"/>
              <a:ext cx="2104259" cy="1555528"/>
            </a:xfrm>
            <a:custGeom>
              <a:avLst/>
              <a:gdLst>
                <a:gd name="connsiteX0" fmla="*/ 304514 w 2104263"/>
                <a:gd name="connsiteY0" fmla="*/ 1284161 h 1555527"/>
                <a:gd name="connsiteX1" fmla="*/ 304514 w 2104263"/>
                <a:gd name="connsiteY1" fmla="*/ 1018985 h 1555527"/>
                <a:gd name="connsiteX2" fmla="*/ 702373 w 2104263"/>
                <a:gd name="connsiteY2" fmla="*/ 771811 h 1555527"/>
                <a:gd name="connsiteX3" fmla="*/ 1169575 w 2104263"/>
                <a:gd name="connsiteY3" fmla="*/ 1160717 h 1555527"/>
                <a:gd name="connsiteX4" fmla="*/ 1024890 w 2104263"/>
                <a:gd name="connsiteY4" fmla="*/ 1284256 h 1555527"/>
                <a:gd name="connsiteX5" fmla="*/ 304514 w 2104263"/>
                <a:gd name="connsiteY5" fmla="*/ 1284256 h 1555527"/>
                <a:gd name="connsiteX6" fmla="*/ 388811 w 2104263"/>
                <a:gd name="connsiteY6" fmla="*/ 1555528 h 1555527"/>
                <a:gd name="connsiteX7" fmla="*/ 943547 w 2104263"/>
                <a:gd name="connsiteY7" fmla="*/ 1555528 h 1555527"/>
                <a:gd name="connsiteX8" fmla="*/ 1235964 w 2104263"/>
                <a:gd name="connsiteY8" fmla="*/ 1461992 h 1555527"/>
                <a:gd name="connsiteX9" fmla="*/ 1374649 w 2104263"/>
                <a:gd name="connsiteY9" fmla="*/ 1338453 h 1555527"/>
                <a:gd name="connsiteX10" fmla="*/ 1630870 w 2104263"/>
                <a:gd name="connsiteY10" fmla="*/ 1555528 h 1555527"/>
                <a:gd name="connsiteX11" fmla="*/ 2104264 w 2104263"/>
                <a:gd name="connsiteY11" fmla="*/ 1555528 h 1555527"/>
                <a:gd name="connsiteX12" fmla="*/ 1612869 w 2104263"/>
                <a:gd name="connsiteY12" fmla="*/ 1142429 h 1555527"/>
                <a:gd name="connsiteX13" fmla="*/ 1971580 w 2104263"/>
                <a:gd name="connsiteY13" fmla="*/ 844106 h 1555527"/>
                <a:gd name="connsiteX14" fmla="*/ 1766507 w 2104263"/>
                <a:gd name="connsiteY14" fmla="*/ 666274 h 1555527"/>
                <a:gd name="connsiteX15" fmla="*/ 1404747 w 2104263"/>
                <a:gd name="connsiteY15" fmla="*/ 967645 h 1555527"/>
                <a:gd name="connsiteX16" fmla="*/ 672180 w 2104263"/>
                <a:gd name="connsiteY16" fmla="*/ 358712 h 1555527"/>
                <a:gd name="connsiteX17" fmla="*/ 672180 w 2104263"/>
                <a:gd name="connsiteY17" fmla="*/ 247174 h 1555527"/>
                <a:gd name="connsiteX18" fmla="*/ 1181767 w 2104263"/>
                <a:gd name="connsiteY18" fmla="*/ 247174 h 1555527"/>
                <a:gd name="connsiteX19" fmla="*/ 1181767 w 2104263"/>
                <a:gd name="connsiteY19" fmla="*/ 455295 h 1555527"/>
                <a:gd name="connsiteX20" fmla="*/ 1461992 w 2104263"/>
                <a:gd name="connsiteY20" fmla="*/ 407099 h 1555527"/>
                <a:gd name="connsiteX21" fmla="*/ 1461992 w 2104263"/>
                <a:gd name="connsiteY21" fmla="*/ 313563 h 1555527"/>
                <a:gd name="connsiteX22" fmla="*/ 1076134 w 2104263"/>
                <a:gd name="connsiteY22" fmla="*/ 0 h 1555527"/>
                <a:gd name="connsiteX23" fmla="*/ 762763 w 2104263"/>
                <a:gd name="connsiteY23" fmla="*/ 0 h 1555527"/>
                <a:gd name="connsiteX24" fmla="*/ 376905 w 2104263"/>
                <a:gd name="connsiteY24" fmla="*/ 283369 h 1555527"/>
                <a:gd name="connsiteX25" fmla="*/ 376905 w 2104263"/>
                <a:gd name="connsiteY25" fmla="*/ 370713 h 1555527"/>
                <a:gd name="connsiteX26" fmla="*/ 509588 w 2104263"/>
                <a:gd name="connsiteY26" fmla="*/ 605885 h 1555527"/>
                <a:gd name="connsiteX27" fmla="*/ 192881 w 2104263"/>
                <a:gd name="connsiteY27" fmla="*/ 795909 h 1555527"/>
                <a:gd name="connsiteX28" fmla="*/ 0 w 2104263"/>
                <a:gd name="connsiteY28" fmla="*/ 1085279 h 1555527"/>
                <a:gd name="connsiteX29" fmla="*/ 0 w 2104263"/>
                <a:gd name="connsiteY29" fmla="*/ 1187768 h 1555527"/>
                <a:gd name="connsiteX30" fmla="*/ 388811 w 2104263"/>
                <a:gd name="connsiteY30" fmla="*/ 1555528 h 155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104263" h="1555527">
                  <a:moveTo>
                    <a:pt x="304514" y="1284161"/>
                  </a:moveTo>
                  <a:lnTo>
                    <a:pt x="304514" y="1018985"/>
                  </a:lnTo>
                  <a:lnTo>
                    <a:pt x="702373" y="771811"/>
                  </a:lnTo>
                  <a:lnTo>
                    <a:pt x="1169575" y="1160717"/>
                  </a:lnTo>
                  <a:lnTo>
                    <a:pt x="1024890" y="1284256"/>
                  </a:lnTo>
                  <a:lnTo>
                    <a:pt x="304514" y="1284256"/>
                  </a:lnTo>
                  <a:close/>
                  <a:moveTo>
                    <a:pt x="388811" y="1555528"/>
                  </a:moveTo>
                  <a:lnTo>
                    <a:pt x="943547" y="1555528"/>
                  </a:lnTo>
                  <a:cubicBezTo>
                    <a:pt x="1073087" y="1555528"/>
                    <a:pt x="1136428" y="1549527"/>
                    <a:pt x="1235964" y="1461992"/>
                  </a:cubicBezTo>
                  <a:lnTo>
                    <a:pt x="1374649" y="1338453"/>
                  </a:lnTo>
                  <a:lnTo>
                    <a:pt x="1630870" y="1555528"/>
                  </a:lnTo>
                  <a:lnTo>
                    <a:pt x="2104264" y="1555528"/>
                  </a:lnTo>
                  <a:lnTo>
                    <a:pt x="1612869" y="1142429"/>
                  </a:lnTo>
                  <a:lnTo>
                    <a:pt x="1971580" y="844106"/>
                  </a:lnTo>
                  <a:lnTo>
                    <a:pt x="1766507" y="666274"/>
                  </a:lnTo>
                  <a:lnTo>
                    <a:pt x="1404747" y="967645"/>
                  </a:lnTo>
                  <a:lnTo>
                    <a:pt x="672180" y="358712"/>
                  </a:lnTo>
                  <a:lnTo>
                    <a:pt x="672180" y="247174"/>
                  </a:lnTo>
                  <a:lnTo>
                    <a:pt x="1181767" y="247174"/>
                  </a:lnTo>
                  <a:lnTo>
                    <a:pt x="1181767" y="455295"/>
                  </a:lnTo>
                  <a:lnTo>
                    <a:pt x="1461992" y="407099"/>
                  </a:lnTo>
                  <a:lnTo>
                    <a:pt x="1461992" y="313563"/>
                  </a:lnTo>
                  <a:cubicBezTo>
                    <a:pt x="1461992" y="60389"/>
                    <a:pt x="1356456" y="0"/>
                    <a:pt x="1076134" y="0"/>
                  </a:cubicBezTo>
                  <a:lnTo>
                    <a:pt x="762763" y="0"/>
                  </a:lnTo>
                  <a:cubicBezTo>
                    <a:pt x="497395" y="0"/>
                    <a:pt x="376905" y="60389"/>
                    <a:pt x="376905" y="283369"/>
                  </a:cubicBezTo>
                  <a:lnTo>
                    <a:pt x="376905" y="370713"/>
                  </a:lnTo>
                  <a:cubicBezTo>
                    <a:pt x="376905" y="461200"/>
                    <a:pt x="419100" y="530543"/>
                    <a:pt x="509588" y="605885"/>
                  </a:cubicBezTo>
                  <a:lnTo>
                    <a:pt x="192881" y="795909"/>
                  </a:lnTo>
                  <a:cubicBezTo>
                    <a:pt x="57341" y="877253"/>
                    <a:pt x="0" y="925449"/>
                    <a:pt x="0" y="1085279"/>
                  </a:cubicBezTo>
                  <a:lnTo>
                    <a:pt x="0" y="1187768"/>
                  </a:lnTo>
                  <a:cubicBezTo>
                    <a:pt x="0" y="1480185"/>
                    <a:pt x="96488" y="1555528"/>
                    <a:pt x="388811" y="1555528"/>
                  </a:cubicBezTo>
                </a:path>
              </a:pathLst>
            </a:custGeom>
            <a:grpFill/>
            <a:ln w="9525" cap="flat">
              <a:noFill/>
              <a:prstDash val="solid"/>
              <a:miter/>
            </a:ln>
          </p:spPr>
          <p:txBody>
            <a:bodyPr lIns="0" tIns="0" rIns="0" bIns="0" rtlCol="0" anchor="ctr"/>
            <a:lstStyle/>
            <a:p>
              <a:endParaRPr lang="de-DE" sz="100"/>
            </a:p>
          </p:txBody>
        </p:sp>
        <p:sp>
          <p:nvSpPr>
            <p:cNvPr id="16" name="s">
              <a:extLst>
                <a:ext uri="{FF2B5EF4-FFF2-40B4-BE49-F238E27FC236}">
                  <a16:creationId xmlns:a16="http://schemas.microsoft.com/office/drawing/2014/main" id="{FE9DE995-294B-468B-85B7-BDDD78DBED48}"/>
                </a:ext>
              </a:extLst>
            </p:cNvPr>
            <p:cNvSpPr/>
            <p:nvPr/>
          </p:nvSpPr>
          <p:spPr bwMode="gray">
            <a:xfrm>
              <a:off x="95247" y="3686081"/>
              <a:ext cx="1739650" cy="1555528"/>
            </a:xfrm>
            <a:custGeom>
              <a:avLst/>
              <a:gdLst>
                <a:gd name="connsiteX0" fmla="*/ 1398842 w 1739645"/>
                <a:gd name="connsiteY0" fmla="*/ 271367 h 1555527"/>
                <a:gd name="connsiteX1" fmla="*/ 1398842 w 1739645"/>
                <a:gd name="connsiteY1" fmla="*/ 439865 h 1555527"/>
                <a:gd name="connsiteX2" fmla="*/ 1718405 w 1739645"/>
                <a:gd name="connsiteY2" fmla="*/ 364522 h 1555527"/>
                <a:gd name="connsiteX3" fmla="*/ 1718405 w 1739645"/>
                <a:gd name="connsiteY3" fmla="*/ 340709 h 1555527"/>
                <a:gd name="connsiteX4" fmla="*/ 1332548 w 1739645"/>
                <a:gd name="connsiteY4" fmla="*/ 0 h 1555527"/>
                <a:gd name="connsiteX5" fmla="*/ 449199 w 1739645"/>
                <a:gd name="connsiteY5" fmla="*/ 0 h 1555527"/>
                <a:gd name="connsiteX6" fmla="*/ 63341 w 1739645"/>
                <a:gd name="connsiteY6" fmla="*/ 367855 h 1555527"/>
                <a:gd name="connsiteX7" fmla="*/ 63341 w 1739645"/>
                <a:gd name="connsiteY7" fmla="*/ 539496 h 1555527"/>
                <a:gd name="connsiteX8" fmla="*/ 449199 w 1739645"/>
                <a:gd name="connsiteY8" fmla="*/ 907351 h 1555527"/>
                <a:gd name="connsiteX9" fmla="*/ 1419987 w 1739645"/>
                <a:gd name="connsiteY9" fmla="*/ 907351 h 1555527"/>
                <a:gd name="connsiteX10" fmla="*/ 1419987 w 1739645"/>
                <a:gd name="connsiteY10" fmla="*/ 1263110 h 1555527"/>
                <a:gd name="connsiteX11" fmla="*/ 319754 w 1739645"/>
                <a:gd name="connsiteY11" fmla="*/ 1263110 h 1555527"/>
                <a:gd name="connsiteX12" fmla="*/ 319754 w 1739645"/>
                <a:gd name="connsiteY12" fmla="*/ 1095661 h 1555527"/>
                <a:gd name="connsiteX13" fmla="*/ 0 w 1739645"/>
                <a:gd name="connsiteY13" fmla="*/ 1162050 h 1555527"/>
                <a:gd name="connsiteX14" fmla="*/ 0 w 1739645"/>
                <a:gd name="connsiteY14" fmla="*/ 1187768 h 1555527"/>
                <a:gd name="connsiteX15" fmla="*/ 388906 w 1739645"/>
                <a:gd name="connsiteY15" fmla="*/ 1555528 h 1555527"/>
                <a:gd name="connsiteX16" fmla="*/ 1350740 w 1739645"/>
                <a:gd name="connsiteY16" fmla="*/ 1555528 h 1555527"/>
                <a:gd name="connsiteX17" fmla="*/ 1739646 w 1739645"/>
                <a:gd name="connsiteY17" fmla="*/ 1187768 h 1555527"/>
                <a:gd name="connsiteX18" fmla="*/ 1739646 w 1739645"/>
                <a:gd name="connsiteY18" fmla="*/ 973741 h 1555527"/>
                <a:gd name="connsiteX19" fmla="*/ 1350740 w 1739645"/>
                <a:gd name="connsiteY19" fmla="*/ 605885 h 1555527"/>
                <a:gd name="connsiteX20" fmla="*/ 379857 w 1739645"/>
                <a:gd name="connsiteY20" fmla="*/ 605885 h 1555527"/>
                <a:gd name="connsiteX21" fmla="*/ 379857 w 1739645"/>
                <a:gd name="connsiteY21" fmla="*/ 271367 h 1555527"/>
                <a:gd name="connsiteX22" fmla="*/ 1398842 w 1739645"/>
                <a:gd name="connsiteY22" fmla="*/ 271367 h 155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39645" h="1555527">
                  <a:moveTo>
                    <a:pt x="1398842" y="271367"/>
                  </a:moveTo>
                  <a:lnTo>
                    <a:pt x="1398842" y="439865"/>
                  </a:lnTo>
                  <a:lnTo>
                    <a:pt x="1718405" y="364522"/>
                  </a:lnTo>
                  <a:lnTo>
                    <a:pt x="1718405" y="340709"/>
                  </a:lnTo>
                  <a:cubicBezTo>
                    <a:pt x="1718405" y="72295"/>
                    <a:pt x="1609916" y="0"/>
                    <a:pt x="1332548" y="0"/>
                  </a:cubicBezTo>
                  <a:lnTo>
                    <a:pt x="449199" y="0"/>
                  </a:lnTo>
                  <a:cubicBezTo>
                    <a:pt x="156781" y="0"/>
                    <a:pt x="63341" y="75343"/>
                    <a:pt x="63341" y="367855"/>
                  </a:cubicBezTo>
                  <a:lnTo>
                    <a:pt x="63341" y="539496"/>
                  </a:lnTo>
                  <a:cubicBezTo>
                    <a:pt x="63341" y="832009"/>
                    <a:pt x="156877" y="907351"/>
                    <a:pt x="449199" y="907351"/>
                  </a:cubicBezTo>
                  <a:lnTo>
                    <a:pt x="1419987" y="907351"/>
                  </a:lnTo>
                  <a:lnTo>
                    <a:pt x="1419987" y="1263110"/>
                  </a:lnTo>
                  <a:lnTo>
                    <a:pt x="319754" y="1263110"/>
                  </a:lnTo>
                  <a:lnTo>
                    <a:pt x="319754" y="1095661"/>
                  </a:lnTo>
                  <a:lnTo>
                    <a:pt x="0" y="1162050"/>
                  </a:lnTo>
                  <a:lnTo>
                    <a:pt x="0" y="1187768"/>
                  </a:lnTo>
                  <a:cubicBezTo>
                    <a:pt x="0" y="1480185"/>
                    <a:pt x="96488" y="1555528"/>
                    <a:pt x="388906" y="1555528"/>
                  </a:cubicBezTo>
                  <a:lnTo>
                    <a:pt x="1350740" y="1555528"/>
                  </a:lnTo>
                  <a:cubicBezTo>
                    <a:pt x="1643158" y="1555528"/>
                    <a:pt x="1739646" y="1480185"/>
                    <a:pt x="1739646" y="1187768"/>
                  </a:cubicBezTo>
                  <a:lnTo>
                    <a:pt x="1739646" y="973741"/>
                  </a:lnTo>
                  <a:cubicBezTo>
                    <a:pt x="1739646" y="681228"/>
                    <a:pt x="1643158" y="605885"/>
                    <a:pt x="1350740" y="605885"/>
                  </a:cubicBezTo>
                  <a:lnTo>
                    <a:pt x="379857" y="605885"/>
                  </a:lnTo>
                  <a:lnTo>
                    <a:pt x="379857" y="271367"/>
                  </a:lnTo>
                  <a:lnTo>
                    <a:pt x="1398842" y="271367"/>
                  </a:lnTo>
                  <a:close/>
                </a:path>
              </a:pathLst>
            </a:custGeom>
            <a:grpFill/>
            <a:ln w="9525" cap="flat">
              <a:noFill/>
              <a:prstDash val="solid"/>
              <a:miter/>
            </a:ln>
          </p:spPr>
          <p:txBody>
            <a:bodyPr lIns="0" tIns="0" rIns="0" bIns="0" rtlCol="0" anchor="ctr"/>
            <a:lstStyle/>
            <a:p>
              <a:endParaRPr lang="de-DE" sz="100"/>
            </a:p>
          </p:txBody>
        </p:sp>
        <p:sp>
          <p:nvSpPr>
            <p:cNvPr id="17" name="o">
              <a:extLst>
                <a:ext uri="{FF2B5EF4-FFF2-40B4-BE49-F238E27FC236}">
                  <a16:creationId xmlns:a16="http://schemas.microsoft.com/office/drawing/2014/main" id="{05D28441-2A9F-4BEE-9E35-3905F42BF713}"/>
                </a:ext>
              </a:extLst>
            </p:cNvPr>
            <p:cNvSpPr/>
            <p:nvPr/>
          </p:nvSpPr>
          <p:spPr bwMode="gray">
            <a:xfrm>
              <a:off x="2206937" y="3966587"/>
              <a:ext cx="1682019" cy="1275212"/>
            </a:xfrm>
            <a:custGeom>
              <a:avLst/>
              <a:gdLst>
                <a:gd name="connsiteX0" fmla="*/ 326041 w 1682019"/>
                <a:gd name="connsiteY0" fmla="*/ 234982 h 1275207"/>
                <a:gd name="connsiteX1" fmla="*/ 1374648 w 1682019"/>
                <a:gd name="connsiteY1" fmla="*/ 234982 h 1275207"/>
                <a:gd name="connsiteX2" fmla="*/ 1374648 w 1682019"/>
                <a:gd name="connsiteY2" fmla="*/ 1030891 h 1275207"/>
                <a:gd name="connsiteX3" fmla="*/ 326041 w 1682019"/>
                <a:gd name="connsiteY3" fmla="*/ 1030891 h 1275207"/>
                <a:gd name="connsiteX4" fmla="*/ 326041 w 1682019"/>
                <a:gd name="connsiteY4" fmla="*/ 234982 h 1275207"/>
                <a:gd name="connsiteX5" fmla="*/ 0 w 1682019"/>
                <a:gd name="connsiteY5" fmla="*/ 301371 h 1275207"/>
                <a:gd name="connsiteX6" fmla="*/ 0 w 1682019"/>
                <a:gd name="connsiteY6" fmla="*/ 973646 h 1275207"/>
                <a:gd name="connsiteX7" fmla="*/ 338233 w 1682019"/>
                <a:gd name="connsiteY7" fmla="*/ 1275207 h 1275207"/>
                <a:gd name="connsiteX8" fmla="*/ 1343787 w 1682019"/>
                <a:gd name="connsiteY8" fmla="*/ 1275207 h 1275207"/>
                <a:gd name="connsiteX9" fmla="*/ 1682020 w 1682019"/>
                <a:gd name="connsiteY9" fmla="*/ 973646 h 1275207"/>
                <a:gd name="connsiteX10" fmla="*/ 1682020 w 1682019"/>
                <a:gd name="connsiteY10" fmla="*/ 301371 h 1275207"/>
                <a:gd name="connsiteX11" fmla="*/ 1343787 w 1682019"/>
                <a:gd name="connsiteY11" fmla="*/ 0 h 1275207"/>
                <a:gd name="connsiteX12" fmla="*/ 338233 w 1682019"/>
                <a:gd name="connsiteY12" fmla="*/ 0 h 1275207"/>
                <a:gd name="connsiteX13" fmla="*/ 0 w 1682019"/>
                <a:gd name="connsiteY13" fmla="*/ 301371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82019" h="1275207">
                  <a:moveTo>
                    <a:pt x="326041" y="234982"/>
                  </a:moveTo>
                  <a:lnTo>
                    <a:pt x="1374648" y="234982"/>
                  </a:lnTo>
                  <a:lnTo>
                    <a:pt x="1374648" y="1030891"/>
                  </a:lnTo>
                  <a:lnTo>
                    <a:pt x="326041" y="1030891"/>
                  </a:lnTo>
                  <a:lnTo>
                    <a:pt x="326041" y="234982"/>
                  </a:lnTo>
                  <a:close/>
                  <a:moveTo>
                    <a:pt x="0" y="301371"/>
                  </a:moveTo>
                  <a:lnTo>
                    <a:pt x="0" y="973646"/>
                  </a:lnTo>
                  <a:cubicBezTo>
                    <a:pt x="0" y="1214819"/>
                    <a:pt x="79915" y="1275207"/>
                    <a:pt x="338233" y="1275207"/>
                  </a:cubicBezTo>
                  <a:lnTo>
                    <a:pt x="1343787" y="1275207"/>
                  </a:lnTo>
                  <a:cubicBezTo>
                    <a:pt x="1598962" y="1275207"/>
                    <a:pt x="1682020" y="1214819"/>
                    <a:pt x="1682020" y="973646"/>
                  </a:cubicBezTo>
                  <a:lnTo>
                    <a:pt x="1682020" y="301371"/>
                  </a:lnTo>
                  <a:cubicBezTo>
                    <a:pt x="1682020" y="57150"/>
                    <a:pt x="1598867" y="0"/>
                    <a:pt x="1343787" y="0"/>
                  </a:cubicBezTo>
                  <a:lnTo>
                    <a:pt x="338233" y="0"/>
                  </a:lnTo>
                  <a:cubicBezTo>
                    <a:pt x="83153" y="0"/>
                    <a:pt x="0" y="57150"/>
                    <a:pt x="0" y="301371"/>
                  </a:cubicBezTo>
                </a:path>
              </a:pathLst>
            </a:custGeom>
            <a:grpFill/>
            <a:ln w="9525" cap="flat">
              <a:noFill/>
              <a:prstDash val="solid"/>
              <a:miter/>
            </a:ln>
          </p:spPr>
          <p:txBody>
            <a:bodyPr lIns="0" tIns="0" rIns="0" bIns="0" rtlCol="0" anchor="ctr"/>
            <a:lstStyle/>
            <a:p>
              <a:endParaRPr lang="de-DE" sz="100"/>
            </a:p>
          </p:txBody>
        </p:sp>
        <p:sp>
          <p:nvSpPr>
            <p:cNvPr id="18" name="m">
              <a:extLst>
                <a:ext uri="{FF2B5EF4-FFF2-40B4-BE49-F238E27FC236}">
                  <a16:creationId xmlns:a16="http://schemas.microsoft.com/office/drawing/2014/main" id="{1D377C72-7891-4EA4-A055-B0DBC2BFB4EA}"/>
                </a:ext>
              </a:extLst>
            </p:cNvPr>
            <p:cNvSpPr/>
            <p:nvPr/>
          </p:nvSpPr>
          <p:spPr bwMode="gray">
            <a:xfrm>
              <a:off x="4290154" y="3966498"/>
              <a:ext cx="1815752" cy="1275212"/>
            </a:xfrm>
            <a:custGeom>
              <a:avLst/>
              <a:gdLst>
                <a:gd name="connsiteX0" fmla="*/ 1560576 w 1815750"/>
                <a:gd name="connsiteY0" fmla="*/ 0 h 1275207"/>
                <a:gd name="connsiteX1" fmla="*/ 927163 w 1815750"/>
                <a:gd name="connsiteY1" fmla="*/ 756571 h 1275207"/>
                <a:gd name="connsiteX2" fmla="*/ 290703 w 1815750"/>
                <a:gd name="connsiteY2" fmla="*/ 0 h 1275207"/>
                <a:gd name="connsiteX3" fmla="*/ 0 w 1815750"/>
                <a:gd name="connsiteY3" fmla="*/ 0 h 1275207"/>
                <a:gd name="connsiteX4" fmla="*/ 0 w 1815750"/>
                <a:gd name="connsiteY4" fmla="*/ 1275207 h 1275207"/>
                <a:gd name="connsiteX5" fmla="*/ 290703 w 1815750"/>
                <a:gd name="connsiteY5" fmla="*/ 1275207 h 1275207"/>
                <a:gd name="connsiteX6" fmla="*/ 290703 w 1815750"/>
                <a:gd name="connsiteY6" fmla="*/ 419100 h 1275207"/>
                <a:gd name="connsiteX7" fmla="*/ 877919 w 1815750"/>
                <a:gd name="connsiteY7" fmla="*/ 1121474 h 1275207"/>
                <a:gd name="connsiteX8" fmla="*/ 939356 w 1815750"/>
                <a:gd name="connsiteY8" fmla="*/ 1121474 h 1275207"/>
                <a:gd name="connsiteX9" fmla="*/ 1520571 w 1815750"/>
                <a:gd name="connsiteY9" fmla="*/ 397859 h 1275207"/>
                <a:gd name="connsiteX10" fmla="*/ 1520571 w 1815750"/>
                <a:gd name="connsiteY10" fmla="*/ 1275207 h 1275207"/>
                <a:gd name="connsiteX11" fmla="*/ 1815751 w 1815750"/>
                <a:gd name="connsiteY11" fmla="*/ 1275207 h 1275207"/>
                <a:gd name="connsiteX12" fmla="*/ 1815751 w 1815750"/>
                <a:gd name="connsiteY12" fmla="*/ 0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5750" h="1275207">
                  <a:moveTo>
                    <a:pt x="1560576" y="0"/>
                  </a:moveTo>
                  <a:lnTo>
                    <a:pt x="927163" y="756571"/>
                  </a:lnTo>
                  <a:lnTo>
                    <a:pt x="290703" y="0"/>
                  </a:lnTo>
                  <a:lnTo>
                    <a:pt x="0" y="0"/>
                  </a:lnTo>
                  <a:lnTo>
                    <a:pt x="0" y="1275207"/>
                  </a:lnTo>
                  <a:lnTo>
                    <a:pt x="290703" y="1275207"/>
                  </a:lnTo>
                  <a:lnTo>
                    <a:pt x="290703" y="419100"/>
                  </a:lnTo>
                  <a:lnTo>
                    <a:pt x="877919" y="1121474"/>
                  </a:lnTo>
                  <a:lnTo>
                    <a:pt x="939356" y="1121474"/>
                  </a:lnTo>
                  <a:lnTo>
                    <a:pt x="1520571" y="397859"/>
                  </a:lnTo>
                  <a:lnTo>
                    <a:pt x="1520571" y="1275207"/>
                  </a:lnTo>
                  <a:lnTo>
                    <a:pt x="1815751" y="1275207"/>
                  </a:lnTo>
                  <a:lnTo>
                    <a:pt x="1815751" y="0"/>
                  </a:lnTo>
                  <a:close/>
                </a:path>
              </a:pathLst>
            </a:custGeom>
            <a:grpFill/>
            <a:ln w="9525" cap="flat">
              <a:noFill/>
              <a:prstDash val="solid"/>
              <a:miter/>
            </a:ln>
          </p:spPr>
          <p:txBody>
            <a:bodyPr lIns="0" tIns="0" rIns="0" bIns="0" rtlCol="0" anchor="ctr"/>
            <a:lstStyle/>
            <a:p>
              <a:endParaRPr lang="de-DE" sz="100"/>
            </a:p>
          </p:txBody>
        </p:sp>
        <p:sp>
          <p:nvSpPr>
            <p:cNvPr id="19" name="m">
              <a:extLst>
                <a:ext uri="{FF2B5EF4-FFF2-40B4-BE49-F238E27FC236}">
                  <a16:creationId xmlns:a16="http://schemas.microsoft.com/office/drawing/2014/main" id="{B09245E1-BA47-440C-B36B-863DBA1D8245}"/>
                </a:ext>
              </a:extLst>
            </p:cNvPr>
            <p:cNvSpPr/>
            <p:nvPr/>
          </p:nvSpPr>
          <p:spPr bwMode="gray">
            <a:xfrm>
              <a:off x="6535096" y="3966498"/>
              <a:ext cx="1815752" cy="1275212"/>
            </a:xfrm>
            <a:custGeom>
              <a:avLst/>
              <a:gdLst>
                <a:gd name="connsiteX0" fmla="*/ 1560672 w 1815750"/>
                <a:gd name="connsiteY0" fmla="*/ 0 h 1275207"/>
                <a:gd name="connsiteX1" fmla="*/ 927164 w 1815750"/>
                <a:gd name="connsiteY1" fmla="*/ 756571 h 1275207"/>
                <a:gd name="connsiteX2" fmla="*/ 290799 w 1815750"/>
                <a:gd name="connsiteY2" fmla="*/ 0 h 1275207"/>
                <a:gd name="connsiteX3" fmla="*/ 0 w 1815750"/>
                <a:gd name="connsiteY3" fmla="*/ 0 h 1275207"/>
                <a:gd name="connsiteX4" fmla="*/ 0 w 1815750"/>
                <a:gd name="connsiteY4" fmla="*/ 1275207 h 1275207"/>
                <a:gd name="connsiteX5" fmla="*/ 290799 w 1815750"/>
                <a:gd name="connsiteY5" fmla="*/ 1275207 h 1275207"/>
                <a:gd name="connsiteX6" fmla="*/ 290799 w 1815750"/>
                <a:gd name="connsiteY6" fmla="*/ 419100 h 1275207"/>
                <a:gd name="connsiteX7" fmla="*/ 878015 w 1815750"/>
                <a:gd name="connsiteY7" fmla="*/ 1121474 h 1275207"/>
                <a:gd name="connsiteX8" fmla="*/ 939546 w 1815750"/>
                <a:gd name="connsiteY8" fmla="*/ 1121474 h 1275207"/>
                <a:gd name="connsiteX9" fmla="*/ 1520571 w 1815750"/>
                <a:gd name="connsiteY9" fmla="*/ 397859 h 1275207"/>
                <a:gd name="connsiteX10" fmla="*/ 1520571 w 1815750"/>
                <a:gd name="connsiteY10" fmla="*/ 1275207 h 1275207"/>
                <a:gd name="connsiteX11" fmla="*/ 1815751 w 1815750"/>
                <a:gd name="connsiteY11" fmla="*/ 1275207 h 1275207"/>
                <a:gd name="connsiteX12" fmla="*/ 1815751 w 1815750"/>
                <a:gd name="connsiteY12" fmla="*/ 0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5750" h="1275207">
                  <a:moveTo>
                    <a:pt x="1560672" y="0"/>
                  </a:moveTo>
                  <a:lnTo>
                    <a:pt x="927164" y="756571"/>
                  </a:lnTo>
                  <a:lnTo>
                    <a:pt x="290799" y="0"/>
                  </a:lnTo>
                  <a:lnTo>
                    <a:pt x="0" y="0"/>
                  </a:lnTo>
                  <a:lnTo>
                    <a:pt x="0" y="1275207"/>
                  </a:lnTo>
                  <a:lnTo>
                    <a:pt x="290799" y="1275207"/>
                  </a:lnTo>
                  <a:lnTo>
                    <a:pt x="290799" y="419100"/>
                  </a:lnTo>
                  <a:lnTo>
                    <a:pt x="878015" y="1121474"/>
                  </a:lnTo>
                  <a:lnTo>
                    <a:pt x="939546" y="1121474"/>
                  </a:lnTo>
                  <a:lnTo>
                    <a:pt x="1520571" y="397859"/>
                  </a:lnTo>
                  <a:lnTo>
                    <a:pt x="1520571" y="1275207"/>
                  </a:lnTo>
                  <a:lnTo>
                    <a:pt x="1815751" y="1275207"/>
                  </a:lnTo>
                  <a:lnTo>
                    <a:pt x="1815751" y="0"/>
                  </a:lnTo>
                  <a:close/>
                </a:path>
              </a:pathLst>
            </a:custGeom>
            <a:grpFill/>
            <a:ln w="9525" cap="flat">
              <a:noFill/>
              <a:prstDash val="solid"/>
              <a:miter/>
            </a:ln>
          </p:spPr>
          <p:txBody>
            <a:bodyPr lIns="0" tIns="0" rIns="0" bIns="0" rtlCol="0" anchor="ctr"/>
            <a:lstStyle/>
            <a:p>
              <a:endParaRPr lang="de-DE" sz="100"/>
            </a:p>
          </p:txBody>
        </p:sp>
        <p:sp>
          <p:nvSpPr>
            <p:cNvPr id="20" name="e">
              <a:extLst>
                <a:ext uri="{FF2B5EF4-FFF2-40B4-BE49-F238E27FC236}">
                  <a16:creationId xmlns:a16="http://schemas.microsoft.com/office/drawing/2014/main" id="{833BBB68-33E2-4A33-9073-A27BDF743655}"/>
                </a:ext>
              </a:extLst>
            </p:cNvPr>
            <p:cNvSpPr/>
            <p:nvPr/>
          </p:nvSpPr>
          <p:spPr bwMode="gray">
            <a:xfrm>
              <a:off x="8765757" y="3966498"/>
              <a:ext cx="1411313" cy="1275212"/>
            </a:xfrm>
            <a:custGeom>
              <a:avLst/>
              <a:gdLst>
                <a:gd name="connsiteX0" fmla="*/ 0 w 1411319"/>
                <a:gd name="connsiteY0" fmla="*/ 0 h 1275207"/>
                <a:gd name="connsiteX1" fmla="*/ 0 w 1411319"/>
                <a:gd name="connsiteY1" fmla="*/ 1275207 h 1275207"/>
                <a:gd name="connsiteX2" fmla="*/ 1411319 w 1411319"/>
                <a:gd name="connsiteY2" fmla="*/ 1275207 h 1275207"/>
                <a:gd name="connsiteX3" fmla="*/ 1411319 w 1411319"/>
                <a:gd name="connsiteY3" fmla="*/ 1036987 h 1275207"/>
                <a:gd name="connsiteX4" fmla="*/ 319850 w 1411319"/>
                <a:gd name="connsiteY4" fmla="*/ 1036987 h 1275207"/>
                <a:gd name="connsiteX5" fmla="*/ 319850 w 1411319"/>
                <a:gd name="connsiteY5" fmla="*/ 723424 h 1275207"/>
                <a:gd name="connsiteX6" fmla="*/ 947166 w 1411319"/>
                <a:gd name="connsiteY6" fmla="*/ 723424 h 1275207"/>
                <a:gd name="connsiteX7" fmla="*/ 947166 w 1411319"/>
                <a:gd name="connsiteY7" fmla="*/ 503396 h 1275207"/>
                <a:gd name="connsiteX8" fmla="*/ 319850 w 1411319"/>
                <a:gd name="connsiteY8" fmla="*/ 503396 h 1275207"/>
                <a:gd name="connsiteX9" fmla="*/ 319850 w 1411319"/>
                <a:gd name="connsiteY9" fmla="*/ 226219 h 1275207"/>
                <a:gd name="connsiteX10" fmla="*/ 1395984 w 1411319"/>
                <a:gd name="connsiteY10" fmla="*/ 226219 h 1275207"/>
                <a:gd name="connsiteX11" fmla="*/ 1395984 w 1411319"/>
                <a:gd name="connsiteY11" fmla="*/ 0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11319" h="1275207">
                  <a:moveTo>
                    <a:pt x="0" y="0"/>
                  </a:moveTo>
                  <a:lnTo>
                    <a:pt x="0" y="1275207"/>
                  </a:lnTo>
                  <a:lnTo>
                    <a:pt x="1411319" y="1275207"/>
                  </a:lnTo>
                  <a:lnTo>
                    <a:pt x="1411319" y="1036987"/>
                  </a:lnTo>
                  <a:lnTo>
                    <a:pt x="319850" y="1036987"/>
                  </a:lnTo>
                  <a:lnTo>
                    <a:pt x="319850" y="723424"/>
                  </a:lnTo>
                  <a:lnTo>
                    <a:pt x="947166" y="723424"/>
                  </a:lnTo>
                  <a:lnTo>
                    <a:pt x="947166" y="503396"/>
                  </a:lnTo>
                  <a:lnTo>
                    <a:pt x="319850" y="503396"/>
                  </a:lnTo>
                  <a:lnTo>
                    <a:pt x="319850" y="226219"/>
                  </a:lnTo>
                  <a:lnTo>
                    <a:pt x="1395984" y="226219"/>
                  </a:lnTo>
                  <a:lnTo>
                    <a:pt x="1395984" y="0"/>
                  </a:lnTo>
                  <a:close/>
                </a:path>
              </a:pathLst>
            </a:custGeom>
            <a:grpFill/>
            <a:ln w="9525" cap="flat">
              <a:noFill/>
              <a:prstDash val="solid"/>
              <a:miter/>
            </a:ln>
          </p:spPr>
          <p:txBody>
            <a:bodyPr lIns="0" tIns="0" rIns="0" bIns="0" rtlCol="0" anchor="ctr"/>
            <a:lstStyle/>
            <a:p>
              <a:endParaRPr lang="de-DE" sz="100"/>
            </a:p>
          </p:txBody>
        </p:sp>
        <p:sp>
          <p:nvSpPr>
            <p:cNvPr id="21" name="r">
              <a:extLst>
                <a:ext uri="{FF2B5EF4-FFF2-40B4-BE49-F238E27FC236}">
                  <a16:creationId xmlns:a16="http://schemas.microsoft.com/office/drawing/2014/main" id="{54A7E655-95D6-4D9F-AB3F-83449DD4FFB9}"/>
                </a:ext>
              </a:extLst>
            </p:cNvPr>
            <p:cNvSpPr/>
            <p:nvPr/>
          </p:nvSpPr>
          <p:spPr bwMode="gray">
            <a:xfrm>
              <a:off x="10504356" y="3966498"/>
              <a:ext cx="1579811" cy="1275212"/>
            </a:xfrm>
            <a:custGeom>
              <a:avLst/>
              <a:gdLst>
                <a:gd name="connsiteX0" fmla="*/ 1015937 w 1579817"/>
                <a:gd name="connsiteY0" fmla="*/ 220028 h 1275207"/>
                <a:gd name="connsiteX1" fmla="*/ 1157669 w 1579817"/>
                <a:gd name="connsiteY1" fmla="*/ 322517 h 1275207"/>
                <a:gd name="connsiteX2" fmla="*/ 1157669 w 1579817"/>
                <a:gd name="connsiteY2" fmla="*/ 470249 h 1275207"/>
                <a:gd name="connsiteX3" fmla="*/ 1015937 w 1579817"/>
                <a:gd name="connsiteY3" fmla="*/ 572738 h 1275207"/>
                <a:gd name="connsiteX4" fmla="*/ 307467 w 1579817"/>
                <a:gd name="connsiteY4" fmla="*/ 572738 h 1275207"/>
                <a:gd name="connsiteX5" fmla="*/ 307467 w 1579817"/>
                <a:gd name="connsiteY5" fmla="*/ 220028 h 1275207"/>
                <a:gd name="connsiteX6" fmla="*/ 1015937 w 1579817"/>
                <a:gd name="connsiteY6" fmla="*/ 220028 h 1275207"/>
                <a:gd name="connsiteX7" fmla="*/ 0 w 1579817"/>
                <a:gd name="connsiteY7" fmla="*/ 1275207 h 1275207"/>
                <a:gd name="connsiteX8" fmla="*/ 307563 w 1579817"/>
                <a:gd name="connsiteY8" fmla="*/ 1275207 h 1275207"/>
                <a:gd name="connsiteX9" fmla="*/ 307563 w 1579817"/>
                <a:gd name="connsiteY9" fmla="*/ 792766 h 1275207"/>
                <a:gd name="connsiteX10" fmla="*/ 599981 w 1579817"/>
                <a:gd name="connsiteY10" fmla="*/ 792766 h 1275207"/>
                <a:gd name="connsiteX11" fmla="*/ 1133570 w 1579817"/>
                <a:gd name="connsiteY11" fmla="*/ 1275207 h 1275207"/>
                <a:gd name="connsiteX12" fmla="*/ 1579818 w 1579817"/>
                <a:gd name="connsiteY12" fmla="*/ 1275207 h 1275207"/>
                <a:gd name="connsiteX13" fmla="*/ 973931 w 1579817"/>
                <a:gd name="connsiteY13" fmla="*/ 792766 h 1275207"/>
                <a:gd name="connsiteX14" fmla="*/ 1148811 w 1579817"/>
                <a:gd name="connsiteY14" fmla="*/ 792766 h 1275207"/>
                <a:gd name="connsiteX15" fmla="*/ 1447229 w 1579817"/>
                <a:gd name="connsiteY15" fmla="*/ 548545 h 1275207"/>
                <a:gd name="connsiteX16" fmla="*/ 1447229 w 1579817"/>
                <a:gd name="connsiteY16" fmla="*/ 247174 h 1275207"/>
                <a:gd name="connsiteX17" fmla="*/ 1148811 w 1579817"/>
                <a:gd name="connsiteY17" fmla="*/ 0 h 1275207"/>
                <a:gd name="connsiteX18" fmla="*/ 191 w 1579817"/>
                <a:gd name="connsiteY18" fmla="*/ 0 h 1275207"/>
                <a:gd name="connsiteX19" fmla="*/ 191 w 1579817"/>
                <a:gd name="connsiteY19" fmla="*/ 1275207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79817" h="1275207">
                  <a:moveTo>
                    <a:pt x="1015937" y="220028"/>
                  </a:moveTo>
                  <a:cubicBezTo>
                    <a:pt x="1109282" y="220028"/>
                    <a:pt x="1157669" y="238220"/>
                    <a:pt x="1157669" y="322517"/>
                  </a:cubicBezTo>
                  <a:lnTo>
                    <a:pt x="1157669" y="470249"/>
                  </a:lnTo>
                  <a:cubicBezTo>
                    <a:pt x="1157669" y="554736"/>
                    <a:pt x="1109282" y="572738"/>
                    <a:pt x="1015937" y="572738"/>
                  </a:cubicBezTo>
                  <a:lnTo>
                    <a:pt x="307467" y="572738"/>
                  </a:lnTo>
                  <a:lnTo>
                    <a:pt x="307467" y="220028"/>
                  </a:lnTo>
                  <a:lnTo>
                    <a:pt x="1015937" y="220028"/>
                  </a:lnTo>
                  <a:close/>
                  <a:moveTo>
                    <a:pt x="0" y="1275207"/>
                  </a:moveTo>
                  <a:lnTo>
                    <a:pt x="307563" y="1275207"/>
                  </a:lnTo>
                  <a:lnTo>
                    <a:pt x="307563" y="792766"/>
                  </a:lnTo>
                  <a:lnTo>
                    <a:pt x="599981" y="792766"/>
                  </a:lnTo>
                  <a:lnTo>
                    <a:pt x="1133570" y="1275207"/>
                  </a:lnTo>
                  <a:lnTo>
                    <a:pt x="1579818" y="1275207"/>
                  </a:lnTo>
                  <a:lnTo>
                    <a:pt x="973931" y="792766"/>
                  </a:lnTo>
                  <a:lnTo>
                    <a:pt x="1148811" y="792766"/>
                  </a:lnTo>
                  <a:cubicBezTo>
                    <a:pt x="1353693" y="792766"/>
                    <a:pt x="1447229" y="723424"/>
                    <a:pt x="1447229" y="548545"/>
                  </a:cubicBezTo>
                  <a:lnTo>
                    <a:pt x="1447229" y="247174"/>
                  </a:lnTo>
                  <a:cubicBezTo>
                    <a:pt x="1447229" y="69342"/>
                    <a:pt x="1353693" y="0"/>
                    <a:pt x="1148811" y="0"/>
                  </a:cubicBezTo>
                  <a:lnTo>
                    <a:pt x="191" y="0"/>
                  </a:lnTo>
                  <a:lnTo>
                    <a:pt x="191" y="1275207"/>
                  </a:lnTo>
                  <a:close/>
                </a:path>
              </a:pathLst>
            </a:custGeom>
            <a:grpFill/>
            <a:ln w="9525" cap="flat">
              <a:noFill/>
              <a:prstDash val="solid"/>
              <a:miter/>
            </a:ln>
          </p:spPr>
          <p:txBody>
            <a:bodyPr lIns="0" tIns="0" rIns="0" bIns="0" rtlCol="0" anchor="ctr"/>
            <a:lstStyle/>
            <a:p>
              <a:endParaRPr lang="de-DE" sz="100"/>
            </a:p>
          </p:txBody>
        </p:sp>
      </p:grpSp>
    </p:spTree>
    <p:extLst>
      <p:ext uri="{BB962C8B-B14F-4D97-AF65-F5344CB8AC3E}">
        <p14:creationId xmlns:p14="http://schemas.microsoft.com/office/powerpoint/2010/main" val="3796041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amp; Picture 1/2">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FFCB50B-5503-4467-8A0F-9FBB8B48B97D}"/>
              </a:ext>
            </a:extLst>
          </p:cNvPr>
          <p:cNvSpPr>
            <a:spLocks noGrp="1"/>
          </p:cNvSpPr>
          <p:nvPr>
            <p:ph type="title"/>
          </p:nvPr>
        </p:nvSpPr>
        <p:spPr bwMode="gray"/>
        <p:txBody>
          <a:bodyPr lIns="0" tIns="0" rIns="0" bIns="0"/>
          <a:lstStyle/>
          <a:p>
            <a:r>
              <a:rPr lang="de-DE"/>
              <a:t>Mastertitelformat bearbeiten</a:t>
            </a:r>
            <a:endParaRPr lang="en-US"/>
          </a:p>
        </p:txBody>
      </p:sp>
      <p:sp>
        <p:nvSpPr>
          <p:cNvPr id="4" name="subtitle">
            <a:extLst>
              <a:ext uri="{FF2B5EF4-FFF2-40B4-BE49-F238E27FC236}">
                <a16:creationId xmlns:a16="http://schemas.microsoft.com/office/drawing/2014/main" id="{7086919D-8D03-4875-B9F0-05F0C8564079}"/>
              </a:ext>
            </a:extLst>
          </p:cNvPr>
          <p:cNvSpPr>
            <a:spLocks noGrp="1"/>
          </p:cNvSpPr>
          <p:nvPr>
            <p:ph type="body" sz="quarter" idx="14" hasCustomPrompt="1"/>
          </p:nvPr>
        </p:nvSpPr>
        <p:spPr bwMode="gray">
          <a:xfrm>
            <a:off x="525600" y="1022400"/>
            <a:ext cx="11138400" cy="504000"/>
          </a:xfrm>
        </p:spPr>
        <p:txBody>
          <a:bodyPr/>
          <a:lstStyle>
            <a:lvl1pPr>
              <a:lnSpc>
                <a:spcPct val="85000"/>
              </a:lnSpc>
              <a:spcBef>
                <a:spcPts val="0"/>
              </a:spcBef>
              <a:spcAft>
                <a:spcPts val="0"/>
              </a:spcAft>
              <a:defRPr sz="2000"/>
            </a:lvl1pPr>
          </a:lstStyle>
          <a:p>
            <a:pPr lvl="0"/>
            <a:r>
              <a:rPr lang="de-DE" err="1"/>
              <a:t>Subtitle</a:t>
            </a:r>
            <a:endParaRPr lang="en-US"/>
          </a:p>
        </p:txBody>
      </p:sp>
      <p:sp>
        <p:nvSpPr>
          <p:cNvPr id="7" name="content">
            <a:extLst>
              <a:ext uri="{FF2B5EF4-FFF2-40B4-BE49-F238E27FC236}">
                <a16:creationId xmlns:a16="http://schemas.microsoft.com/office/drawing/2014/main" id="{5ACBB9A0-3E08-4278-AF60-F20CD65CA5C6}"/>
              </a:ext>
            </a:extLst>
          </p:cNvPr>
          <p:cNvSpPr>
            <a:spLocks noGrp="1"/>
          </p:cNvSpPr>
          <p:nvPr>
            <p:ph idx="1"/>
          </p:nvPr>
        </p:nvSpPr>
        <p:spPr bwMode="gray">
          <a:xfrm>
            <a:off x="525600" y="1602000"/>
            <a:ext cx="3474000" cy="449640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9" name="picture">
            <a:extLst>
              <a:ext uri="{FF2B5EF4-FFF2-40B4-BE49-F238E27FC236}">
                <a16:creationId xmlns:a16="http://schemas.microsoft.com/office/drawing/2014/main" id="{55C74982-3274-49AD-A31C-3AFE0D57E428}"/>
              </a:ext>
            </a:extLst>
          </p:cNvPr>
          <p:cNvSpPr>
            <a:spLocks noGrp="1"/>
          </p:cNvSpPr>
          <p:nvPr>
            <p:ph type="pic" sz="quarter" idx="16"/>
          </p:nvPr>
        </p:nvSpPr>
        <p:spPr bwMode="gray">
          <a:xfrm>
            <a:off x="4287684" y="1602000"/>
            <a:ext cx="7377266" cy="4496401"/>
          </a:xfrm>
          <a:pattFill prst="ltUpDiag">
            <a:fgClr>
              <a:schemeClr val="bg1">
                <a:lumMod val="95000"/>
              </a:schemeClr>
            </a:fgClr>
            <a:bgClr>
              <a:schemeClr val="bg1"/>
            </a:bgClr>
          </a:pattFill>
        </p:spPr>
        <p:txBody>
          <a:bodyPr/>
          <a:lstStyle/>
          <a:p>
            <a:endParaRPr lang="en-US"/>
          </a:p>
        </p:txBody>
      </p:sp>
      <p:sp>
        <p:nvSpPr>
          <p:cNvPr id="6" name="slide number">
            <a:extLst>
              <a:ext uri="{FF2B5EF4-FFF2-40B4-BE49-F238E27FC236}">
                <a16:creationId xmlns:a16="http://schemas.microsoft.com/office/drawing/2014/main" id="{90B54C2D-8235-4852-8EB7-5E05529B2499}"/>
              </a:ext>
            </a:extLst>
          </p:cNvPr>
          <p:cNvSpPr>
            <a:spLocks noGrp="1"/>
          </p:cNvSpPr>
          <p:nvPr>
            <p:ph type="sldNum" sz="quarter" idx="12"/>
          </p:nvPr>
        </p:nvSpPr>
        <p:spPr bwMode="gray"/>
        <p:txBody>
          <a:bodyPr lIns="0" tIns="0" rIns="0" bIns="0"/>
          <a:lstStyle/>
          <a:p>
            <a:fld id="{9829449A-3FF3-45CE-9F4F-09BADC0910C6}" type="slidenum">
              <a:rPr lang="en-US" smtClean="0"/>
              <a:t>‹Nr.›</a:t>
            </a:fld>
            <a:endParaRPr lang="en-US"/>
          </a:p>
        </p:txBody>
      </p:sp>
      <p:sp>
        <p:nvSpPr>
          <p:cNvPr id="5" name="footer">
            <a:extLst>
              <a:ext uri="{FF2B5EF4-FFF2-40B4-BE49-F238E27FC236}">
                <a16:creationId xmlns:a16="http://schemas.microsoft.com/office/drawing/2014/main" id="{A4534FC4-D037-44B0-B266-D9E820FC1DF2}"/>
              </a:ext>
            </a:extLst>
          </p:cNvPr>
          <p:cNvSpPr>
            <a:spLocks noGrp="1"/>
          </p:cNvSpPr>
          <p:nvPr>
            <p:ph type="ftr" sz="quarter" idx="11"/>
          </p:nvPr>
        </p:nvSpPr>
        <p:spPr bwMode="gray"/>
        <p:txBody>
          <a:bodyPr lIns="0" tIns="0" rIns="0" bIns="0"/>
          <a:lstStyle/>
          <a:p>
            <a:endParaRPr lang="en-US"/>
          </a:p>
        </p:txBody>
      </p:sp>
    </p:spTree>
    <p:extLst>
      <p:ext uri="{BB962C8B-B14F-4D97-AF65-F5344CB8AC3E}">
        <p14:creationId xmlns:p14="http://schemas.microsoft.com/office/powerpoint/2010/main" val="2772118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644" userDrawn="1">
          <p15:clr>
            <a:srgbClr val="FBAE40"/>
          </p15:clr>
        </p15:guide>
        <p15:guide id="2" pos="2520" userDrawn="1">
          <p15:clr>
            <a:srgbClr val="FBAE40"/>
          </p15:clr>
        </p15:guide>
        <p15:guide id="3" pos="270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amp; Content 2/1">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FFCB50B-5503-4467-8A0F-9FBB8B48B97D}"/>
              </a:ext>
            </a:extLst>
          </p:cNvPr>
          <p:cNvSpPr>
            <a:spLocks noGrp="1"/>
          </p:cNvSpPr>
          <p:nvPr>
            <p:ph type="title"/>
          </p:nvPr>
        </p:nvSpPr>
        <p:spPr bwMode="gray">
          <a:xfrm>
            <a:off x="525600" y="673200"/>
            <a:ext cx="11138400" cy="288000"/>
          </a:xfrm>
        </p:spPr>
        <p:txBody>
          <a:bodyPr lIns="0" tIns="0" rIns="0" bIns="0"/>
          <a:lstStyle/>
          <a:p>
            <a:r>
              <a:rPr lang="de-DE"/>
              <a:t>Mastertitelformat bearbeiten</a:t>
            </a:r>
            <a:endParaRPr lang="en-US"/>
          </a:p>
        </p:txBody>
      </p:sp>
      <p:sp>
        <p:nvSpPr>
          <p:cNvPr id="4" name="subtitle">
            <a:extLst>
              <a:ext uri="{FF2B5EF4-FFF2-40B4-BE49-F238E27FC236}">
                <a16:creationId xmlns:a16="http://schemas.microsoft.com/office/drawing/2014/main" id="{7086919D-8D03-4875-B9F0-05F0C8564079}"/>
              </a:ext>
            </a:extLst>
          </p:cNvPr>
          <p:cNvSpPr>
            <a:spLocks noGrp="1"/>
          </p:cNvSpPr>
          <p:nvPr>
            <p:ph type="body" sz="quarter" idx="14" hasCustomPrompt="1"/>
          </p:nvPr>
        </p:nvSpPr>
        <p:spPr bwMode="gray">
          <a:xfrm>
            <a:off x="525600" y="1022400"/>
            <a:ext cx="11138400" cy="504000"/>
          </a:xfrm>
        </p:spPr>
        <p:txBody>
          <a:bodyPr/>
          <a:lstStyle>
            <a:lvl1pPr>
              <a:lnSpc>
                <a:spcPct val="85000"/>
              </a:lnSpc>
              <a:spcBef>
                <a:spcPts val="0"/>
              </a:spcBef>
              <a:spcAft>
                <a:spcPts val="0"/>
              </a:spcAft>
              <a:defRPr sz="2000"/>
            </a:lvl1pPr>
          </a:lstStyle>
          <a:p>
            <a:pPr lvl="0"/>
            <a:r>
              <a:rPr lang="de-DE" err="1"/>
              <a:t>Subtitle</a:t>
            </a:r>
            <a:endParaRPr lang="en-US"/>
          </a:p>
        </p:txBody>
      </p:sp>
      <p:sp>
        <p:nvSpPr>
          <p:cNvPr id="13" name="picture">
            <a:extLst>
              <a:ext uri="{FF2B5EF4-FFF2-40B4-BE49-F238E27FC236}">
                <a16:creationId xmlns:a16="http://schemas.microsoft.com/office/drawing/2014/main" id="{EF4E64C0-AE47-46C4-8F32-193E5F0EE3D3}"/>
              </a:ext>
            </a:extLst>
          </p:cNvPr>
          <p:cNvSpPr>
            <a:spLocks noGrp="1"/>
          </p:cNvSpPr>
          <p:nvPr>
            <p:ph type="pic" sz="quarter" idx="16"/>
          </p:nvPr>
        </p:nvSpPr>
        <p:spPr bwMode="gray">
          <a:xfrm>
            <a:off x="525600" y="1602000"/>
            <a:ext cx="7232400" cy="4496401"/>
          </a:xfrm>
          <a:pattFill prst="ltUpDiag">
            <a:fgClr>
              <a:schemeClr val="bg1">
                <a:lumMod val="95000"/>
              </a:schemeClr>
            </a:fgClr>
            <a:bgClr>
              <a:schemeClr val="bg1"/>
            </a:bgClr>
          </a:pattFill>
        </p:spPr>
        <p:txBody>
          <a:bodyPr/>
          <a:lstStyle/>
          <a:p>
            <a:endParaRPr lang="en-US"/>
          </a:p>
        </p:txBody>
      </p:sp>
      <p:sp>
        <p:nvSpPr>
          <p:cNvPr id="8" name="content">
            <a:extLst>
              <a:ext uri="{FF2B5EF4-FFF2-40B4-BE49-F238E27FC236}">
                <a16:creationId xmlns:a16="http://schemas.microsoft.com/office/drawing/2014/main" id="{BED0FE55-04B9-478B-A6BA-371329BD23E8}"/>
              </a:ext>
            </a:extLst>
          </p:cNvPr>
          <p:cNvSpPr>
            <a:spLocks noGrp="1"/>
          </p:cNvSpPr>
          <p:nvPr>
            <p:ph idx="15"/>
          </p:nvPr>
        </p:nvSpPr>
        <p:spPr bwMode="gray">
          <a:xfrm>
            <a:off x="8046000" y="1602000"/>
            <a:ext cx="3618000" cy="449640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slide number">
            <a:extLst>
              <a:ext uri="{FF2B5EF4-FFF2-40B4-BE49-F238E27FC236}">
                <a16:creationId xmlns:a16="http://schemas.microsoft.com/office/drawing/2014/main" id="{90B54C2D-8235-4852-8EB7-5E05529B2499}"/>
              </a:ext>
            </a:extLst>
          </p:cNvPr>
          <p:cNvSpPr>
            <a:spLocks noGrp="1"/>
          </p:cNvSpPr>
          <p:nvPr>
            <p:ph type="sldNum" sz="quarter" idx="12"/>
          </p:nvPr>
        </p:nvSpPr>
        <p:spPr bwMode="gray"/>
        <p:txBody>
          <a:bodyPr lIns="0" tIns="0" rIns="0" bIns="0"/>
          <a:lstStyle/>
          <a:p>
            <a:fld id="{9829449A-3FF3-45CE-9F4F-09BADC0910C6}" type="slidenum">
              <a:rPr lang="en-US" smtClean="0"/>
              <a:t>‹Nr.›</a:t>
            </a:fld>
            <a:endParaRPr lang="en-US"/>
          </a:p>
        </p:txBody>
      </p:sp>
      <p:sp>
        <p:nvSpPr>
          <p:cNvPr id="5" name="footer">
            <a:extLst>
              <a:ext uri="{FF2B5EF4-FFF2-40B4-BE49-F238E27FC236}">
                <a16:creationId xmlns:a16="http://schemas.microsoft.com/office/drawing/2014/main" id="{A4534FC4-D037-44B0-B266-D9E820FC1DF2}"/>
              </a:ext>
            </a:extLst>
          </p:cNvPr>
          <p:cNvSpPr>
            <a:spLocks noGrp="1"/>
          </p:cNvSpPr>
          <p:nvPr>
            <p:ph type="ftr" sz="quarter" idx="11"/>
          </p:nvPr>
        </p:nvSpPr>
        <p:spPr bwMode="gray"/>
        <p:txBody>
          <a:bodyPr lIns="0" tIns="0" rIns="0" bIns="0"/>
          <a:lstStyle/>
          <a:p>
            <a:endParaRPr lang="en-US"/>
          </a:p>
        </p:txBody>
      </p:sp>
    </p:spTree>
    <p:extLst>
      <p:ext uri="{BB962C8B-B14F-4D97-AF65-F5344CB8AC3E}">
        <p14:creationId xmlns:p14="http://schemas.microsoft.com/office/powerpoint/2010/main" val="882990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644" userDrawn="1">
          <p15:clr>
            <a:srgbClr val="FBAE40"/>
          </p15:clr>
        </p15:guide>
        <p15:guide id="2" pos="4887" userDrawn="1">
          <p15:clr>
            <a:srgbClr val="FBAE40"/>
          </p15:clr>
        </p15:guide>
        <p15:guide id="3" pos="5067"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amp; Full Picture 1/2">
    <p:spTree>
      <p:nvGrpSpPr>
        <p:cNvPr id="1" name=""/>
        <p:cNvGrpSpPr/>
        <p:nvPr/>
      </p:nvGrpSpPr>
      <p:grpSpPr>
        <a:xfrm>
          <a:off x="0" y="0"/>
          <a:ext cx="0" cy="0"/>
          <a:chOff x="0" y="0"/>
          <a:chExt cx="0" cy="0"/>
        </a:xfrm>
      </p:grpSpPr>
      <p:sp>
        <p:nvSpPr>
          <p:cNvPr id="14" name="logo drees&amp;sommer blue mask">
            <a:extLst>
              <a:ext uri="{FF2B5EF4-FFF2-40B4-BE49-F238E27FC236}">
                <a16:creationId xmlns:a16="http://schemas.microsoft.com/office/drawing/2014/main" id="{02ABB165-5BE9-4395-A4D5-6CC0571FF467}"/>
              </a:ext>
            </a:extLst>
          </p:cNvPr>
          <p:cNvSpPr/>
          <p:nvPr userDrawn="1"/>
        </p:nvSpPr>
        <p:spPr bwMode="gray">
          <a:xfrm>
            <a:off x="10579100" y="6197600"/>
            <a:ext cx="1270000" cy="584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400"/>
              </a:spcBef>
              <a:spcAft>
                <a:spcPts val="400"/>
              </a:spcAft>
            </a:pPr>
            <a:endParaRPr lang="de-DE" sz="1400"/>
          </a:p>
        </p:txBody>
      </p:sp>
      <p:sp>
        <p:nvSpPr>
          <p:cNvPr id="2" name="title">
            <a:extLst>
              <a:ext uri="{FF2B5EF4-FFF2-40B4-BE49-F238E27FC236}">
                <a16:creationId xmlns:a16="http://schemas.microsoft.com/office/drawing/2014/main" id="{8FFCB50B-5503-4467-8A0F-9FBB8B48B97D}"/>
              </a:ext>
            </a:extLst>
          </p:cNvPr>
          <p:cNvSpPr>
            <a:spLocks noGrp="1"/>
          </p:cNvSpPr>
          <p:nvPr>
            <p:ph type="title" hasCustomPrompt="1"/>
          </p:nvPr>
        </p:nvSpPr>
        <p:spPr bwMode="gray">
          <a:xfrm>
            <a:off x="525600" y="673200"/>
            <a:ext cx="3474000" cy="288000"/>
          </a:xfrm>
        </p:spPr>
        <p:txBody>
          <a:bodyPr lIns="0" tIns="0" rIns="0" bIns="0"/>
          <a:lstStyle/>
          <a:p>
            <a:r>
              <a:rPr lang="de-DE" err="1"/>
              <a:t>titelformat</a:t>
            </a:r>
            <a:r>
              <a:rPr lang="de-DE"/>
              <a:t> bearbeiten</a:t>
            </a:r>
            <a:endParaRPr lang="en-US"/>
          </a:p>
        </p:txBody>
      </p:sp>
      <p:sp>
        <p:nvSpPr>
          <p:cNvPr id="4" name="subtitle">
            <a:extLst>
              <a:ext uri="{FF2B5EF4-FFF2-40B4-BE49-F238E27FC236}">
                <a16:creationId xmlns:a16="http://schemas.microsoft.com/office/drawing/2014/main" id="{7086919D-8D03-4875-B9F0-05F0C8564079}"/>
              </a:ext>
            </a:extLst>
          </p:cNvPr>
          <p:cNvSpPr>
            <a:spLocks noGrp="1"/>
          </p:cNvSpPr>
          <p:nvPr>
            <p:ph type="body" sz="quarter" idx="14" hasCustomPrompt="1"/>
          </p:nvPr>
        </p:nvSpPr>
        <p:spPr bwMode="gray">
          <a:xfrm>
            <a:off x="525600" y="1022400"/>
            <a:ext cx="3474000" cy="504000"/>
          </a:xfrm>
        </p:spPr>
        <p:txBody>
          <a:bodyPr/>
          <a:lstStyle>
            <a:lvl1pPr>
              <a:lnSpc>
                <a:spcPct val="85000"/>
              </a:lnSpc>
              <a:spcBef>
                <a:spcPts val="0"/>
              </a:spcBef>
              <a:spcAft>
                <a:spcPts val="0"/>
              </a:spcAft>
              <a:defRPr sz="2000"/>
            </a:lvl1pPr>
          </a:lstStyle>
          <a:p>
            <a:pPr lvl="0"/>
            <a:r>
              <a:rPr lang="de-DE" err="1"/>
              <a:t>Subtitle</a:t>
            </a:r>
            <a:endParaRPr lang="en-US"/>
          </a:p>
        </p:txBody>
      </p:sp>
      <p:sp>
        <p:nvSpPr>
          <p:cNvPr id="7" name="content">
            <a:extLst>
              <a:ext uri="{FF2B5EF4-FFF2-40B4-BE49-F238E27FC236}">
                <a16:creationId xmlns:a16="http://schemas.microsoft.com/office/drawing/2014/main" id="{5ACBB9A0-3E08-4278-AF60-F20CD65CA5C6}"/>
              </a:ext>
            </a:extLst>
          </p:cNvPr>
          <p:cNvSpPr>
            <a:spLocks noGrp="1"/>
          </p:cNvSpPr>
          <p:nvPr>
            <p:ph idx="1"/>
          </p:nvPr>
        </p:nvSpPr>
        <p:spPr bwMode="gray">
          <a:xfrm>
            <a:off x="525600" y="1602000"/>
            <a:ext cx="3474000" cy="449640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3" name="picture">
            <a:extLst>
              <a:ext uri="{FF2B5EF4-FFF2-40B4-BE49-F238E27FC236}">
                <a16:creationId xmlns:a16="http://schemas.microsoft.com/office/drawing/2014/main" id="{BABEB990-4C1B-4759-A188-C0625F2363AF}"/>
              </a:ext>
            </a:extLst>
          </p:cNvPr>
          <p:cNvSpPr>
            <a:spLocks noGrp="1"/>
          </p:cNvSpPr>
          <p:nvPr>
            <p:ph type="pic" sz="quarter" idx="16"/>
          </p:nvPr>
        </p:nvSpPr>
        <p:spPr bwMode="gray">
          <a:xfrm>
            <a:off x="4287684" y="0"/>
            <a:ext cx="7904316" cy="6858000"/>
          </a:xfrm>
          <a:custGeom>
            <a:avLst/>
            <a:gdLst>
              <a:gd name="connsiteX0" fmla="*/ 6621659 w 7904316"/>
              <a:gd name="connsiteY0" fmla="*/ 6535879 h 6858000"/>
              <a:gd name="connsiteX1" fmla="*/ 6704484 w 7904316"/>
              <a:gd name="connsiteY1" fmla="*/ 6535879 h 6858000"/>
              <a:gd name="connsiteX2" fmla="*/ 6704484 w 7904316"/>
              <a:gd name="connsiteY2" fmla="*/ 6598745 h 6858000"/>
              <a:gd name="connsiteX3" fmla="*/ 6621659 w 7904316"/>
              <a:gd name="connsiteY3" fmla="*/ 6598745 h 6858000"/>
              <a:gd name="connsiteX4" fmla="*/ 7275572 w 7904316"/>
              <a:gd name="connsiteY4" fmla="*/ 6534690 h 6858000"/>
              <a:gd name="connsiteX5" fmla="*/ 7331531 w 7904316"/>
              <a:gd name="connsiteY5" fmla="*/ 6534690 h 6858000"/>
              <a:gd name="connsiteX6" fmla="*/ 7342725 w 7904316"/>
              <a:gd name="connsiteY6" fmla="*/ 6542786 h 6858000"/>
              <a:gd name="connsiteX7" fmla="*/ 7342725 w 7904316"/>
              <a:gd name="connsiteY7" fmla="*/ 6554455 h 6858000"/>
              <a:gd name="connsiteX8" fmla="*/ 7331531 w 7904316"/>
              <a:gd name="connsiteY8" fmla="*/ 6562550 h 6858000"/>
              <a:gd name="connsiteX9" fmla="*/ 7275572 w 7904316"/>
              <a:gd name="connsiteY9" fmla="*/ 6562550 h 6858000"/>
              <a:gd name="connsiteX10" fmla="*/ 6622622 w 7904316"/>
              <a:gd name="connsiteY10" fmla="*/ 6517318 h 6858000"/>
              <a:gd name="connsiteX11" fmla="*/ 6595906 w 7904316"/>
              <a:gd name="connsiteY11" fmla="*/ 6541122 h 6858000"/>
              <a:gd name="connsiteX12" fmla="*/ 6595906 w 7904316"/>
              <a:gd name="connsiteY12" fmla="*/ 6594223 h 6858000"/>
              <a:gd name="connsiteX13" fmla="*/ 6622622 w 7904316"/>
              <a:gd name="connsiteY13" fmla="*/ 6618042 h 6858000"/>
              <a:gd name="connsiteX14" fmla="*/ 6702046 w 7904316"/>
              <a:gd name="connsiteY14" fmla="*/ 6618042 h 6858000"/>
              <a:gd name="connsiteX15" fmla="*/ 6728762 w 7904316"/>
              <a:gd name="connsiteY15" fmla="*/ 6594223 h 6858000"/>
              <a:gd name="connsiteX16" fmla="*/ 6728762 w 7904316"/>
              <a:gd name="connsiteY16" fmla="*/ 6541122 h 6858000"/>
              <a:gd name="connsiteX17" fmla="*/ 6702046 w 7904316"/>
              <a:gd name="connsiteY17" fmla="*/ 6517318 h 6858000"/>
              <a:gd name="connsiteX18" fmla="*/ 7251301 w 7904316"/>
              <a:gd name="connsiteY18" fmla="*/ 6517311 h 6858000"/>
              <a:gd name="connsiteX19" fmla="*/ 7251301 w 7904316"/>
              <a:gd name="connsiteY19" fmla="*/ 6618035 h 6858000"/>
              <a:gd name="connsiteX20" fmla="*/ 7275579 w 7904316"/>
              <a:gd name="connsiteY20" fmla="*/ 6618035 h 6858000"/>
              <a:gd name="connsiteX21" fmla="*/ 7275579 w 7904316"/>
              <a:gd name="connsiteY21" fmla="*/ 6579929 h 6858000"/>
              <a:gd name="connsiteX22" fmla="*/ 7298676 w 7904316"/>
              <a:gd name="connsiteY22" fmla="*/ 6579929 h 6858000"/>
              <a:gd name="connsiteX23" fmla="*/ 7340822 w 7904316"/>
              <a:gd name="connsiteY23" fmla="*/ 6618035 h 6858000"/>
              <a:gd name="connsiteX24" fmla="*/ 7376069 w 7904316"/>
              <a:gd name="connsiteY24" fmla="*/ 6618035 h 6858000"/>
              <a:gd name="connsiteX25" fmla="*/ 7328213 w 7904316"/>
              <a:gd name="connsiteY25" fmla="*/ 6579929 h 6858000"/>
              <a:gd name="connsiteX26" fmla="*/ 7342026 w 7904316"/>
              <a:gd name="connsiteY26" fmla="*/ 6579929 h 6858000"/>
              <a:gd name="connsiteX27" fmla="*/ 7365596 w 7904316"/>
              <a:gd name="connsiteY27" fmla="*/ 6560639 h 6858000"/>
              <a:gd name="connsiteX28" fmla="*/ 7365596 w 7904316"/>
              <a:gd name="connsiteY28" fmla="*/ 6536835 h 6858000"/>
              <a:gd name="connsiteX29" fmla="*/ 7342026 w 7904316"/>
              <a:gd name="connsiteY29" fmla="*/ 6517311 h 6858000"/>
              <a:gd name="connsiteX30" fmla="*/ 7113961 w 7904316"/>
              <a:gd name="connsiteY30" fmla="*/ 6517311 h 6858000"/>
              <a:gd name="connsiteX31" fmla="*/ 7113961 w 7904316"/>
              <a:gd name="connsiteY31" fmla="*/ 6618035 h 6858000"/>
              <a:gd name="connsiteX32" fmla="*/ 7225435 w 7904316"/>
              <a:gd name="connsiteY32" fmla="*/ 6618035 h 6858000"/>
              <a:gd name="connsiteX33" fmla="*/ 7225435 w 7904316"/>
              <a:gd name="connsiteY33" fmla="*/ 6599219 h 6858000"/>
              <a:gd name="connsiteX34" fmla="*/ 7139225 w 7904316"/>
              <a:gd name="connsiteY34" fmla="*/ 6599219 h 6858000"/>
              <a:gd name="connsiteX35" fmla="*/ 7139225 w 7904316"/>
              <a:gd name="connsiteY35" fmla="*/ 6574452 h 6858000"/>
              <a:gd name="connsiteX36" fmla="*/ 7188774 w 7904316"/>
              <a:gd name="connsiteY36" fmla="*/ 6574452 h 6858000"/>
              <a:gd name="connsiteX37" fmla="*/ 7188774 w 7904316"/>
              <a:gd name="connsiteY37" fmla="*/ 6557073 h 6858000"/>
              <a:gd name="connsiteX38" fmla="*/ 7139225 w 7904316"/>
              <a:gd name="connsiteY38" fmla="*/ 6557073 h 6858000"/>
              <a:gd name="connsiteX39" fmla="*/ 7139225 w 7904316"/>
              <a:gd name="connsiteY39" fmla="*/ 6535179 h 6858000"/>
              <a:gd name="connsiteX40" fmla="*/ 7224224 w 7904316"/>
              <a:gd name="connsiteY40" fmla="*/ 6535179 h 6858000"/>
              <a:gd name="connsiteX41" fmla="*/ 7224224 w 7904316"/>
              <a:gd name="connsiteY41" fmla="*/ 6517311 h 6858000"/>
              <a:gd name="connsiteX42" fmla="*/ 6937770 w 7904316"/>
              <a:gd name="connsiteY42" fmla="*/ 6517311 h 6858000"/>
              <a:gd name="connsiteX43" fmla="*/ 6937770 w 7904316"/>
              <a:gd name="connsiteY43" fmla="*/ 6618035 h 6858000"/>
              <a:gd name="connsiteX44" fmla="*/ 6960739 w 7904316"/>
              <a:gd name="connsiteY44" fmla="*/ 6618035 h 6858000"/>
              <a:gd name="connsiteX45" fmla="*/ 6960739 w 7904316"/>
              <a:gd name="connsiteY45" fmla="*/ 6550414 h 6858000"/>
              <a:gd name="connsiteX46" fmla="*/ 7007121 w 7904316"/>
              <a:gd name="connsiteY46" fmla="*/ 6605892 h 6858000"/>
              <a:gd name="connsiteX47" fmla="*/ 7011981 w 7904316"/>
              <a:gd name="connsiteY47" fmla="*/ 6605892 h 6858000"/>
              <a:gd name="connsiteX48" fmla="*/ 7057874 w 7904316"/>
              <a:gd name="connsiteY48" fmla="*/ 6548737 h 6858000"/>
              <a:gd name="connsiteX49" fmla="*/ 7057874 w 7904316"/>
              <a:gd name="connsiteY49" fmla="*/ 6618035 h 6858000"/>
              <a:gd name="connsiteX50" fmla="*/ 7081189 w 7904316"/>
              <a:gd name="connsiteY50" fmla="*/ 6618035 h 6858000"/>
              <a:gd name="connsiteX51" fmla="*/ 7081189 w 7904316"/>
              <a:gd name="connsiteY51" fmla="*/ 6517311 h 6858000"/>
              <a:gd name="connsiteX52" fmla="*/ 7061041 w 7904316"/>
              <a:gd name="connsiteY52" fmla="*/ 6517311 h 6858000"/>
              <a:gd name="connsiteX53" fmla="*/ 7011003 w 7904316"/>
              <a:gd name="connsiteY53" fmla="*/ 6577070 h 6858000"/>
              <a:gd name="connsiteX54" fmla="*/ 6960739 w 7904316"/>
              <a:gd name="connsiteY54" fmla="*/ 6517311 h 6858000"/>
              <a:gd name="connsiteX55" fmla="*/ 6760451 w 7904316"/>
              <a:gd name="connsiteY55" fmla="*/ 6517311 h 6858000"/>
              <a:gd name="connsiteX56" fmla="*/ 6760451 w 7904316"/>
              <a:gd name="connsiteY56" fmla="*/ 6618035 h 6858000"/>
              <a:gd name="connsiteX57" fmla="*/ 6783412 w 7904316"/>
              <a:gd name="connsiteY57" fmla="*/ 6618035 h 6858000"/>
              <a:gd name="connsiteX58" fmla="*/ 6783412 w 7904316"/>
              <a:gd name="connsiteY58" fmla="*/ 6550414 h 6858000"/>
              <a:gd name="connsiteX59" fmla="*/ 6829794 w 7904316"/>
              <a:gd name="connsiteY59" fmla="*/ 6605892 h 6858000"/>
              <a:gd name="connsiteX60" fmla="*/ 6834647 w 7904316"/>
              <a:gd name="connsiteY60" fmla="*/ 6605892 h 6858000"/>
              <a:gd name="connsiteX61" fmla="*/ 6880555 w 7904316"/>
              <a:gd name="connsiteY61" fmla="*/ 6548737 h 6858000"/>
              <a:gd name="connsiteX62" fmla="*/ 6880555 w 7904316"/>
              <a:gd name="connsiteY62" fmla="*/ 6618035 h 6858000"/>
              <a:gd name="connsiteX63" fmla="*/ 6903870 w 7904316"/>
              <a:gd name="connsiteY63" fmla="*/ 6618035 h 6858000"/>
              <a:gd name="connsiteX64" fmla="*/ 6903870 w 7904316"/>
              <a:gd name="connsiteY64" fmla="*/ 6517311 h 6858000"/>
              <a:gd name="connsiteX65" fmla="*/ 6883715 w 7904316"/>
              <a:gd name="connsiteY65" fmla="*/ 6517311 h 6858000"/>
              <a:gd name="connsiteX66" fmla="*/ 6833684 w 7904316"/>
              <a:gd name="connsiteY66" fmla="*/ 6577070 h 6858000"/>
              <a:gd name="connsiteX67" fmla="*/ 6783412 w 7904316"/>
              <a:gd name="connsiteY67" fmla="*/ 6517311 h 6858000"/>
              <a:gd name="connsiteX68" fmla="*/ 6464593 w 7904316"/>
              <a:gd name="connsiteY68" fmla="*/ 6495162 h 6858000"/>
              <a:gd name="connsiteX69" fmla="*/ 6434115 w 7904316"/>
              <a:gd name="connsiteY69" fmla="*/ 6524218 h 6858000"/>
              <a:gd name="connsiteX70" fmla="*/ 6434115 w 7904316"/>
              <a:gd name="connsiteY70" fmla="*/ 6537775 h 6858000"/>
              <a:gd name="connsiteX71" fmla="*/ 6464593 w 7904316"/>
              <a:gd name="connsiteY71" fmla="*/ 6566830 h 6858000"/>
              <a:gd name="connsiteX72" fmla="*/ 6541271 w 7904316"/>
              <a:gd name="connsiteY72" fmla="*/ 6566830 h 6858000"/>
              <a:gd name="connsiteX73" fmla="*/ 6541271 w 7904316"/>
              <a:gd name="connsiteY73" fmla="*/ 6594930 h 6858000"/>
              <a:gd name="connsiteX74" fmla="*/ 6454368 w 7904316"/>
              <a:gd name="connsiteY74" fmla="*/ 6594930 h 6858000"/>
              <a:gd name="connsiteX75" fmla="*/ 6454368 w 7904316"/>
              <a:gd name="connsiteY75" fmla="*/ 6581704 h 6858000"/>
              <a:gd name="connsiteX76" fmla="*/ 6429112 w 7904316"/>
              <a:gd name="connsiteY76" fmla="*/ 6586948 h 6858000"/>
              <a:gd name="connsiteX77" fmla="*/ 6429112 w 7904316"/>
              <a:gd name="connsiteY77" fmla="*/ 6588979 h 6858000"/>
              <a:gd name="connsiteX78" fmla="*/ 6459830 w 7904316"/>
              <a:gd name="connsiteY78" fmla="*/ 6618027 h 6858000"/>
              <a:gd name="connsiteX79" fmla="*/ 6535802 w 7904316"/>
              <a:gd name="connsiteY79" fmla="*/ 6618027 h 6858000"/>
              <a:gd name="connsiteX80" fmla="*/ 6566520 w 7904316"/>
              <a:gd name="connsiteY80" fmla="*/ 6588979 h 6858000"/>
              <a:gd name="connsiteX81" fmla="*/ 6566520 w 7904316"/>
              <a:gd name="connsiteY81" fmla="*/ 6572074 h 6858000"/>
              <a:gd name="connsiteX82" fmla="*/ 6535802 w 7904316"/>
              <a:gd name="connsiteY82" fmla="*/ 6543019 h 6858000"/>
              <a:gd name="connsiteX83" fmla="*/ 6459115 w 7904316"/>
              <a:gd name="connsiteY83" fmla="*/ 6543019 h 6858000"/>
              <a:gd name="connsiteX84" fmla="*/ 6459115 w 7904316"/>
              <a:gd name="connsiteY84" fmla="*/ 6516596 h 6858000"/>
              <a:gd name="connsiteX85" fmla="*/ 6539601 w 7904316"/>
              <a:gd name="connsiteY85" fmla="*/ 6516596 h 6858000"/>
              <a:gd name="connsiteX86" fmla="*/ 6539601 w 7904316"/>
              <a:gd name="connsiteY86" fmla="*/ 6529905 h 6858000"/>
              <a:gd name="connsiteX87" fmla="*/ 6564842 w 7904316"/>
              <a:gd name="connsiteY87" fmla="*/ 6523954 h 6858000"/>
              <a:gd name="connsiteX88" fmla="*/ 6564842 w 7904316"/>
              <a:gd name="connsiteY88" fmla="*/ 6522074 h 6858000"/>
              <a:gd name="connsiteX89" fmla="*/ 6534365 w 7904316"/>
              <a:gd name="connsiteY89" fmla="*/ 6495162 h 6858000"/>
              <a:gd name="connsiteX90" fmla="*/ 7266537 w 7904316"/>
              <a:gd name="connsiteY90" fmla="*/ 6392873 h 6858000"/>
              <a:gd name="connsiteX91" fmla="*/ 7303439 w 7904316"/>
              <a:gd name="connsiteY91" fmla="*/ 6423591 h 6858000"/>
              <a:gd name="connsiteX92" fmla="*/ 7292011 w 7904316"/>
              <a:gd name="connsiteY92" fmla="*/ 6433349 h 6858000"/>
              <a:gd name="connsiteX93" fmla="*/ 7235111 w 7904316"/>
              <a:gd name="connsiteY93" fmla="*/ 6433349 h 6858000"/>
              <a:gd name="connsiteX94" fmla="*/ 7235111 w 7904316"/>
              <a:gd name="connsiteY94" fmla="*/ 6433342 h 6858000"/>
              <a:gd name="connsiteX95" fmla="*/ 7235111 w 7904316"/>
              <a:gd name="connsiteY95" fmla="*/ 6412396 h 6858000"/>
              <a:gd name="connsiteX96" fmla="*/ 6635848 w 7904316"/>
              <a:gd name="connsiteY96" fmla="*/ 6371439 h 6858000"/>
              <a:gd name="connsiteX97" fmla="*/ 6691807 w 7904316"/>
              <a:gd name="connsiteY97" fmla="*/ 6371439 h 6858000"/>
              <a:gd name="connsiteX98" fmla="*/ 6703001 w 7904316"/>
              <a:gd name="connsiteY98" fmla="*/ 6379534 h 6858000"/>
              <a:gd name="connsiteX99" fmla="*/ 6703001 w 7904316"/>
              <a:gd name="connsiteY99" fmla="*/ 6391203 h 6858000"/>
              <a:gd name="connsiteX100" fmla="*/ 6691807 w 7904316"/>
              <a:gd name="connsiteY100" fmla="*/ 6399298 h 6858000"/>
              <a:gd name="connsiteX101" fmla="*/ 6635848 w 7904316"/>
              <a:gd name="connsiteY101" fmla="*/ 6399298 h 6858000"/>
              <a:gd name="connsiteX102" fmla="*/ 7061621 w 7904316"/>
              <a:gd name="connsiteY102" fmla="*/ 6354060 h 6858000"/>
              <a:gd name="connsiteX103" fmla="*/ 7035184 w 7904316"/>
              <a:gd name="connsiteY103" fmla="*/ 6377879 h 6858000"/>
              <a:gd name="connsiteX104" fmla="*/ 7035184 w 7904316"/>
              <a:gd name="connsiteY104" fmla="*/ 6389074 h 6858000"/>
              <a:gd name="connsiteX105" fmla="*/ 7061621 w 7904316"/>
              <a:gd name="connsiteY105" fmla="*/ 6412878 h 6858000"/>
              <a:gd name="connsiteX106" fmla="*/ 7126857 w 7904316"/>
              <a:gd name="connsiteY106" fmla="*/ 6412878 h 6858000"/>
              <a:gd name="connsiteX107" fmla="*/ 7126857 w 7904316"/>
              <a:gd name="connsiteY107" fmla="*/ 6435983 h 6858000"/>
              <a:gd name="connsiteX108" fmla="*/ 7052796 w 7904316"/>
              <a:gd name="connsiteY108" fmla="*/ 6435983 h 6858000"/>
              <a:gd name="connsiteX109" fmla="*/ 7052796 w 7904316"/>
              <a:gd name="connsiteY109" fmla="*/ 6425375 h 6858000"/>
              <a:gd name="connsiteX110" fmla="*/ 7030903 w 7904316"/>
              <a:gd name="connsiteY110" fmla="*/ 6429430 h 6858000"/>
              <a:gd name="connsiteX111" fmla="*/ 7030903 w 7904316"/>
              <a:gd name="connsiteY111" fmla="*/ 6430980 h 6858000"/>
              <a:gd name="connsiteX112" fmla="*/ 7057325 w 7904316"/>
              <a:gd name="connsiteY112" fmla="*/ 6454784 h 6858000"/>
              <a:gd name="connsiteX113" fmla="*/ 7122817 w 7904316"/>
              <a:gd name="connsiteY113" fmla="*/ 6454784 h 6858000"/>
              <a:gd name="connsiteX114" fmla="*/ 7149006 w 7904316"/>
              <a:gd name="connsiteY114" fmla="*/ 6430980 h 6858000"/>
              <a:gd name="connsiteX115" fmla="*/ 7149006 w 7904316"/>
              <a:gd name="connsiteY115" fmla="*/ 6417166 h 6858000"/>
              <a:gd name="connsiteX116" fmla="*/ 7122817 w 7904316"/>
              <a:gd name="connsiteY116" fmla="*/ 6393362 h 6858000"/>
              <a:gd name="connsiteX117" fmla="*/ 7057325 w 7904316"/>
              <a:gd name="connsiteY117" fmla="*/ 6393362 h 6858000"/>
              <a:gd name="connsiteX118" fmla="*/ 7057325 w 7904316"/>
              <a:gd name="connsiteY118" fmla="*/ 6372154 h 6858000"/>
              <a:gd name="connsiteX119" fmla="*/ 7126616 w 7904316"/>
              <a:gd name="connsiteY119" fmla="*/ 6372154 h 6858000"/>
              <a:gd name="connsiteX120" fmla="*/ 7126616 w 7904316"/>
              <a:gd name="connsiteY120" fmla="*/ 6381565 h 6858000"/>
              <a:gd name="connsiteX121" fmla="*/ 7147802 w 7904316"/>
              <a:gd name="connsiteY121" fmla="*/ 6377051 h 6858000"/>
              <a:gd name="connsiteX122" fmla="*/ 7147802 w 7904316"/>
              <a:gd name="connsiteY122" fmla="*/ 6375968 h 6858000"/>
              <a:gd name="connsiteX123" fmla="*/ 7121380 w 7904316"/>
              <a:gd name="connsiteY123" fmla="*/ 6354060 h 6858000"/>
              <a:gd name="connsiteX124" fmla="*/ 6897287 w 7904316"/>
              <a:gd name="connsiteY124" fmla="*/ 6354060 h 6858000"/>
              <a:gd name="connsiteX125" fmla="*/ 6897287 w 7904316"/>
              <a:gd name="connsiteY125" fmla="*/ 6454776 h 6858000"/>
              <a:gd name="connsiteX126" fmla="*/ 7006580 w 7904316"/>
              <a:gd name="connsiteY126" fmla="*/ 6454776 h 6858000"/>
              <a:gd name="connsiteX127" fmla="*/ 7006580 w 7904316"/>
              <a:gd name="connsiteY127" fmla="*/ 6435967 h 6858000"/>
              <a:gd name="connsiteX128" fmla="*/ 6922054 w 7904316"/>
              <a:gd name="connsiteY128" fmla="*/ 6435967 h 6858000"/>
              <a:gd name="connsiteX129" fmla="*/ 6922054 w 7904316"/>
              <a:gd name="connsiteY129" fmla="*/ 6411200 h 6858000"/>
              <a:gd name="connsiteX130" fmla="*/ 6970626 w 7904316"/>
              <a:gd name="connsiteY130" fmla="*/ 6411200 h 6858000"/>
              <a:gd name="connsiteX131" fmla="*/ 6970626 w 7904316"/>
              <a:gd name="connsiteY131" fmla="*/ 6393821 h 6858000"/>
              <a:gd name="connsiteX132" fmla="*/ 6922054 w 7904316"/>
              <a:gd name="connsiteY132" fmla="*/ 6393821 h 6858000"/>
              <a:gd name="connsiteX133" fmla="*/ 6922054 w 7904316"/>
              <a:gd name="connsiteY133" fmla="*/ 6371913 h 6858000"/>
              <a:gd name="connsiteX134" fmla="*/ 7005399 w 7904316"/>
              <a:gd name="connsiteY134" fmla="*/ 6371913 h 6858000"/>
              <a:gd name="connsiteX135" fmla="*/ 7005399 w 7904316"/>
              <a:gd name="connsiteY135" fmla="*/ 6354060 h 6858000"/>
              <a:gd name="connsiteX136" fmla="*/ 6759578 w 7904316"/>
              <a:gd name="connsiteY136" fmla="*/ 6354060 h 6858000"/>
              <a:gd name="connsiteX137" fmla="*/ 6759578 w 7904316"/>
              <a:gd name="connsiteY137" fmla="*/ 6454776 h 6858000"/>
              <a:gd name="connsiteX138" fmla="*/ 6868871 w 7904316"/>
              <a:gd name="connsiteY138" fmla="*/ 6454776 h 6858000"/>
              <a:gd name="connsiteX139" fmla="*/ 6868871 w 7904316"/>
              <a:gd name="connsiteY139" fmla="*/ 6435967 h 6858000"/>
              <a:gd name="connsiteX140" fmla="*/ 6784345 w 7904316"/>
              <a:gd name="connsiteY140" fmla="*/ 6435967 h 6858000"/>
              <a:gd name="connsiteX141" fmla="*/ 6784345 w 7904316"/>
              <a:gd name="connsiteY141" fmla="*/ 6411200 h 6858000"/>
              <a:gd name="connsiteX142" fmla="*/ 6832917 w 7904316"/>
              <a:gd name="connsiteY142" fmla="*/ 6411200 h 6858000"/>
              <a:gd name="connsiteX143" fmla="*/ 6832917 w 7904316"/>
              <a:gd name="connsiteY143" fmla="*/ 6393821 h 6858000"/>
              <a:gd name="connsiteX144" fmla="*/ 6784345 w 7904316"/>
              <a:gd name="connsiteY144" fmla="*/ 6393821 h 6858000"/>
              <a:gd name="connsiteX145" fmla="*/ 6784345 w 7904316"/>
              <a:gd name="connsiteY145" fmla="*/ 6371913 h 6858000"/>
              <a:gd name="connsiteX146" fmla="*/ 6867690 w 7904316"/>
              <a:gd name="connsiteY146" fmla="*/ 6371913 h 6858000"/>
              <a:gd name="connsiteX147" fmla="*/ 6867690 w 7904316"/>
              <a:gd name="connsiteY147" fmla="*/ 6354060 h 6858000"/>
              <a:gd name="connsiteX148" fmla="*/ 6611562 w 7904316"/>
              <a:gd name="connsiteY148" fmla="*/ 6354060 h 6858000"/>
              <a:gd name="connsiteX149" fmla="*/ 6611562 w 7904316"/>
              <a:gd name="connsiteY149" fmla="*/ 6454776 h 6858000"/>
              <a:gd name="connsiteX150" fmla="*/ 6635855 w 7904316"/>
              <a:gd name="connsiteY150" fmla="*/ 6454776 h 6858000"/>
              <a:gd name="connsiteX151" fmla="*/ 6635855 w 7904316"/>
              <a:gd name="connsiteY151" fmla="*/ 6416670 h 6858000"/>
              <a:gd name="connsiteX152" fmla="*/ 6658952 w 7904316"/>
              <a:gd name="connsiteY152" fmla="*/ 6416670 h 6858000"/>
              <a:gd name="connsiteX153" fmla="*/ 6701098 w 7904316"/>
              <a:gd name="connsiteY153" fmla="*/ 6454776 h 6858000"/>
              <a:gd name="connsiteX154" fmla="*/ 6736345 w 7904316"/>
              <a:gd name="connsiteY154" fmla="*/ 6454776 h 6858000"/>
              <a:gd name="connsiteX155" fmla="*/ 6688474 w 7904316"/>
              <a:gd name="connsiteY155" fmla="*/ 6416670 h 6858000"/>
              <a:gd name="connsiteX156" fmla="*/ 6702287 w 7904316"/>
              <a:gd name="connsiteY156" fmla="*/ 6416670 h 6858000"/>
              <a:gd name="connsiteX157" fmla="*/ 6725865 w 7904316"/>
              <a:gd name="connsiteY157" fmla="*/ 6397395 h 6858000"/>
              <a:gd name="connsiteX158" fmla="*/ 6725865 w 7904316"/>
              <a:gd name="connsiteY158" fmla="*/ 6373583 h 6858000"/>
              <a:gd name="connsiteX159" fmla="*/ 6702287 w 7904316"/>
              <a:gd name="connsiteY159" fmla="*/ 6354060 h 6858000"/>
              <a:gd name="connsiteX160" fmla="*/ 6461741 w 7904316"/>
              <a:gd name="connsiteY160" fmla="*/ 6353819 h 6858000"/>
              <a:gd name="connsiteX161" fmla="*/ 6512456 w 7904316"/>
              <a:gd name="connsiteY161" fmla="*/ 6353819 h 6858000"/>
              <a:gd name="connsiteX162" fmla="*/ 6552940 w 7904316"/>
              <a:gd name="connsiteY162" fmla="*/ 6392158 h 6858000"/>
              <a:gd name="connsiteX163" fmla="*/ 6498643 w 7904316"/>
              <a:gd name="connsiteY163" fmla="*/ 6431686 h 6858000"/>
              <a:gd name="connsiteX164" fmla="*/ 6461741 w 7904316"/>
              <a:gd name="connsiteY164" fmla="*/ 6431686 h 6858000"/>
              <a:gd name="connsiteX165" fmla="*/ 7271306 w 7904316"/>
              <a:gd name="connsiteY165" fmla="*/ 6331911 h 6858000"/>
              <a:gd name="connsiteX166" fmla="*/ 7240829 w 7904316"/>
              <a:gd name="connsiteY166" fmla="*/ 6354293 h 6858000"/>
              <a:gd name="connsiteX167" fmla="*/ 7240829 w 7904316"/>
              <a:gd name="connsiteY167" fmla="*/ 6361192 h 6858000"/>
              <a:gd name="connsiteX168" fmla="*/ 7251309 w 7904316"/>
              <a:gd name="connsiteY168" fmla="*/ 6379767 h 6858000"/>
              <a:gd name="connsiteX169" fmla="*/ 7226294 w 7904316"/>
              <a:gd name="connsiteY169" fmla="*/ 6394776 h 6858000"/>
              <a:gd name="connsiteX170" fmla="*/ 7211059 w 7904316"/>
              <a:gd name="connsiteY170" fmla="*/ 6417633 h 6858000"/>
              <a:gd name="connsiteX171" fmla="*/ 7211059 w 7904316"/>
              <a:gd name="connsiteY171" fmla="*/ 6425728 h 6858000"/>
              <a:gd name="connsiteX172" fmla="*/ 7241770 w 7904316"/>
              <a:gd name="connsiteY172" fmla="*/ 6454776 h 6858000"/>
              <a:gd name="connsiteX173" fmla="*/ 7285586 w 7904316"/>
              <a:gd name="connsiteY173" fmla="*/ 6454776 h 6858000"/>
              <a:gd name="connsiteX174" fmla="*/ 7308683 w 7904316"/>
              <a:gd name="connsiteY174" fmla="*/ 6447388 h 6858000"/>
              <a:gd name="connsiteX175" fmla="*/ 7319637 w 7904316"/>
              <a:gd name="connsiteY175" fmla="*/ 6437630 h 6858000"/>
              <a:gd name="connsiteX176" fmla="*/ 7339875 w 7904316"/>
              <a:gd name="connsiteY176" fmla="*/ 6454776 h 6858000"/>
              <a:gd name="connsiteX177" fmla="*/ 7377266 w 7904316"/>
              <a:gd name="connsiteY177" fmla="*/ 6454776 h 6858000"/>
              <a:gd name="connsiteX178" fmla="*/ 7338453 w 7904316"/>
              <a:gd name="connsiteY178" fmla="*/ 6422147 h 6858000"/>
              <a:gd name="connsiteX179" fmla="*/ 7366786 w 7904316"/>
              <a:gd name="connsiteY179" fmla="*/ 6398583 h 6858000"/>
              <a:gd name="connsiteX180" fmla="*/ 7350588 w 7904316"/>
              <a:gd name="connsiteY180" fmla="*/ 6384537 h 6858000"/>
              <a:gd name="connsiteX181" fmla="*/ 7322014 w 7904316"/>
              <a:gd name="connsiteY181" fmla="*/ 6408341 h 6858000"/>
              <a:gd name="connsiteX182" fmla="*/ 7264152 w 7904316"/>
              <a:gd name="connsiteY182" fmla="*/ 6360244 h 6858000"/>
              <a:gd name="connsiteX183" fmla="*/ 7264152 w 7904316"/>
              <a:gd name="connsiteY183" fmla="*/ 6351434 h 6858000"/>
              <a:gd name="connsiteX184" fmla="*/ 7304402 w 7904316"/>
              <a:gd name="connsiteY184" fmla="*/ 6351434 h 6858000"/>
              <a:gd name="connsiteX185" fmla="*/ 7304402 w 7904316"/>
              <a:gd name="connsiteY185" fmla="*/ 6367873 h 6858000"/>
              <a:gd name="connsiteX186" fmla="*/ 7326536 w 7904316"/>
              <a:gd name="connsiteY186" fmla="*/ 6364066 h 6858000"/>
              <a:gd name="connsiteX187" fmla="*/ 7326536 w 7904316"/>
              <a:gd name="connsiteY187" fmla="*/ 6356678 h 6858000"/>
              <a:gd name="connsiteX188" fmla="*/ 7296058 w 7904316"/>
              <a:gd name="connsiteY188" fmla="*/ 6331911 h 6858000"/>
              <a:gd name="connsiteX189" fmla="*/ 6433167 w 7904316"/>
              <a:gd name="connsiteY189" fmla="*/ 6331911 h 6858000"/>
              <a:gd name="connsiteX190" fmla="*/ 6433167 w 7904316"/>
              <a:gd name="connsiteY190" fmla="*/ 6454776 h 6858000"/>
              <a:gd name="connsiteX191" fmla="*/ 6504843 w 7904316"/>
              <a:gd name="connsiteY191" fmla="*/ 6454776 h 6858000"/>
              <a:gd name="connsiteX192" fmla="*/ 6555325 w 7904316"/>
              <a:gd name="connsiteY192" fmla="*/ 6445259 h 6858000"/>
              <a:gd name="connsiteX193" fmla="*/ 6582462 w 7904316"/>
              <a:gd name="connsiteY193" fmla="*/ 6392632 h 6858000"/>
              <a:gd name="connsiteX194" fmla="*/ 6512216 w 7904316"/>
              <a:gd name="connsiteY194" fmla="*/ 6331911 h 6858000"/>
              <a:gd name="connsiteX195" fmla="*/ 0 w 7904316"/>
              <a:gd name="connsiteY195" fmla="*/ 0 h 6858000"/>
              <a:gd name="connsiteX196" fmla="*/ 7904316 w 7904316"/>
              <a:gd name="connsiteY196" fmla="*/ 0 h 6858000"/>
              <a:gd name="connsiteX197" fmla="*/ 7904316 w 7904316"/>
              <a:gd name="connsiteY197" fmla="*/ 6858000 h 6858000"/>
              <a:gd name="connsiteX198" fmla="*/ 0 w 7904316"/>
              <a:gd name="connsiteY19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Lst>
            <a:rect l="l" t="t" r="r" b="b"/>
            <a:pathLst>
              <a:path w="7904316" h="6858000">
                <a:moveTo>
                  <a:pt x="6621659" y="6535879"/>
                </a:moveTo>
                <a:lnTo>
                  <a:pt x="6704484" y="6535879"/>
                </a:lnTo>
                <a:lnTo>
                  <a:pt x="6704484" y="6598745"/>
                </a:lnTo>
                <a:lnTo>
                  <a:pt x="6621659" y="6598745"/>
                </a:lnTo>
                <a:close/>
                <a:moveTo>
                  <a:pt x="7275572" y="6534690"/>
                </a:moveTo>
                <a:lnTo>
                  <a:pt x="7331531" y="6534690"/>
                </a:lnTo>
                <a:cubicBezTo>
                  <a:pt x="7338903" y="6534690"/>
                  <a:pt x="7342725" y="6536127"/>
                  <a:pt x="7342725" y="6542786"/>
                </a:cubicBezTo>
                <a:lnTo>
                  <a:pt x="7342725" y="6554455"/>
                </a:lnTo>
                <a:cubicBezTo>
                  <a:pt x="7342725" y="6561128"/>
                  <a:pt x="7338903" y="6562550"/>
                  <a:pt x="7331531" y="6562550"/>
                </a:cubicBezTo>
                <a:lnTo>
                  <a:pt x="7275572" y="6562550"/>
                </a:lnTo>
                <a:close/>
                <a:moveTo>
                  <a:pt x="6622622" y="6517318"/>
                </a:moveTo>
                <a:cubicBezTo>
                  <a:pt x="6602474" y="6517318"/>
                  <a:pt x="6595906" y="6521832"/>
                  <a:pt x="6595906" y="6541122"/>
                </a:cubicBezTo>
                <a:lnTo>
                  <a:pt x="6595906" y="6594223"/>
                </a:lnTo>
                <a:cubicBezTo>
                  <a:pt x="6595906" y="6613272"/>
                  <a:pt x="6602218" y="6618042"/>
                  <a:pt x="6622622" y="6618042"/>
                </a:cubicBezTo>
                <a:lnTo>
                  <a:pt x="6702046" y="6618042"/>
                </a:lnTo>
                <a:cubicBezTo>
                  <a:pt x="6722202" y="6618042"/>
                  <a:pt x="6728762" y="6613272"/>
                  <a:pt x="6728762" y="6594223"/>
                </a:cubicBezTo>
                <a:lnTo>
                  <a:pt x="6728762" y="6541122"/>
                </a:lnTo>
                <a:cubicBezTo>
                  <a:pt x="6728762" y="6521832"/>
                  <a:pt x="6722194" y="6517318"/>
                  <a:pt x="6702046" y="6517318"/>
                </a:cubicBezTo>
                <a:close/>
                <a:moveTo>
                  <a:pt x="7251301" y="6517311"/>
                </a:moveTo>
                <a:lnTo>
                  <a:pt x="7251301" y="6618035"/>
                </a:lnTo>
                <a:lnTo>
                  <a:pt x="7275579" y="6618035"/>
                </a:lnTo>
                <a:lnTo>
                  <a:pt x="7275579" y="6579929"/>
                </a:lnTo>
                <a:lnTo>
                  <a:pt x="7298676" y="6579929"/>
                </a:lnTo>
                <a:lnTo>
                  <a:pt x="7340822" y="6618035"/>
                </a:lnTo>
                <a:lnTo>
                  <a:pt x="7376069" y="6618035"/>
                </a:lnTo>
                <a:lnTo>
                  <a:pt x="7328213" y="6579929"/>
                </a:lnTo>
                <a:lnTo>
                  <a:pt x="7342026" y="6579929"/>
                </a:lnTo>
                <a:cubicBezTo>
                  <a:pt x="7358208" y="6579929"/>
                  <a:pt x="7365596" y="6574452"/>
                  <a:pt x="7365596" y="6560639"/>
                </a:cubicBezTo>
                <a:lnTo>
                  <a:pt x="7365596" y="6536835"/>
                </a:lnTo>
                <a:cubicBezTo>
                  <a:pt x="7365596" y="6522788"/>
                  <a:pt x="7358208" y="6517311"/>
                  <a:pt x="7342026" y="6517311"/>
                </a:cubicBezTo>
                <a:close/>
                <a:moveTo>
                  <a:pt x="7113961" y="6517311"/>
                </a:moveTo>
                <a:lnTo>
                  <a:pt x="7113961" y="6618035"/>
                </a:lnTo>
                <a:lnTo>
                  <a:pt x="7225435" y="6618035"/>
                </a:lnTo>
                <a:lnTo>
                  <a:pt x="7225435" y="6599219"/>
                </a:lnTo>
                <a:lnTo>
                  <a:pt x="7139225" y="6599219"/>
                </a:lnTo>
                <a:lnTo>
                  <a:pt x="7139225" y="6574452"/>
                </a:lnTo>
                <a:lnTo>
                  <a:pt x="7188774" y="6574452"/>
                </a:lnTo>
                <a:lnTo>
                  <a:pt x="7188774" y="6557073"/>
                </a:lnTo>
                <a:lnTo>
                  <a:pt x="7139225" y="6557073"/>
                </a:lnTo>
                <a:lnTo>
                  <a:pt x="7139225" y="6535179"/>
                </a:lnTo>
                <a:lnTo>
                  <a:pt x="7224224" y="6535179"/>
                </a:lnTo>
                <a:lnTo>
                  <a:pt x="7224224" y="6517311"/>
                </a:lnTo>
                <a:close/>
                <a:moveTo>
                  <a:pt x="6937770" y="6517311"/>
                </a:moveTo>
                <a:lnTo>
                  <a:pt x="6937770" y="6618035"/>
                </a:lnTo>
                <a:lnTo>
                  <a:pt x="6960739" y="6618035"/>
                </a:lnTo>
                <a:lnTo>
                  <a:pt x="6960739" y="6550414"/>
                </a:lnTo>
                <a:lnTo>
                  <a:pt x="7007121" y="6605892"/>
                </a:lnTo>
                <a:lnTo>
                  <a:pt x="7011981" y="6605892"/>
                </a:lnTo>
                <a:lnTo>
                  <a:pt x="7057874" y="6548737"/>
                </a:lnTo>
                <a:lnTo>
                  <a:pt x="7057874" y="6618035"/>
                </a:lnTo>
                <a:lnTo>
                  <a:pt x="7081189" y="6618035"/>
                </a:lnTo>
                <a:lnTo>
                  <a:pt x="7081189" y="6517311"/>
                </a:lnTo>
                <a:lnTo>
                  <a:pt x="7061041" y="6517311"/>
                </a:lnTo>
                <a:lnTo>
                  <a:pt x="7011003" y="6577070"/>
                </a:lnTo>
                <a:lnTo>
                  <a:pt x="6960739" y="6517311"/>
                </a:lnTo>
                <a:close/>
                <a:moveTo>
                  <a:pt x="6760451" y="6517311"/>
                </a:moveTo>
                <a:lnTo>
                  <a:pt x="6760451" y="6618035"/>
                </a:lnTo>
                <a:lnTo>
                  <a:pt x="6783412" y="6618035"/>
                </a:lnTo>
                <a:lnTo>
                  <a:pt x="6783412" y="6550414"/>
                </a:lnTo>
                <a:lnTo>
                  <a:pt x="6829794" y="6605892"/>
                </a:lnTo>
                <a:lnTo>
                  <a:pt x="6834647" y="6605892"/>
                </a:lnTo>
                <a:lnTo>
                  <a:pt x="6880555" y="6548737"/>
                </a:lnTo>
                <a:lnTo>
                  <a:pt x="6880555" y="6618035"/>
                </a:lnTo>
                <a:lnTo>
                  <a:pt x="6903870" y="6618035"/>
                </a:lnTo>
                <a:lnTo>
                  <a:pt x="6903870" y="6517311"/>
                </a:lnTo>
                <a:lnTo>
                  <a:pt x="6883715" y="6517311"/>
                </a:lnTo>
                <a:lnTo>
                  <a:pt x="6833684" y="6577070"/>
                </a:lnTo>
                <a:lnTo>
                  <a:pt x="6783412" y="6517311"/>
                </a:lnTo>
                <a:close/>
                <a:moveTo>
                  <a:pt x="6464593" y="6495162"/>
                </a:moveTo>
                <a:cubicBezTo>
                  <a:pt x="6441496" y="6495162"/>
                  <a:pt x="6434115" y="6501113"/>
                  <a:pt x="6434115" y="6524218"/>
                </a:cubicBezTo>
                <a:lnTo>
                  <a:pt x="6434115" y="6537775"/>
                </a:lnTo>
                <a:cubicBezTo>
                  <a:pt x="6434115" y="6560879"/>
                  <a:pt x="6441503" y="6566830"/>
                  <a:pt x="6464593" y="6566830"/>
                </a:cubicBezTo>
                <a:lnTo>
                  <a:pt x="6541271" y="6566830"/>
                </a:lnTo>
                <a:lnTo>
                  <a:pt x="6541271" y="6594930"/>
                </a:lnTo>
                <a:lnTo>
                  <a:pt x="6454368" y="6594930"/>
                </a:lnTo>
                <a:lnTo>
                  <a:pt x="6454368" y="6581704"/>
                </a:lnTo>
                <a:lnTo>
                  <a:pt x="6429112" y="6586948"/>
                </a:lnTo>
                <a:lnTo>
                  <a:pt x="6429112" y="6588979"/>
                </a:lnTo>
                <a:cubicBezTo>
                  <a:pt x="6429112" y="6612076"/>
                  <a:pt x="6436733" y="6618027"/>
                  <a:pt x="6459830" y="6618027"/>
                </a:cubicBezTo>
                <a:lnTo>
                  <a:pt x="6535802" y="6618027"/>
                </a:lnTo>
                <a:cubicBezTo>
                  <a:pt x="6558899" y="6618027"/>
                  <a:pt x="6566520" y="6612076"/>
                  <a:pt x="6566520" y="6588979"/>
                </a:cubicBezTo>
                <a:lnTo>
                  <a:pt x="6566520" y="6572074"/>
                </a:lnTo>
                <a:cubicBezTo>
                  <a:pt x="6566520" y="6548970"/>
                  <a:pt x="6558899" y="6543019"/>
                  <a:pt x="6535802" y="6543019"/>
                </a:cubicBezTo>
                <a:lnTo>
                  <a:pt x="6459115" y="6543019"/>
                </a:lnTo>
                <a:lnTo>
                  <a:pt x="6459115" y="6516596"/>
                </a:lnTo>
                <a:lnTo>
                  <a:pt x="6539601" y="6516596"/>
                </a:lnTo>
                <a:lnTo>
                  <a:pt x="6539601" y="6529905"/>
                </a:lnTo>
                <a:lnTo>
                  <a:pt x="6564842" y="6523954"/>
                </a:lnTo>
                <a:lnTo>
                  <a:pt x="6564842" y="6522074"/>
                </a:lnTo>
                <a:cubicBezTo>
                  <a:pt x="6564842" y="6500872"/>
                  <a:pt x="6556273" y="6495162"/>
                  <a:pt x="6534365" y="6495162"/>
                </a:cubicBezTo>
                <a:close/>
                <a:moveTo>
                  <a:pt x="7266537" y="6392873"/>
                </a:moveTo>
                <a:lnTo>
                  <a:pt x="7303439" y="6423591"/>
                </a:lnTo>
                <a:lnTo>
                  <a:pt x="7292011" y="6433349"/>
                </a:lnTo>
                <a:lnTo>
                  <a:pt x="7235111" y="6433349"/>
                </a:lnTo>
                <a:lnTo>
                  <a:pt x="7235111" y="6433342"/>
                </a:lnTo>
                <a:lnTo>
                  <a:pt x="7235111" y="6412396"/>
                </a:lnTo>
                <a:close/>
                <a:moveTo>
                  <a:pt x="6635848" y="6371439"/>
                </a:moveTo>
                <a:lnTo>
                  <a:pt x="6691807" y="6371439"/>
                </a:lnTo>
                <a:cubicBezTo>
                  <a:pt x="6699180" y="6371439"/>
                  <a:pt x="6703001" y="6372876"/>
                  <a:pt x="6703001" y="6379534"/>
                </a:cubicBezTo>
                <a:lnTo>
                  <a:pt x="6703001" y="6391203"/>
                </a:lnTo>
                <a:cubicBezTo>
                  <a:pt x="6703001" y="6397876"/>
                  <a:pt x="6699180" y="6399298"/>
                  <a:pt x="6691807" y="6399298"/>
                </a:cubicBezTo>
                <a:lnTo>
                  <a:pt x="6635848" y="6399298"/>
                </a:lnTo>
                <a:close/>
                <a:moveTo>
                  <a:pt x="7061621" y="6354060"/>
                </a:moveTo>
                <a:cubicBezTo>
                  <a:pt x="7041857" y="6354060"/>
                  <a:pt x="7035184" y="6358830"/>
                  <a:pt x="7035184" y="6377879"/>
                </a:cubicBezTo>
                <a:lnTo>
                  <a:pt x="7035184" y="6389074"/>
                </a:lnTo>
                <a:cubicBezTo>
                  <a:pt x="7035184" y="6408123"/>
                  <a:pt x="7041857" y="6412878"/>
                  <a:pt x="7061621" y="6412878"/>
                </a:cubicBezTo>
                <a:lnTo>
                  <a:pt x="7126857" y="6412878"/>
                </a:lnTo>
                <a:lnTo>
                  <a:pt x="7126857" y="6435983"/>
                </a:lnTo>
                <a:lnTo>
                  <a:pt x="7052796" y="6435983"/>
                </a:lnTo>
                <a:lnTo>
                  <a:pt x="7052796" y="6425375"/>
                </a:lnTo>
                <a:lnTo>
                  <a:pt x="7030903" y="6429430"/>
                </a:lnTo>
                <a:lnTo>
                  <a:pt x="7030903" y="6430980"/>
                </a:lnTo>
                <a:cubicBezTo>
                  <a:pt x="7030903" y="6449796"/>
                  <a:pt x="7037328" y="6454784"/>
                  <a:pt x="7057325" y="6454784"/>
                </a:cubicBezTo>
                <a:lnTo>
                  <a:pt x="7122817" y="6454784"/>
                </a:lnTo>
                <a:cubicBezTo>
                  <a:pt x="7142814" y="6454784"/>
                  <a:pt x="7149006" y="6449796"/>
                  <a:pt x="7149006" y="6430980"/>
                </a:cubicBezTo>
                <a:lnTo>
                  <a:pt x="7149006" y="6417166"/>
                </a:lnTo>
                <a:cubicBezTo>
                  <a:pt x="7149006" y="6398117"/>
                  <a:pt x="7142822" y="6393362"/>
                  <a:pt x="7122817" y="6393362"/>
                </a:cubicBezTo>
                <a:lnTo>
                  <a:pt x="7057325" y="6393362"/>
                </a:lnTo>
                <a:lnTo>
                  <a:pt x="7057325" y="6372154"/>
                </a:lnTo>
                <a:lnTo>
                  <a:pt x="7126616" y="6372154"/>
                </a:lnTo>
                <a:lnTo>
                  <a:pt x="7126616" y="6381565"/>
                </a:lnTo>
                <a:lnTo>
                  <a:pt x="7147802" y="6377051"/>
                </a:lnTo>
                <a:lnTo>
                  <a:pt x="7147802" y="6375968"/>
                </a:lnTo>
                <a:cubicBezTo>
                  <a:pt x="7147802" y="6358356"/>
                  <a:pt x="7139955" y="6354060"/>
                  <a:pt x="7121380" y="6354060"/>
                </a:cubicBezTo>
                <a:close/>
                <a:moveTo>
                  <a:pt x="6897287" y="6354060"/>
                </a:moveTo>
                <a:lnTo>
                  <a:pt x="6897287" y="6454776"/>
                </a:lnTo>
                <a:lnTo>
                  <a:pt x="7006580" y="6454776"/>
                </a:lnTo>
                <a:lnTo>
                  <a:pt x="7006580" y="6435967"/>
                </a:lnTo>
                <a:lnTo>
                  <a:pt x="6922054" y="6435967"/>
                </a:lnTo>
                <a:lnTo>
                  <a:pt x="6922054" y="6411200"/>
                </a:lnTo>
                <a:lnTo>
                  <a:pt x="6970626" y="6411200"/>
                </a:lnTo>
                <a:lnTo>
                  <a:pt x="6970626" y="6393821"/>
                </a:lnTo>
                <a:lnTo>
                  <a:pt x="6922054" y="6393821"/>
                </a:lnTo>
                <a:lnTo>
                  <a:pt x="6922054" y="6371913"/>
                </a:lnTo>
                <a:lnTo>
                  <a:pt x="7005399" y="6371913"/>
                </a:lnTo>
                <a:lnTo>
                  <a:pt x="7005399" y="6354060"/>
                </a:lnTo>
                <a:close/>
                <a:moveTo>
                  <a:pt x="6759578" y="6354060"/>
                </a:moveTo>
                <a:lnTo>
                  <a:pt x="6759578" y="6454776"/>
                </a:lnTo>
                <a:lnTo>
                  <a:pt x="6868871" y="6454776"/>
                </a:lnTo>
                <a:lnTo>
                  <a:pt x="6868871" y="6435967"/>
                </a:lnTo>
                <a:lnTo>
                  <a:pt x="6784345" y="6435967"/>
                </a:lnTo>
                <a:lnTo>
                  <a:pt x="6784345" y="6411200"/>
                </a:lnTo>
                <a:lnTo>
                  <a:pt x="6832917" y="6411200"/>
                </a:lnTo>
                <a:lnTo>
                  <a:pt x="6832917" y="6393821"/>
                </a:lnTo>
                <a:lnTo>
                  <a:pt x="6784345" y="6393821"/>
                </a:lnTo>
                <a:lnTo>
                  <a:pt x="6784345" y="6371913"/>
                </a:lnTo>
                <a:lnTo>
                  <a:pt x="6867690" y="6371913"/>
                </a:lnTo>
                <a:lnTo>
                  <a:pt x="6867690" y="6354060"/>
                </a:lnTo>
                <a:close/>
                <a:moveTo>
                  <a:pt x="6611562" y="6354060"/>
                </a:moveTo>
                <a:lnTo>
                  <a:pt x="6611562" y="6454776"/>
                </a:lnTo>
                <a:lnTo>
                  <a:pt x="6635855" y="6454776"/>
                </a:lnTo>
                <a:lnTo>
                  <a:pt x="6635855" y="6416670"/>
                </a:lnTo>
                <a:lnTo>
                  <a:pt x="6658952" y="6416670"/>
                </a:lnTo>
                <a:lnTo>
                  <a:pt x="6701098" y="6454776"/>
                </a:lnTo>
                <a:lnTo>
                  <a:pt x="6736345" y="6454776"/>
                </a:lnTo>
                <a:lnTo>
                  <a:pt x="6688474" y="6416670"/>
                </a:lnTo>
                <a:lnTo>
                  <a:pt x="6702287" y="6416670"/>
                </a:lnTo>
                <a:cubicBezTo>
                  <a:pt x="6718485" y="6416670"/>
                  <a:pt x="6725865" y="6411193"/>
                  <a:pt x="6725865" y="6397395"/>
                </a:cubicBezTo>
                <a:lnTo>
                  <a:pt x="6725865" y="6373583"/>
                </a:lnTo>
                <a:cubicBezTo>
                  <a:pt x="6725865" y="6359537"/>
                  <a:pt x="6718477" y="6354060"/>
                  <a:pt x="6702287" y="6354060"/>
                </a:cubicBezTo>
                <a:close/>
                <a:moveTo>
                  <a:pt x="6461741" y="6353819"/>
                </a:moveTo>
                <a:lnTo>
                  <a:pt x="6512456" y="6353819"/>
                </a:lnTo>
                <a:cubicBezTo>
                  <a:pt x="6539368" y="6353819"/>
                  <a:pt x="6552940" y="6367158"/>
                  <a:pt x="6552940" y="6392158"/>
                </a:cubicBezTo>
                <a:cubicBezTo>
                  <a:pt x="6552940" y="6422636"/>
                  <a:pt x="6534839" y="6431686"/>
                  <a:pt x="6498643" y="6431686"/>
                </a:cubicBezTo>
                <a:lnTo>
                  <a:pt x="6461741" y="6431686"/>
                </a:lnTo>
                <a:close/>
                <a:moveTo>
                  <a:pt x="7271306" y="6331911"/>
                </a:moveTo>
                <a:cubicBezTo>
                  <a:pt x="7250346" y="6331911"/>
                  <a:pt x="7240829" y="6336681"/>
                  <a:pt x="7240829" y="6354293"/>
                </a:cubicBezTo>
                <a:lnTo>
                  <a:pt x="7240829" y="6361192"/>
                </a:lnTo>
                <a:cubicBezTo>
                  <a:pt x="7240829" y="6368339"/>
                  <a:pt x="7244162" y="6373816"/>
                  <a:pt x="7251309" y="6379767"/>
                </a:cubicBezTo>
                <a:lnTo>
                  <a:pt x="7226294" y="6394776"/>
                </a:lnTo>
                <a:cubicBezTo>
                  <a:pt x="7215588" y="6401202"/>
                  <a:pt x="7211059" y="6405008"/>
                  <a:pt x="7211059" y="6417633"/>
                </a:cubicBezTo>
                <a:lnTo>
                  <a:pt x="7211059" y="6425728"/>
                </a:lnTo>
                <a:cubicBezTo>
                  <a:pt x="7211059" y="6448825"/>
                  <a:pt x="7218680" y="6454776"/>
                  <a:pt x="7241770" y="6454776"/>
                </a:cubicBezTo>
                <a:lnTo>
                  <a:pt x="7285586" y="6454776"/>
                </a:lnTo>
                <a:cubicBezTo>
                  <a:pt x="7295818" y="6454776"/>
                  <a:pt x="7300821" y="6454302"/>
                  <a:pt x="7308683" y="6447388"/>
                </a:cubicBezTo>
                <a:lnTo>
                  <a:pt x="7319637" y="6437630"/>
                </a:lnTo>
                <a:lnTo>
                  <a:pt x="7339875" y="6454776"/>
                </a:lnTo>
                <a:lnTo>
                  <a:pt x="7377266" y="6454776"/>
                </a:lnTo>
                <a:lnTo>
                  <a:pt x="7338453" y="6422147"/>
                </a:lnTo>
                <a:lnTo>
                  <a:pt x="7366786" y="6398583"/>
                </a:lnTo>
                <a:lnTo>
                  <a:pt x="7350588" y="6384537"/>
                </a:lnTo>
                <a:lnTo>
                  <a:pt x="7322014" y="6408341"/>
                </a:lnTo>
                <a:lnTo>
                  <a:pt x="7264152" y="6360244"/>
                </a:lnTo>
                <a:lnTo>
                  <a:pt x="7264152" y="6351434"/>
                </a:lnTo>
                <a:lnTo>
                  <a:pt x="7304402" y="6351434"/>
                </a:lnTo>
                <a:lnTo>
                  <a:pt x="7304402" y="6367873"/>
                </a:lnTo>
                <a:lnTo>
                  <a:pt x="7326536" y="6364066"/>
                </a:lnTo>
                <a:lnTo>
                  <a:pt x="7326536" y="6356678"/>
                </a:lnTo>
                <a:cubicBezTo>
                  <a:pt x="7326536" y="6336681"/>
                  <a:pt x="7318200" y="6331911"/>
                  <a:pt x="7296058" y="6331911"/>
                </a:cubicBezTo>
                <a:close/>
                <a:moveTo>
                  <a:pt x="6433167" y="6331911"/>
                </a:moveTo>
                <a:lnTo>
                  <a:pt x="6433167" y="6454776"/>
                </a:lnTo>
                <a:lnTo>
                  <a:pt x="6504843" y="6454776"/>
                </a:lnTo>
                <a:cubicBezTo>
                  <a:pt x="6526736" y="6454776"/>
                  <a:pt x="6543408" y="6452632"/>
                  <a:pt x="6555325" y="6445259"/>
                </a:cubicBezTo>
                <a:cubicBezTo>
                  <a:pt x="6572471" y="6434779"/>
                  <a:pt x="6582462" y="6415729"/>
                  <a:pt x="6582462" y="6392632"/>
                </a:cubicBezTo>
                <a:cubicBezTo>
                  <a:pt x="6582462" y="6354534"/>
                  <a:pt x="6558184" y="6331911"/>
                  <a:pt x="6512216" y="6331911"/>
                </a:cubicBezTo>
                <a:close/>
                <a:moveTo>
                  <a:pt x="0" y="0"/>
                </a:moveTo>
                <a:lnTo>
                  <a:pt x="7904316" y="0"/>
                </a:lnTo>
                <a:lnTo>
                  <a:pt x="7904316" y="6858000"/>
                </a:lnTo>
                <a:lnTo>
                  <a:pt x="0" y="6858000"/>
                </a:lnTo>
                <a:close/>
              </a:path>
            </a:pathLst>
          </a:custGeom>
          <a:pattFill prst="ltUpDiag">
            <a:fgClr>
              <a:schemeClr val="bg1">
                <a:lumMod val="95000"/>
              </a:schemeClr>
            </a:fgClr>
            <a:bgClr>
              <a:schemeClr val="bg1"/>
            </a:bgClr>
          </a:pattFill>
        </p:spPr>
        <p:txBody>
          <a:bodyPr wrap="square">
            <a:noAutofit/>
          </a:bodyPr>
          <a:lstStyle/>
          <a:p>
            <a:endParaRPr lang="en-US"/>
          </a:p>
        </p:txBody>
      </p:sp>
      <p:sp>
        <p:nvSpPr>
          <p:cNvPr id="15" name="logo drees&amp;sommer white">
            <a:extLst>
              <a:ext uri="{FF2B5EF4-FFF2-40B4-BE49-F238E27FC236}">
                <a16:creationId xmlns:a16="http://schemas.microsoft.com/office/drawing/2014/main" id="{A61848D7-A07E-41F7-9AA3-92AF59A5092A}"/>
              </a:ext>
            </a:extLst>
          </p:cNvPr>
          <p:cNvSpPr>
            <a:spLocks noGrp="1"/>
          </p:cNvSpPr>
          <p:nvPr>
            <p:ph type="media" sz="quarter" idx="20"/>
          </p:nvPr>
        </p:nvSpPr>
        <p:spPr bwMode="gray">
          <a:xfrm>
            <a:off x="10716797" y="6330042"/>
            <a:ext cx="946800" cy="288000"/>
          </a:xfrm>
          <a:blipFill>
            <a:blip r:embed="rId2" cstate="print">
              <a:extLst>
                <a:ext uri="{28A0092B-C50C-407E-A947-70E740481C1C}">
                  <a14:useLocalDpi xmlns:a14="http://schemas.microsoft.com/office/drawing/2010/main"/>
                </a:ext>
              </a:extLst>
            </a:blip>
            <a:stretch>
              <a:fillRect/>
            </a:stretch>
          </a:blipFill>
          <a:ln w="15875" cap="flat">
            <a:noFill/>
            <a:prstDash val="lgDash"/>
          </a:ln>
        </p:spPr>
        <p:txBody>
          <a:bodyPr/>
          <a:lstStyle>
            <a:lvl1pPr>
              <a:defRPr sz="100">
                <a:solidFill>
                  <a:schemeClr val="bg1"/>
                </a:solidFill>
              </a:defRPr>
            </a:lvl1pPr>
          </a:lstStyle>
          <a:p>
            <a:endParaRPr lang="de-DE"/>
          </a:p>
        </p:txBody>
      </p:sp>
      <p:sp>
        <p:nvSpPr>
          <p:cNvPr id="12" name="info">
            <a:extLst>
              <a:ext uri="{FF2B5EF4-FFF2-40B4-BE49-F238E27FC236}">
                <a16:creationId xmlns:a16="http://schemas.microsoft.com/office/drawing/2014/main" id="{5F5CE368-5878-4009-8D08-30FB2FBBB9D7}"/>
              </a:ext>
            </a:extLst>
          </p:cNvPr>
          <p:cNvSpPr/>
          <p:nvPr userDrawn="1"/>
        </p:nvSpPr>
        <p:spPr bwMode="gray">
          <a:xfrm flipH="1">
            <a:off x="12247320" y="6288645"/>
            <a:ext cx="1579616" cy="370793"/>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36000" rtlCol="0" anchor="ctr">
            <a:spAutoFit/>
          </a:bodyPr>
          <a:lstStyle/>
          <a:p>
            <a:pPr algn="ctr">
              <a:lnSpc>
                <a:spcPct val="80000"/>
              </a:lnSpc>
              <a:spcBef>
                <a:spcPts val="400"/>
              </a:spcBef>
              <a:spcAft>
                <a:spcPts val="400"/>
              </a:spcAft>
            </a:pPr>
            <a:r>
              <a:rPr lang="en-US" sz="1050">
                <a:solidFill>
                  <a:schemeClr val="bg1"/>
                </a:solidFill>
              </a:rPr>
              <a:t>delete the white logo </a:t>
            </a:r>
            <a:br>
              <a:rPr lang="en-US" sz="1050">
                <a:solidFill>
                  <a:schemeClr val="bg1"/>
                </a:solidFill>
              </a:rPr>
            </a:br>
            <a:r>
              <a:rPr lang="en-US" sz="1050">
                <a:solidFill>
                  <a:schemeClr val="bg1"/>
                </a:solidFill>
              </a:rPr>
              <a:t>to get the BLUE LOGO</a:t>
            </a:r>
            <a:endParaRPr lang="de-DE" sz="1050">
              <a:solidFill>
                <a:schemeClr val="bg1"/>
              </a:solidFill>
            </a:endParaRPr>
          </a:p>
        </p:txBody>
      </p:sp>
      <p:sp>
        <p:nvSpPr>
          <p:cNvPr id="6" name="slide number">
            <a:extLst>
              <a:ext uri="{FF2B5EF4-FFF2-40B4-BE49-F238E27FC236}">
                <a16:creationId xmlns:a16="http://schemas.microsoft.com/office/drawing/2014/main" id="{90B54C2D-8235-4852-8EB7-5E05529B2499}"/>
              </a:ext>
            </a:extLst>
          </p:cNvPr>
          <p:cNvSpPr>
            <a:spLocks noGrp="1"/>
          </p:cNvSpPr>
          <p:nvPr>
            <p:ph type="sldNum" sz="quarter" idx="12"/>
          </p:nvPr>
        </p:nvSpPr>
        <p:spPr bwMode="gray"/>
        <p:txBody>
          <a:bodyPr lIns="0" tIns="0" rIns="0" bIns="0"/>
          <a:lstStyle/>
          <a:p>
            <a:fld id="{9829449A-3FF3-45CE-9F4F-09BADC0910C6}" type="slidenum">
              <a:rPr lang="en-US" smtClean="0"/>
              <a:t>‹Nr.›</a:t>
            </a:fld>
            <a:endParaRPr lang="en-US"/>
          </a:p>
        </p:txBody>
      </p:sp>
      <p:sp>
        <p:nvSpPr>
          <p:cNvPr id="5" name="footer">
            <a:extLst>
              <a:ext uri="{FF2B5EF4-FFF2-40B4-BE49-F238E27FC236}">
                <a16:creationId xmlns:a16="http://schemas.microsoft.com/office/drawing/2014/main" id="{A4534FC4-D037-44B0-B266-D9E820FC1DF2}"/>
              </a:ext>
            </a:extLst>
          </p:cNvPr>
          <p:cNvSpPr>
            <a:spLocks noGrp="1"/>
          </p:cNvSpPr>
          <p:nvPr>
            <p:ph type="ftr" sz="quarter" idx="11"/>
          </p:nvPr>
        </p:nvSpPr>
        <p:spPr bwMode="gray">
          <a:xfrm>
            <a:off x="763200" y="6386400"/>
            <a:ext cx="3236400" cy="180000"/>
          </a:xfrm>
        </p:spPr>
        <p:txBody>
          <a:bodyPr lIns="0" tIns="0" rIns="0" bIns="0"/>
          <a:lstStyle/>
          <a:p>
            <a:endParaRPr lang="en-US"/>
          </a:p>
        </p:txBody>
      </p:sp>
    </p:spTree>
    <p:extLst>
      <p:ext uri="{BB962C8B-B14F-4D97-AF65-F5344CB8AC3E}">
        <p14:creationId xmlns:p14="http://schemas.microsoft.com/office/powerpoint/2010/main" val="2095348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2520" userDrawn="1">
          <p15:clr>
            <a:srgbClr val="FBAE40"/>
          </p15:clr>
        </p15:guide>
        <p15:guide id="2" pos="2700" userDrawn="1">
          <p15:clr>
            <a:srgbClr val="FBAE40"/>
          </p15:clr>
        </p15:guide>
        <p15:guide id="3" orient="horz" pos="64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Blank">
    <p:bg bwMode="gray">
      <p:bgRef idx="1001">
        <a:schemeClr val="bg1"/>
      </p:bgRef>
    </p:bg>
    <p:spTree>
      <p:nvGrpSpPr>
        <p:cNvPr id="1" name=""/>
        <p:cNvGrpSpPr/>
        <p:nvPr/>
      </p:nvGrpSpPr>
      <p:grpSpPr>
        <a:xfrm>
          <a:off x="0" y="0"/>
          <a:ext cx="0" cy="0"/>
          <a:chOff x="0" y="0"/>
          <a:chExt cx="0" cy="0"/>
        </a:xfrm>
      </p:grpSpPr>
      <p:sp>
        <p:nvSpPr>
          <p:cNvPr id="37" name="background blue">
            <a:extLst>
              <a:ext uri="{FF2B5EF4-FFF2-40B4-BE49-F238E27FC236}">
                <a16:creationId xmlns:a16="http://schemas.microsoft.com/office/drawing/2014/main" id="{45AC3CA3-D1CB-4FDF-8FCE-2FA0AE998F6A}"/>
              </a:ext>
            </a:extLst>
          </p:cNvPr>
          <p:cNvSpPr/>
          <p:nvPr userDrawn="1"/>
        </p:nvSpPr>
        <p:spPr bwMode="ltGray">
          <a:xfrm>
            <a:off x="10140000" y="0"/>
            <a:ext cx="2052000" cy="6857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72000" rIns="72000" bIns="72000" numCol="1" spcCol="0" rtlCol="0" fromWordArt="0" anchor="ctr" anchorCtr="0" forceAA="0" compatLnSpc="1">
            <a:prstTxWarp prst="textNoShape">
              <a:avLst/>
            </a:prstTxWarp>
            <a:noAutofit/>
          </a:bodyPr>
          <a:lstStyle/>
          <a:p>
            <a:pPr rtl="0" eaLnBrk="1" fontAlgn="auto" hangingPunct="1">
              <a:lnSpc>
                <a:spcPct val="100000"/>
              </a:lnSpc>
              <a:spcBef>
                <a:spcPts val="300"/>
              </a:spcBef>
              <a:spcAft>
                <a:spcPts val="300"/>
              </a:spcAft>
            </a:pPr>
            <a:endParaRPr lang="de-DE" sz="1600" b="1" i="0" u="none" spc="50">
              <a:solidFill>
                <a:srgbClr val="FFFFFF"/>
              </a:solidFill>
              <a:latin typeface="Calibri" panose="020F0502020204030204" pitchFamily="34" charset="0"/>
            </a:endParaRPr>
          </a:p>
        </p:txBody>
      </p:sp>
      <p:sp>
        <p:nvSpPr>
          <p:cNvPr id="36" name="picture">
            <a:extLst>
              <a:ext uri="{FF2B5EF4-FFF2-40B4-BE49-F238E27FC236}">
                <a16:creationId xmlns:a16="http://schemas.microsoft.com/office/drawing/2014/main" id="{6B8D45BC-2FCD-46E5-97AE-C7ECFC01F2BC}"/>
              </a:ext>
            </a:extLst>
          </p:cNvPr>
          <p:cNvSpPr>
            <a:spLocks noGrp="1"/>
          </p:cNvSpPr>
          <p:nvPr>
            <p:ph type="pic" sz="quarter" idx="15"/>
          </p:nvPr>
        </p:nvSpPr>
        <p:spPr bwMode="gray">
          <a:xfrm>
            <a:off x="1" y="1"/>
            <a:ext cx="11903999" cy="6857998"/>
          </a:xfrm>
          <a:custGeom>
            <a:avLst/>
            <a:gdLst>
              <a:gd name="connsiteX0" fmla="*/ 0 w 11903999"/>
              <a:gd name="connsiteY0" fmla="*/ 0 h 6857997"/>
              <a:gd name="connsiteX1" fmla="*/ 10212000 w 11903999"/>
              <a:gd name="connsiteY1" fmla="*/ 0 h 6857997"/>
              <a:gd name="connsiteX2" fmla="*/ 10212000 w 11903999"/>
              <a:gd name="connsiteY2" fmla="*/ 647998 h 6857997"/>
              <a:gd name="connsiteX3" fmla="*/ 11903999 w 11903999"/>
              <a:gd name="connsiteY3" fmla="*/ 647998 h 6857997"/>
              <a:gd name="connsiteX4" fmla="*/ 11903999 w 11903999"/>
              <a:gd name="connsiteY4" fmla="*/ 6857997 h 6857997"/>
              <a:gd name="connsiteX5" fmla="*/ 5400001 w 11903999"/>
              <a:gd name="connsiteY5" fmla="*/ 6857997 h 6857997"/>
              <a:gd name="connsiteX6" fmla="*/ 5400001 w 11903999"/>
              <a:gd name="connsiteY6" fmla="*/ 3661333 h 6857997"/>
              <a:gd name="connsiteX7" fmla="*/ 0 w 11903999"/>
              <a:gd name="connsiteY7" fmla="*/ 3661333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03999" h="6857997">
                <a:moveTo>
                  <a:pt x="0" y="0"/>
                </a:moveTo>
                <a:lnTo>
                  <a:pt x="10212000" y="0"/>
                </a:lnTo>
                <a:lnTo>
                  <a:pt x="10212000" y="647998"/>
                </a:lnTo>
                <a:lnTo>
                  <a:pt x="11903999" y="647998"/>
                </a:lnTo>
                <a:lnTo>
                  <a:pt x="11903999" y="6857997"/>
                </a:lnTo>
                <a:lnTo>
                  <a:pt x="5400001" y="6857997"/>
                </a:lnTo>
                <a:lnTo>
                  <a:pt x="5400001" y="3661333"/>
                </a:lnTo>
                <a:lnTo>
                  <a:pt x="0" y="3661333"/>
                </a:lnTo>
                <a:close/>
              </a:path>
            </a:pathLst>
          </a:custGeom>
          <a:pattFill prst="ltUpDiag">
            <a:fgClr>
              <a:schemeClr val="bg1">
                <a:lumMod val="95000"/>
              </a:schemeClr>
            </a:fgClr>
            <a:bgClr>
              <a:schemeClr val="bg1"/>
            </a:bgClr>
          </a:pattFill>
        </p:spPr>
        <p:txBody>
          <a:bodyPr wrap="square">
            <a:noAutofit/>
          </a:bodyPr>
          <a:lstStyle/>
          <a:p>
            <a:endParaRPr lang="de-DE"/>
          </a:p>
        </p:txBody>
      </p:sp>
      <p:grpSp>
        <p:nvGrpSpPr>
          <p:cNvPr id="8" name="line element">
            <a:extLst>
              <a:ext uri="{FF2B5EF4-FFF2-40B4-BE49-F238E27FC236}">
                <a16:creationId xmlns:a16="http://schemas.microsoft.com/office/drawing/2014/main" id="{10F17B53-AF31-47E3-A654-EFE6792CC744}"/>
              </a:ext>
            </a:extLst>
          </p:cNvPr>
          <p:cNvGrpSpPr>
            <a:grpSpLocks noChangeAspect="1"/>
          </p:cNvGrpSpPr>
          <p:nvPr userDrawn="1"/>
        </p:nvGrpSpPr>
        <p:grpSpPr bwMode="gray">
          <a:xfrm>
            <a:off x="508288" y="3978755"/>
            <a:ext cx="740827" cy="26783"/>
            <a:chOff x="508288" y="461121"/>
            <a:chExt cx="740827" cy="26783"/>
          </a:xfrm>
          <a:solidFill>
            <a:schemeClr val="tx1"/>
          </a:solidFill>
        </p:grpSpPr>
        <p:sp>
          <p:nvSpPr>
            <p:cNvPr id="9" name="line 1">
              <a:extLst>
                <a:ext uri="{FF2B5EF4-FFF2-40B4-BE49-F238E27FC236}">
                  <a16:creationId xmlns:a16="http://schemas.microsoft.com/office/drawing/2014/main" id="{F02C5073-3597-44EC-8DBA-919730153A7B}"/>
                </a:ext>
              </a:extLst>
            </p:cNvPr>
            <p:cNvSpPr>
              <a:spLocks/>
            </p:cNvSpPr>
            <p:nvPr/>
          </p:nvSpPr>
          <p:spPr bwMode="gray">
            <a:xfrm rot="2700000">
              <a:off x="617300" y="352116"/>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sp>
          <p:nvSpPr>
            <p:cNvPr id="10" name="line 2">
              <a:extLst>
                <a:ext uri="{FF2B5EF4-FFF2-40B4-BE49-F238E27FC236}">
                  <a16:creationId xmlns:a16="http://schemas.microsoft.com/office/drawing/2014/main" id="{3314543B-DD65-4E7B-8078-E8C80B3F7AB2}"/>
                </a:ext>
              </a:extLst>
            </p:cNvPr>
            <p:cNvSpPr>
              <a:spLocks/>
            </p:cNvSpPr>
            <p:nvPr/>
          </p:nvSpPr>
          <p:spPr bwMode="gray">
            <a:xfrm rot="2700000">
              <a:off x="741307" y="352116"/>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sp>
          <p:nvSpPr>
            <p:cNvPr id="11" name="line 3">
              <a:extLst>
                <a:ext uri="{FF2B5EF4-FFF2-40B4-BE49-F238E27FC236}">
                  <a16:creationId xmlns:a16="http://schemas.microsoft.com/office/drawing/2014/main" id="{3DB82195-2350-4AC3-804D-B06C534ED6BC}"/>
                </a:ext>
              </a:extLst>
            </p:cNvPr>
            <p:cNvSpPr>
              <a:spLocks/>
            </p:cNvSpPr>
            <p:nvPr/>
          </p:nvSpPr>
          <p:spPr bwMode="gray">
            <a:xfrm rot="2700000">
              <a:off x="865314" y="352116"/>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sp>
          <p:nvSpPr>
            <p:cNvPr id="12" name="line 4">
              <a:extLst>
                <a:ext uri="{FF2B5EF4-FFF2-40B4-BE49-F238E27FC236}">
                  <a16:creationId xmlns:a16="http://schemas.microsoft.com/office/drawing/2014/main" id="{83AF0FD4-3D47-4C52-8B22-1CFE02EF8D49}"/>
                </a:ext>
              </a:extLst>
            </p:cNvPr>
            <p:cNvSpPr>
              <a:spLocks/>
            </p:cNvSpPr>
            <p:nvPr/>
          </p:nvSpPr>
          <p:spPr bwMode="gray">
            <a:xfrm rot="2700000">
              <a:off x="989321" y="352116"/>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sp>
          <p:nvSpPr>
            <p:cNvPr id="13" name="line 5">
              <a:extLst>
                <a:ext uri="{FF2B5EF4-FFF2-40B4-BE49-F238E27FC236}">
                  <a16:creationId xmlns:a16="http://schemas.microsoft.com/office/drawing/2014/main" id="{E526E0E9-0166-464B-BF0F-28E12CF6E48C}"/>
                </a:ext>
              </a:extLst>
            </p:cNvPr>
            <p:cNvSpPr>
              <a:spLocks/>
            </p:cNvSpPr>
            <p:nvPr/>
          </p:nvSpPr>
          <p:spPr bwMode="gray">
            <a:xfrm rot="2700000">
              <a:off x="1113327" y="352109"/>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grpSp>
      <p:grpSp>
        <p:nvGrpSpPr>
          <p:cNvPr id="21" name="logo drees&amp;sommer white">
            <a:extLst>
              <a:ext uri="{FF2B5EF4-FFF2-40B4-BE49-F238E27FC236}">
                <a16:creationId xmlns:a16="http://schemas.microsoft.com/office/drawing/2014/main" id="{1813B803-BBD3-4237-8DD6-AE4D6D13C3C1}"/>
              </a:ext>
            </a:extLst>
          </p:cNvPr>
          <p:cNvGrpSpPr>
            <a:grpSpLocks noChangeAspect="1"/>
          </p:cNvGrpSpPr>
          <p:nvPr userDrawn="1"/>
        </p:nvGrpSpPr>
        <p:grpSpPr bwMode="gray">
          <a:xfrm>
            <a:off x="10716797" y="166780"/>
            <a:ext cx="948154" cy="286131"/>
            <a:chOff x="95250" y="1619249"/>
            <a:chExt cx="12004071" cy="3622549"/>
          </a:xfrm>
          <a:solidFill>
            <a:schemeClr val="bg1"/>
          </a:solidFill>
        </p:grpSpPr>
        <p:sp>
          <p:nvSpPr>
            <p:cNvPr id="22" name="d">
              <a:extLst>
                <a:ext uri="{FF2B5EF4-FFF2-40B4-BE49-F238E27FC236}">
                  <a16:creationId xmlns:a16="http://schemas.microsoft.com/office/drawing/2014/main" id="{1670F70C-B957-4DDD-B2AD-8B6AFBC08EAE}"/>
                </a:ext>
              </a:extLst>
            </p:cNvPr>
            <p:cNvSpPr/>
            <p:nvPr/>
          </p:nvSpPr>
          <p:spPr bwMode="gray">
            <a:xfrm>
              <a:off x="146589" y="1619250"/>
              <a:ext cx="1890141" cy="1555527"/>
            </a:xfrm>
            <a:custGeom>
              <a:avLst/>
              <a:gdLst>
                <a:gd name="connsiteX0" fmla="*/ 361760 w 1890141"/>
                <a:gd name="connsiteY0" fmla="*/ 1263206 h 1555527"/>
                <a:gd name="connsiteX1" fmla="*/ 361760 w 1890141"/>
                <a:gd name="connsiteY1" fmla="*/ 277368 h 1555527"/>
                <a:gd name="connsiteX2" fmla="*/ 1003840 w 1890141"/>
                <a:gd name="connsiteY2" fmla="*/ 277368 h 1555527"/>
                <a:gd name="connsiteX3" fmla="*/ 1516380 w 1890141"/>
                <a:gd name="connsiteY3" fmla="*/ 762762 h 1555527"/>
                <a:gd name="connsiteX4" fmla="*/ 828961 w 1890141"/>
                <a:gd name="connsiteY4" fmla="*/ 1263206 h 1555527"/>
                <a:gd name="connsiteX5" fmla="*/ 361760 w 1890141"/>
                <a:gd name="connsiteY5" fmla="*/ 1263206 h 1555527"/>
                <a:gd name="connsiteX6" fmla="*/ 0 w 1890141"/>
                <a:gd name="connsiteY6" fmla="*/ 1555528 h 1555527"/>
                <a:gd name="connsiteX7" fmla="*/ 907447 w 1890141"/>
                <a:gd name="connsiteY7" fmla="*/ 1555528 h 1555527"/>
                <a:gd name="connsiteX8" fmla="*/ 1546574 w 1890141"/>
                <a:gd name="connsiteY8" fmla="*/ 1435037 h 1555527"/>
                <a:gd name="connsiteX9" fmla="*/ 1890141 w 1890141"/>
                <a:gd name="connsiteY9" fmla="*/ 768763 h 1555527"/>
                <a:gd name="connsiteX10" fmla="*/ 1000792 w 1890141"/>
                <a:gd name="connsiteY10" fmla="*/ 0 h 1555527"/>
                <a:gd name="connsiteX11" fmla="*/ 0 w 1890141"/>
                <a:gd name="connsiteY11" fmla="*/ 0 h 1555527"/>
                <a:gd name="connsiteX12" fmla="*/ 0 w 1890141"/>
                <a:gd name="connsiteY12" fmla="*/ 1555528 h 155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90141" h="1555527">
                  <a:moveTo>
                    <a:pt x="361760" y="1263206"/>
                  </a:moveTo>
                  <a:lnTo>
                    <a:pt x="361760" y="277368"/>
                  </a:lnTo>
                  <a:lnTo>
                    <a:pt x="1003840" y="277368"/>
                  </a:lnTo>
                  <a:cubicBezTo>
                    <a:pt x="1344549" y="277368"/>
                    <a:pt x="1516380" y="446246"/>
                    <a:pt x="1516380" y="762762"/>
                  </a:cubicBezTo>
                  <a:cubicBezTo>
                    <a:pt x="1516380" y="1148620"/>
                    <a:pt x="1287209" y="1263206"/>
                    <a:pt x="828961" y="1263206"/>
                  </a:cubicBezTo>
                  <a:lnTo>
                    <a:pt x="361760" y="1263206"/>
                  </a:lnTo>
                  <a:close/>
                  <a:moveTo>
                    <a:pt x="0" y="1555528"/>
                  </a:moveTo>
                  <a:lnTo>
                    <a:pt x="907447" y="1555528"/>
                  </a:lnTo>
                  <a:cubicBezTo>
                    <a:pt x="1184624" y="1555528"/>
                    <a:pt x="1395698" y="1528382"/>
                    <a:pt x="1546574" y="1435037"/>
                  </a:cubicBezTo>
                  <a:cubicBezTo>
                    <a:pt x="1763649" y="1302353"/>
                    <a:pt x="1890141" y="1061180"/>
                    <a:pt x="1890141" y="768763"/>
                  </a:cubicBezTo>
                  <a:cubicBezTo>
                    <a:pt x="1890141" y="286417"/>
                    <a:pt x="1582769" y="0"/>
                    <a:pt x="1000792" y="0"/>
                  </a:cubicBezTo>
                  <a:lnTo>
                    <a:pt x="0" y="0"/>
                  </a:lnTo>
                  <a:lnTo>
                    <a:pt x="0" y="1555528"/>
                  </a:lnTo>
                  <a:close/>
                </a:path>
              </a:pathLst>
            </a:custGeom>
            <a:grpFill/>
            <a:ln w="9525" cap="flat">
              <a:noFill/>
              <a:prstDash val="solid"/>
              <a:miter/>
            </a:ln>
          </p:spPr>
          <p:txBody>
            <a:bodyPr lIns="0" tIns="0" rIns="0" bIns="0" rtlCol="0" anchor="ctr"/>
            <a:lstStyle/>
            <a:p>
              <a:endParaRPr lang="de-DE" sz="100"/>
            </a:p>
          </p:txBody>
        </p:sp>
        <p:sp>
          <p:nvSpPr>
            <p:cNvPr id="23" name="r">
              <a:extLst>
                <a:ext uri="{FF2B5EF4-FFF2-40B4-BE49-F238E27FC236}">
                  <a16:creationId xmlns:a16="http://schemas.microsoft.com/office/drawing/2014/main" id="{29184814-6AC7-4690-88EC-1B8E09A310DC}"/>
                </a:ext>
              </a:extLst>
            </p:cNvPr>
            <p:cNvSpPr/>
            <p:nvPr/>
          </p:nvSpPr>
          <p:spPr bwMode="gray">
            <a:xfrm>
              <a:off x="2405157" y="1899666"/>
              <a:ext cx="1579816" cy="1275111"/>
            </a:xfrm>
            <a:custGeom>
              <a:avLst/>
              <a:gdLst>
                <a:gd name="connsiteX0" fmla="*/ 1015937 w 1579816"/>
                <a:gd name="connsiteY0" fmla="*/ 220028 h 1275111"/>
                <a:gd name="connsiteX1" fmla="*/ 1157668 w 1579816"/>
                <a:gd name="connsiteY1" fmla="*/ 322517 h 1275111"/>
                <a:gd name="connsiteX2" fmla="*/ 1157668 w 1579816"/>
                <a:gd name="connsiteY2" fmla="*/ 470249 h 1275111"/>
                <a:gd name="connsiteX3" fmla="*/ 1015937 w 1579816"/>
                <a:gd name="connsiteY3" fmla="*/ 572738 h 1275111"/>
                <a:gd name="connsiteX4" fmla="*/ 307467 w 1579816"/>
                <a:gd name="connsiteY4" fmla="*/ 572738 h 1275111"/>
                <a:gd name="connsiteX5" fmla="*/ 307467 w 1579816"/>
                <a:gd name="connsiteY5" fmla="*/ 220028 h 1275111"/>
                <a:gd name="connsiteX6" fmla="*/ 1015937 w 1579816"/>
                <a:gd name="connsiteY6" fmla="*/ 220028 h 1275111"/>
                <a:gd name="connsiteX7" fmla="*/ 0 w 1579816"/>
                <a:gd name="connsiteY7" fmla="*/ 1275112 h 1275111"/>
                <a:gd name="connsiteX8" fmla="*/ 307562 w 1579816"/>
                <a:gd name="connsiteY8" fmla="*/ 1275112 h 1275111"/>
                <a:gd name="connsiteX9" fmla="*/ 307562 w 1579816"/>
                <a:gd name="connsiteY9" fmla="*/ 792671 h 1275111"/>
                <a:gd name="connsiteX10" fmla="*/ 599980 w 1579816"/>
                <a:gd name="connsiteY10" fmla="*/ 792671 h 1275111"/>
                <a:gd name="connsiteX11" fmla="*/ 1133570 w 1579816"/>
                <a:gd name="connsiteY11" fmla="*/ 1275112 h 1275111"/>
                <a:gd name="connsiteX12" fmla="*/ 1579817 w 1579816"/>
                <a:gd name="connsiteY12" fmla="*/ 1275112 h 1275111"/>
                <a:gd name="connsiteX13" fmla="*/ 973741 w 1579816"/>
                <a:gd name="connsiteY13" fmla="*/ 792671 h 1275111"/>
                <a:gd name="connsiteX14" fmla="*/ 1148620 w 1579816"/>
                <a:gd name="connsiteY14" fmla="*/ 792671 h 1275111"/>
                <a:gd name="connsiteX15" fmla="*/ 1447133 w 1579816"/>
                <a:gd name="connsiteY15" fmla="*/ 548640 h 1275111"/>
                <a:gd name="connsiteX16" fmla="*/ 1447133 w 1579816"/>
                <a:gd name="connsiteY16" fmla="*/ 247174 h 1275111"/>
                <a:gd name="connsiteX17" fmla="*/ 1148620 w 1579816"/>
                <a:gd name="connsiteY17" fmla="*/ 0 h 1275111"/>
                <a:gd name="connsiteX18" fmla="*/ 0 w 1579816"/>
                <a:gd name="connsiteY18" fmla="*/ 0 h 1275111"/>
                <a:gd name="connsiteX19" fmla="*/ 0 w 1579816"/>
                <a:gd name="connsiteY19" fmla="*/ 1275112 h 127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79816" h="1275111">
                  <a:moveTo>
                    <a:pt x="1015937" y="220028"/>
                  </a:moveTo>
                  <a:cubicBezTo>
                    <a:pt x="1109282" y="220028"/>
                    <a:pt x="1157668" y="238220"/>
                    <a:pt x="1157668" y="322517"/>
                  </a:cubicBezTo>
                  <a:lnTo>
                    <a:pt x="1157668" y="470249"/>
                  </a:lnTo>
                  <a:cubicBezTo>
                    <a:pt x="1157668" y="554736"/>
                    <a:pt x="1109282" y="572738"/>
                    <a:pt x="1015937" y="572738"/>
                  </a:cubicBezTo>
                  <a:lnTo>
                    <a:pt x="307467" y="572738"/>
                  </a:lnTo>
                  <a:lnTo>
                    <a:pt x="307467" y="220028"/>
                  </a:lnTo>
                  <a:lnTo>
                    <a:pt x="1015937" y="220028"/>
                  </a:lnTo>
                  <a:close/>
                  <a:moveTo>
                    <a:pt x="0" y="1275112"/>
                  </a:moveTo>
                  <a:lnTo>
                    <a:pt x="307562" y="1275112"/>
                  </a:lnTo>
                  <a:lnTo>
                    <a:pt x="307562" y="792671"/>
                  </a:lnTo>
                  <a:lnTo>
                    <a:pt x="599980" y="792671"/>
                  </a:lnTo>
                  <a:lnTo>
                    <a:pt x="1133570" y="1275112"/>
                  </a:lnTo>
                  <a:lnTo>
                    <a:pt x="1579817" y="1275112"/>
                  </a:lnTo>
                  <a:lnTo>
                    <a:pt x="973741" y="792671"/>
                  </a:lnTo>
                  <a:lnTo>
                    <a:pt x="1148620" y="792671"/>
                  </a:lnTo>
                  <a:cubicBezTo>
                    <a:pt x="1353693" y="792671"/>
                    <a:pt x="1447133" y="723329"/>
                    <a:pt x="1447133" y="548640"/>
                  </a:cubicBezTo>
                  <a:lnTo>
                    <a:pt x="1447133" y="247174"/>
                  </a:lnTo>
                  <a:cubicBezTo>
                    <a:pt x="1447133" y="69342"/>
                    <a:pt x="1353598" y="0"/>
                    <a:pt x="1148620" y="0"/>
                  </a:cubicBezTo>
                  <a:lnTo>
                    <a:pt x="0" y="0"/>
                  </a:lnTo>
                  <a:lnTo>
                    <a:pt x="0" y="1275112"/>
                  </a:lnTo>
                  <a:close/>
                </a:path>
              </a:pathLst>
            </a:custGeom>
            <a:grpFill/>
            <a:ln w="9525" cap="flat">
              <a:noFill/>
              <a:prstDash val="solid"/>
              <a:miter/>
            </a:ln>
          </p:spPr>
          <p:txBody>
            <a:bodyPr lIns="0" tIns="0" rIns="0" bIns="0" rtlCol="0" anchor="ctr"/>
            <a:lstStyle/>
            <a:p>
              <a:endParaRPr lang="de-DE" sz="100"/>
            </a:p>
          </p:txBody>
        </p:sp>
        <p:sp>
          <p:nvSpPr>
            <p:cNvPr id="24" name="e">
              <a:extLst>
                <a:ext uri="{FF2B5EF4-FFF2-40B4-BE49-F238E27FC236}">
                  <a16:creationId xmlns:a16="http://schemas.microsoft.com/office/drawing/2014/main" id="{B4CDBBF6-5ABE-43C8-B8DE-104A5B2971D5}"/>
                </a:ext>
              </a:extLst>
            </p:cNvPr>
            <p:cNvSpPr/>
            <p:nvPr/>
          </p:nvSpPr>
          <p:spPr bwMode="gray">
            <a:xfrm>
              <a:off x="4279106" y="1899666"/>
              <a:ext cx="1383696" cy="1275111"/>
            </a:xfrm>
            <a:custGeom>
              <a:avLst/>
              <a:gdLst>
                <a:gd name="connsiteX0" fmla="*/ 0 w 1383696"/>
                <a:gd name="connsiteY0" fmla="*/ 1275112 h 1275111"/>
                <a:gd name="connsiteX1" fmla="*/ 1383697 w 1383696"/>
                <a:gd name="connsiteY1" fmla="*/ 1275112 h 1275111"/>
                <a:gd name="connsiteX2" fmla="*/ 1383697 w 1383696"/>
                <a:gd name="connsiteY2" fmla="*/ 1036987 h 1275111"/>
                <a:gd name="connsiteX3" fmla="*/ 313563 w 1383696"/>
                <a:gd name="connsiteY3" fmla="*/ 1036987 h 1275111"/>
                <a:gd name="connsiteX4" fmla="*/ 313563 w 1383696"/>
                <a:gd name="connsiteY4" fmla="*/ 723424 h 1275111"/>
                <a:gd name="connsiteX5" fmla="*/ 928497 w 1383696"/>
                <a:gd name="connsiteY5" fmla="*/ 723424 h 1275111"/>
                <a:gd name="connsiteX6" fmla="*/ 928497 w 1383696"/>
                <a:gd name="connsiteY6" fmla="*/ 503396 h 1275111"/>
                <a:gd name="connsiteX7" fmla="*/ 313563 w 1383696"/>
                <a:gd name="connsiteY7" fmla="*/ 503396 h 1275111"/>
                <a:gd name="connsiteX8" fmla="*/ 313563 w 1383696"/>
                <a:gd name="connsiteY8" fmla="*/ 226028 h 1275111"/>
                <a:gd name="connsiteX9" fmla="*/ 1368743 w 1383696"/>
                <a:gd name="connsiteY9" fmla="*/ 226028 h 1275111"/>
                <a:gd name="connsiteX10" fmla="*/ 1368743 w 1383696"/>
                <a:gd name="connsiteY10" fmla="*/ 0 h 1275111"/>
                <a:gd name="connsiteX11" fmla="*/ 0 w 1383696"/>
                <a:gd name="connsiteY11" fmla="*/ 0 h 127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3696" h="1275111">
                  <a:moveTo>
                    <a:pt x="0" y="1275112"/>
                  </a:moveTo>
                  <a:lnTo>
                    <a:pt x="1383697" y="1275112"/>
                  </a:lnTo>
                  <a:lnTo>
                    <a:pt x="1383697" y="1036987"/>
                  </a:lnTo>
                  <a:lnTo>
                    <a:pt x="313563" y="1036987"/>
                  </a:lnTo>
                  <a:lnTo>
                    <a:pt x="313563" y="723424"/>
                  </a:lnTo>
                  <a:lnTo>
                    <a:pt x="928497" y="723424"/>
                  </a:lnTo>
                  <a:lnTo>
                    <a:pt x="928497" y="503396"/>
                  </a:lnTo>
                  <a:lnTo>
                    <a:pt x="313563" y="503396"/>
                  </a:lnTo>
                  <a:lnTo>
                    <a:pt x="313563" y="226028"/>
                  </a:lnTo>
                  <a:lnTo>
                    <a:pt x="1368743" y="226028"/>
                  </a:lnTo>
                  <a:lnTo>
                    <a:pt x="1368743" y="0"/>
                  </a:lnTo>
                  <a:lnTo>
                    <a:pt x="0" y="0"/>
                  </a:lnTo>
                  <a:close/>
                </a:path>
              </a:pathLst>
            </a:custGeom>
            <a:grpFill/>
            <a:ln w="9525" cap="flat">
              <a:noFill/>
              <a:prstDash val="solid"/>
              <a:miter/>
            </a:ln>
          </p:spPr>
          <p:txBody>
            <a:bodyPr lIns="0" tIns="0" rIns="0" bIns="0" rtlCol="0" anchor="ctr"/>
            <a:lstStyle/>
            <a:p>
              <a:endParaRPr lang="de-DE" sz="100"/>
            </a:p>
          </p:txBody>
        </p:sp>
        <p:sp>
          <p:nvSpPr>
            <p:cNvPr id="25" name="e">
              <a:extLst>
                <a:ext uri="{FF2B5EF4-FFF2-40B4-BE49-F238E27FC236}">
                  <a16:creationId xmlns:a16="http://schemas.microsoft.com/office/drawing/2014/main" id="{18C699BD-6D4F-4CD2-9204-32D7C02DFA50}"/>
                </a:ext>
              </a:extLst>
            </p:cNvPr>
            <p:cNvSpPr/>
            <p:nvPr/>
          </p:nvSpPr>
          <p:spPr bwMode="gray">
            <a:xfrm>
              <a:off x="6022562" y="1899666"/>
              <a:ext cx="1383696" cy="1275111"/>
            </a:xfrm>
            <a:custGeom>
              <a:avLst/>
              <a:gdLst>
                <a:gd name="connsiteX0" fmla="*/ 0 w 1383696"/>
                <a:gd name="connsiteY0" fmla="*/ 1275112 h 1275111"/>
                <a:gd name="connsiteX1" fmla="*/ 1383697 w 1383696"/>
                <a:gd name="connsiteY1" fmla="*/ 1275112 h 1275111"/>
                <a:gd name="connsiteX2" fmla="*/ 1383697 w 1383696"/>
                <a:gd name="connsiteY2" fmla="*/ 1036987 h 1275111"/>
                <a:gd name="connsiteX3" fmla="*/ 313563 w 1383696"/>
                <a:gd name="connsiteY3" fmla="*/ 1036987 h 1275111"/>
                <a:gd name="connsiteX4" fmla="*/ 313563 w 1383696"/>
                <a:gd name="connsiteY4" fmla="*/ 723424 h 1275111"/>
                <a:gd name="connsiteX5" fmla="*/ 928497 w 1383696"/>
                <a:gd name="connsiteY5" fmla="*/ 723424 h 1275111"/>
                <a:gd name="connsiteX6" fmla="*/ 928497 w 1383696"/>
                <a:gd name="connsiteY6" fmla="*/ 503396 h 1275111"/>
                <a:gd name="connsiteX7" fmla="*/ 313563 w 1383696"/>
                <a:gd name="connsiteY7" fmla="*/ 503396 h 1275111"/>
                <a:gd name="connsiteX8" fmla="*/ 313563 w 1383696"/>
                <a:gd name="connsiteY8" fmla="*/ 226028 h 1275111"/>
                <a:gd name="connsiteX9" fmla="*/ 1368743 w 1383696"/>
                <a:gd name="connsiteY9" fmla="*/ 226028 h 1275111"/>
                <a:gd name="connsiteX10" fmla="*/ 1368743 w 1383696"/>
                <a:gd name="connsiteY10" fmla="*/ 0 h 1275111"/>
                <a:gd name="connsiteX11" fmla="*/ 0 w 1383696"/>
                <a:gd name="connsiteY11" fmla="*/ 0 h 127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3696" h="1275111">
                  <a:moveTo>
                    <a:pt x="0" y="1275112"/>
                  </a:moveTo>
                  <a:lnTo>
                    <a:pt x="1383697" y="1275112"/>
                  </a:lnTo>
                  <a:lnTo>
                    <a:pt x="1383697" y="1036987"/>
                  </a:lnTo>
                  <a:lnTo>
                    <a:pt x="313563" y="1036987"/>
                  </a:lnTo>
                  <a:lnTo>
                    <a:pt x="313563" y="723424"/>
                  </a:lnTo>
                  <a:lnTo>
                    <a:pt x="928497" y="723424"/>
                  </a:lnTo>
                  <a:lnTo>
                    <a:pt x="928497" y="503396"/>
                  </a:lnTo>
                  <a:lnTo>
                    <a:pt x="313563" y="503396"/>
                  </a:lnTo>
                  <a:lnTo>
                    <a:pt x="313563" y="226028"/>
                  </a:lnTo>
                  <a:lnTo>
                    <a:pt x="1368743" y="226028"/>
                  </a:lnTo>
                  <a:lnTo>
                    <a:pt x="1368743" y="0"/>
                  </a:lnTo>
                  <a:lnTo>
                    <a:pt x="0" y="0"/>
                  </a:lnTo>
                  <a:close/>
                </a:path>
              </a:pathLst>
            </a:custGeom>
            <a:grpFill/>
            <a:ln w="9525" cap="flat">
              <a:noFill/>
              <a:prstDash val="solid"/>
              <a:miter/>
            </a:ln>
          </p:spPr>
          <p:txBody>
            <a:bodyPr lIns="0" tIns="0" rIns="0" bIns="0" rtlCol="0" anchor="ctr"/>
            <a:lstStyle/>
            <a:p>
              <a:endParaRPr lang="de-DE" sz="100"/>
            </a:p>
          </p:txBody>
        </p:sp>
        <p:sp>
          <p:nvSpPr>
            <p:cNvPr id="26" name="s">
              <a:extLst>
                <a:ext uri="{FF2B5EF4-FFF2-40B4-BE49-F238E27FC236}">
                  <a16:creationId xmlns:a16="http://schemas.microsoft.com/office/drawing/2014/main" id="{1C21215A-4DE6-4CDB-9908-35D151D4B074}"/>
                </a:ext>
              </a:extLst>
            </p:cNvPr>
            <p:cNvSpPr/>
            <p:nvPr/>
          </p:nvSpPr>
          <p:spPr bwMode="gray">
            <a:xfrm>
              <a:off x="7714202" y="1899666"/>
              <a:ext cx="1495234" cy="1275207"/>
            </a:xfrm>
            <a:custGeom>
              <a:avLst/>
              <a:gdLst>
                <a:gd name="connsiteX0" fmla="*/ 1211770 w 1495234"/>
                <a:gd name="connsiteY0" fmla="*/ 229076 h 1275207"/>
                <a:gd name="connsiteX1" fmla="*/ 1211770 w 1495234"/>
                <a:gd name="connsiteY1" fmla="*/ 348234 h 1275207"/>
                <a:gd name="connsiteX2" fmla="*/ 1479995 w 1495234"/>
                <a:gd name="connsiteY2" fmla="*/ 291084 h 1275207"/>
                <a:gd name="connsiteX3" fmla="*/ 1479995 w 1495234"/>
                <a:gd name="connsiteY3" fmla="*/ 277368 h 1275207"/>
                <a:gd name="connsiteX4" fmla="*/ 1145477 w 1495234"/>
                <a:gd name="connsiteY4" fmla="*/ 0 h 1275207"/>
                <a:gd name="connsiteX5" fmla="*/ 388905 w 1495234"/>
                <a:gd name="connsiteY5" fmla="*/ 0 h 1275207"/>
                <a:gd name="connsiteX6" fmla="*/ 54197 w 1495234"/>
                <a:gd name="connsiteY6" fmla="*/ 301561 h 1275207"/>
                <a:gd name="connsiteX7" fmla="*/ 54197 w 1495234"/>
                <a:gd name="connsiteY7" fmla="*/ 443294 h 1275207"/>
                <a:gd name="connsiteX8" fmla="*/ 388905 w 1495234"/>
                <a:gd name="connsiteY8" fmla="*/ 744665 h 1275207"/>
                <a:gd name="connsiteX9" fmla="*/ 1214818 w 1495234"/>
                <a:gd name="connsiteY9" fmla="*/ 744665 h 1275207"/>
                <a:gd name="connsiteX10" fmla="*/ 1214818 w 1495234"/>
                <a:gd name="connsiteY10" fmla="*/ 1037177 h 1275207"/>
                <a:gd name="connsiteX11" fmla="*/ 277177 w 1495234"/>
                <a:gd name="connsiteY11" fmla="*/ 1037177 h 1275207"/>
                <a:gd name="connsiteX12" fmla="*/ 277177 w 1495234"/>
                <a:gd name="connsiteY12" fmla="*/ 902875 h 1275207"/>
                <a:gd name="connsiteX13" fmla="*/ 0 w 1495234"/>
                <a:gd name="connsiteY13" fmla="*/ 954214 h 1275207"/>
                <a:gd name="connsiteX14" fmla="*/ 0 w 1495234"/>
                <a:gd name="connsiteY14" fmla="*/ 973836 h 1275207"/>
                <a:gd name="connsiteX15" fmla="*/ 334518 w 1495234"/>
                <a:gd name="connsiteY15" fmla="*/ 1275207 h 1275207"/>
                <a:gd name="connsiteX16" fmla="*/ 1163669 w 1495234"/>
                <a:gd name="connsiteY16" fmla="*/ 1275207 h 1275207"/>
                <a:gd name="connsiteX17" fmla="*/ 1495234 w 1495234"/>
                <a:gd name="connsiteY17" fmla="*/ 973836 h 1275207"/>
                <a:gd name="connsiteX18" fmla="*/ 1495234 w 1495234"/>
                <a:gd name="connsiteY18" fmla="*/ 798957 h 1275207"/>
                <a:gd name="connsiteX19" fmla="*/ 1163669 w 1495234"/>
                <a:gd name="connsiteY19" fmla="*/ 497586 h 1275207"/>
                <a:gd name="connsiteX20" fmla="*/ 334518 w 1495234"/>
                <a:gd name="connsiteY20" fmla="*/ 497586 h 1275207"/>
                <a:gd name="connsiteX21" fmla="*/ 334518 w 1495234"/>
                <a:gd name="connsiteY21" fmla="*/ 229076 h 1275207"/>
                <a:gd name="connsiteX22" fmla="*/ 1211770 w 1495234"/>
                <a:gd name="connsiteY22" fmla="*/ 229076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95234" h="1275207">
                  <a:moveTo>
                    <a:pt x="1211770" y="229076"/>
                  </a:moveTo>
                  <a:lnTo>
                    <a:pt x="1211770" y="348234"/>
                  </a:lnTo>
                  <a:lnTo>
                    <a:pt x="1479995" y="291084"/>
                  </a:lnTo>
                  <a:lnTo>
                    <a:pt x="1479995" y="277368"/>
                  </a:lnTo>
                  <a:cubicBezTo>
                    <a:pt x="1479995" y="54388"/>
                    <a:pt x="1380649" y="0"/>
                    <a:pt x="1145477" y="0"/>
                  </a:cubicBezTo>
                  <a:lnTo>
                    <a:pt x="388905" y="0"/>
                  </a:lnTo>
                  <a:cubicBezTo>
                    <a:pt x="138684" y="0"/>
                    <a:pt x="54197" y="60388"/>
                    <a:pt x="54197" y="301561"/>
                  </a:cubicBezTo>
                  <a:lnTo>
                    <a:pt x="54197" y="443294"/>
                  </a:lnTo>
                  <a:cubicBezTo>
                    <a:pt x="54197" y="684467"/>
                    <a:pt x="138684" y="744665"/>
                    <a:pt x="388905" y="744665"/>
                  </a:cubicBezTo>
                  <a:lnTo>
                    <a:pt x="1214818" y="744665"/>
                  </a:lnTo>
                  <a:lnTo>
                    <a:pt x="1214818" y="1037177"/>
                  </a:lnTo>
                  <a:lnTo>
                    <a:pt x="277177" y="1037177"/>
                  </a:lnTo>
                  <a:lnTo>
                    <a:pt x="277177" y="902875"/>
                  </a:lnTo>
                  <a:lnTo>
                    <a:pt x="0" y="954214"/>
                  </a:lnTo>
                  <a:lnTo>
                    <a:pt x="0" y="973836"/>
                  </a:lnTo>
                  <a:cubicBezTo>
                    <a:pt x="0" y="1212056"/>
                    <a:pt x="81343" y="1275207"/>
                    <a:pt x="334518" y="1275207"/>
                  </a:cubicBezTo>
                  <a:lnTo>
                    <a:pt x="1163669" y="1275207"/>
                  </a:lnTo>
                  <a:cubicBezTo>
                    <a:pt x="1416844" y="1275207"/>
                    <a:pt x="1495234" y="1212056"/>
                    <a:pt x="1495234" y="973836"/>
                  </a:cubicBezTo>
                  <a:lnTo>
                    <a:pt x="1495234" y="798957"/>
                  </a:lnTo>
                  <a:cubicBezTo>
                    <a:pt x="1495234" y="557784"/>
                    <a:pt x="1416939" y="497586"/>
                    <a:pt x="1163669" y="497586"/>
                  </a:cubicBezTo>
                  <a:lnTo>
                    <a:pt x="334518" y="497586"/>
                  </a:lnTo>
                  <a:lnTo>
                    <a:pt x="334518" y="229076"/>
                  </a:lnTo>
                  <a:lnTo>
                    <a:pt x="1211770" y="229076"/>
                  </a:lnTo>
                  <a:close/>
                </a:path>
              </a:pathLst>
            </a:custGeom>
            <a:grpFill/>
            <a:ln w="9525" cap="flat">
              <a:noFill/>
              <a:prstDash val="solid"/>
              <a:miter/>
            </a:ln>
          </p:spPr>
          <p:txBody>
            <a:bodyPr lIns="0" tIns="0" rIns="0" bIns="0" rtlCol="0" anchor="ctr"/>
            <a:lstStyle/>
            <a:p>
              <a:endParaRPr lang="de-DE" sz="100"/>
            </a:p>
          </p:txBody>
        </p:sp>
        <p:sp>
          <p:nvSpPr>
            <p:cNvPr id="27" name="&amp;">
              <a:extLst>
                <a:ext uri="{FF2B5EF4-FFF2-40B4-BE49-F238E27FC236}">
                  <a16:creationId xmlns:a16="http://schemas.microsoft.com/office/drawing/2014/main" id="{D54E1555-236D-451B-ADF2-4FE4CD01BF95}"/>
                </a:ext>
              </a:extLst>
            </p:cNvPr>
            <p:cNvSpPr/>
            <p:nvPr/>
          </p:nvSpPr>
          <p:spPr bwMode="gray">
            <a:xfrm>
              <a:off x="9995058" y="1619249"/>
              <a:ext cx="2104263" cy="1555527"/>
            </a:xfrm>
            <a:custGeom>
              <a:avLst/>
              <a:gdLst>
                <a:gd name="connsiteX0" fmla="*/ 304514 w 2104263"/>
                <a:gd name="connsiteY0" fmla="*/ 1284161 h 1555527"/>
                <a:gd name="connsiteX1" fmla="*/ 304514 w 2104263"/>
                <a:gd name="connsiteY1" fmla="*/ 1018985 h 1555527"/>
                <a:gd name="connsiteX2" fmla="*/ 702373 w 2104263"/>
                <a:gd name="connsiteY2" fmla="*/ 771811 h 1555527"/>
                <a:gd name="connsiteX3" fmla="*/ 1169575 w 2104263"/>
                <a:gd name="connsiteY3" fmla="*/ 1160717 h 1555527"/>
                <a:gd name="connsiteX4" fmla="*/ 1024890 w 2104263"/>
                <a:gd name="connsiteY4" fmla="*/ 1284256 h 1555527"/>
                <a:gd name="connsiteX5" fmla="*/ 304514 w 2104263"/>
                <a:gd name="connsiteY5" fmla="*/ 1284256 h 1555527"/>
                <a:gd name="connsiteX6" fmla="*/ 388811 w 2104263"/>
                <a:gd name="connsiteY6" fmla="*/ 1555528 h 1555527"/>
                <a:gd name="connsiteX7" fmla="*/ 943547 w 2104263"/>
                <a:gd name="connsiteY7" fmla="*/ 1555528 h 1555527"/>
                <a:gd name="connsiteX8" fmla="*/ 1235964 w 2104263"/>
                <a:gd name="connsiteY8" fmla="*/ 1461992 h 1555527"/>
                <a:gd name="connsiteX9" fmla="*/ 1374649 w 2104263"/>
                <a:gd name="connsiteY9" fmla="*/ 1338453 h 1555527"/>
                <a:gd name="connsiteX10" fmla="*/ 1630870 w 2104263"/>
                <a:gd name="connsiteY10" fmla="*/ 1555528 h 1555527"/>
                <a:gd name="connsiteX11" fmla="*/ 2104264 w 2104263"/>
                <a:gd name="connsiteY11" fmla="*/ 1555528 h 1555527"/>
                <a:gd name="connsiteX12" fmla="*/ 1612869 w 2104263"/>
                <a:gd name="connsiteY12" fmla="*/ 1142429 h 1555527"/>
                <a:gd name="connsiteX13" fmla="*/ 1971580 w 2104263"/>
                <a:gd name="connsiteY13" fmla="*/ 844106 h 1555527"/>
                <a:gd name="connsiteX14" fmla="*/ 1766507 w 2104263"/>
                <a:gd name="connsiteY14" fmla="*/ 666274 h 1555527"/>
                <a:gd name="connsiteX15" fmla="*/ 1404747 w 2104263"/>
                <a:gd name="connsiteY15" fmla="*/ 967645 h 1555527"/>
                <a:gd name="connsiteX16" fmla="*/ 672180 w 2104263"/>
                <a:gd name="connsiteY16" fmla="*/ 358712 h 1555527"/>
                <a:gd name="connsiteX17" fmla="*/ 672180 w 2104263"/>
                <a:gd name="connsiteY17" fmla="*/ 247174 h 1555527"/>
                <a:gd name="connsiteX18" fmla="*/ 1181767 w 2104263"/>
                <a:gd name="connsiteY18" fmla="*/ 247174 h 1555527"/>
                <a:gd name="connsiteX19" fmla="*/ 1181767 w 2104263"/>
                <a:gd name="connsiteY19" fmla="*/ 455295 h 1555527"/>
                <a:gd name="connsiteX20" fmla="*/ 1461992 w 2104263"/>
                <a:gd name="connsiteY20" fmla="*/ 407099 h 1555527"/>
                <a:gd name="connsiteX21" fmla="*/ 1461992 w 2104263"/>
                <a:gd name="connsiteY21" fmla="*/ 313563 h 1555527"/>
                <a:gd name="connsiteX22" fmla="*/ 1076134 w 2104263"/>
                <a:gd name="connsiteY22" fmla="*/ 0 h 1555527"/>
                <a:gd name="connsiteX23" fmla="*/ 762763 w 2104263"/>
                <a:gd name="connsiteY23" fmla="*/ 0 h 1555527"/>
                <a:gd name="connsiteX24" fmla="*/ 376905 w 2104263"/>
                <a:gd name="connsiteY24" fmla="*/ 283369 h 1555527"/>
                <a:gd name="connsiteX25" fmla="*/ 376905 w 2104263"/>
                <a:gd name="connsiteY25" fmla="*/ 370713 h 1555527"/>
                <a:gd name="connsiteX26" fmla="*/ 509588 w 2104263"/>
                <a:gd name="connsiteY26" fmla="*/ 605885 h 1555527"/>
                <a:gd name="connsiteX27" fmla="*/ 192881 w 2104263"/>
                <a:gd name="connsiteY27" fmla="*/ 795909 h 1555527"/>
                <a:gd name="connsiteX28" fmla="*/ 0 w 2104263"/>
                <a:gd name="connsiteY28" fmla="*/ 1085279 h 1555527"/>
                <a:gd name="connsiteX29" fmla="*/ 0 w 2104263"/>
                <a:gd name="connsiteY29" fmla="*/ 1187768 h 1555527"/>
                <a:gd name="connsiteX30" fmla="*/ 388811 w 2104263"/>
                <a:gd name="connsiteY30" fmla="*/ 1555528 h 155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104263" h="1555527">
                  <a:moveTo>
                    <a:pt x="304514" y="1284161"/>
                  </a:moveTo>
                  <a:lnTo>
                    <a:pt x="304514" y="1018985"/>
                  </a:lnTo>
                  <a:lnTo>
                    <a:pt x="702373" y="771811"/>
                  </a:lnTo>
                  <a:lnTo>
                    <a:pt x="1169575" y="1160717"/>
                  </a:lnTo>
                  <a:lnTo>
                    <a:pt x="1024890" y="1284256"/>
                  </a:lnTo>
                  <a:lnTo>
                    <a:pt x="304514" y="1284256"/>
                  </a:lnTo>
                  <a:close/>
                  <a:moveTo>
                    <a:pt x="388811" y="1555528"/>
                  </a:moveTo>
                  <a:lnTo>
                    <a:pt x="943547" y="1555528"/>
                  </a:lnTo>
                  <a:cubicBezTo>
                    <a:pt x="1073087" y="1555528"/>
                    <a:pt x="1136428" y="1549527"/>
                    <a:pt x="1235964" y="1461992"/>
                  </a:cubicBezTo>
                  <a:lnTo>
                    <a:pt x="1374649" y="1338453"/>
                  </a:lnTo>
                  <a:lnTo>
                    <a:pt x="1630870" y="1555528"/>
                  </a:lnTo>
                  <a:lnTo>
                    <a:pt x="2104264" y="1555528"/>
                  </a:lnTo>
                  <a:lnTo>
                    <a:pt x="1612869" y="1142429"/>
                  </a:lnTo>
                  <a:lnTo>
                    <a:pt x="1971580" y="844106"/>
                  </a:lnTo>
                  <a:lnTo>
                    <a:pt x="1766507" y="666274"/>
                  </a:lnTo>
                  <a:lnTo>
                    <a:pt x="1404747" y="967645"/>
                  </a:lnTo>
                  <a:lnTo>
                    <a:pt x="672180" y="358712"/>
                  </a:lnTo>
                  <a:lnTo>
                    <a:pt x="672180" y="247174"/>
                  </a:lnTo>
                  <a:lnTo>
                    <a:pt x="1181767" y="247174"/>
                  </a:lnTo>
                  <a:lnTo>
                    <a:pt x="1181767" y="455295"/>
                  </a:lnTo>
                  <a:lnTo>
                    <a:pt x="1461992" y="407099"/>
                  </a:lnTo>
                  <a:lnTo>
                    <a:pt x="1461992" y="313563"/>
                  </a:lnTo>
                  <a:cubicBezTo>
                    <a:pt x="1461992" y="60389"/>
                    <a:pt x="1356456" y="0"/>
                    <a:pt x="1076134" y="0"/>
                  </a:cubicBezTo>
                  <a:lnTo>
                    <a:pt x="762763" y="0"/>
                  </a:lnTo>
                  <a:cubicBezTo>
                    <a:pt x="497395" y="0"/>
                    <a:pt x="376905" y="60389"/>
                    <a:pt x="376905" y="283369"/>
                  </a:cubicBezTo>
                  <a:lnTo>
                    <a:pt x="376905" y="370713"/>
                  </a:lnTo>
                  <a:cubicBezTo>
                    <a:pt x="376905" y="461200"/>
                    <a:pt x="419100" y="530543"/>
                    <a:pt x="509588" y="605885"/>
                  </a:cubicBezTo>
                  <a:lnTo>
                    <a:pt x="192881" y="795909"/>
                  </a:lnTo>
                  <a:cubicBezTo>
                    <a:pt x="57341" y="877253"/>
                    <a:pt x="0" y="925449"/>
                    <a:pt x="0" y="1085279"/>
                  </a:cubicBezTo>
                  <a:lnTo>
                    <a:pt x="0" y="1187768"/>
                  </a:lnTo>
                  <a:cubicBezTo>
                    <a:pt x="0" y="1480185"/>
                    <a:pt x="96488" y="1555528"/>
                    <a:pt x="388811" y="1555528"/>
                  </a:cubicBezTo>
                </a:path>
              </a:pathLst>
            </a:custGeom>
            <a:grpFill/>
            <a:ln w="9525" cap="flat">
              <a:noFill/>
              <a:prstDash val="solid"/>
              <a:miter/>
            </a:ln>
          </p:spPr>
          <p:txBody>
            <a:bodyPr lIns="0" tIns="0" rIns="0" bIns="0" rtlCol="0" anchor="ctr"/>
            <a:lstStyle/>
            <a:p>
              <a:endParaRPr lang="de-DE" sz="100"/>
            </a:p>
          </p:txBody>
        </p:sp>
        <p:sp>
          <p:nvSpPr>
            <p:cNvPr id="28" name="s">
              <a:extLst>
                <a:ext uri="{FF2B5EF4-FFF2-40B4-BE49-F238E27FC236}">
                  <a16:creationId xmlns:a16="http://schemas.microsoft.com/office/drawing/2014/main" id="{5EAEB845-9E79-4338-9665-0C2735B94C3B}"/>
                </a:ext>
              </a:extLst>
            </p:cNvPr>
            <p:cNvSpPr/>
            <p:nvPr/>
          </p:nvSpPr>
          <p:spPr bwMode="gray">
            <a:xfrm>
              <a:off x="95250" y="3686079"/>
              <a:ext cx="1739645" cy="1555527"/>
            </a:xfrm>
            <a:custGeom>
              <a:avLst/>
              <a:gdLst>
                <a:gd name="connsiteX0" fmla="*/ 1398842 w 1739645"/>
                <a:gd name="connsiteY0" fmla="*/ 271367 h 1555527"/>
                <a:gd name="connsiteX1" fmla="*/ 1398842 w 1739645"/>
                <a:gd name="connsiteY1" fmla="*/ 439865 h 1555527"/>
                <a:gd name="connsiteX2" fmla="*/ 1718405 w 1739645"/>
                <a:gd name="connsiteY2" fmla="*/ 364522 h 1555527"/>
                <a:gd name="connsiteX3" fmla="*/ 1718405 w 1739645"/>
                <a:gd name="connsiteY3" fmla="*/ 340709 h 1555527"/>
                <a:gd name="connsiteX4" fmla="*/ 1332548 w 1739645"/>
                <a:gd name="connsiteY4" fmla="*/ 0 h 1555527"/>
                <a:gd name="connsiteX5" fmla="*/ 449199 w 1739645"/>
                <a:gd name="connsiteY5" fmla="*/ 0 h 1555527"/>
                <a:gd name="connsiteX6" fmla="*/ 63341 w 1739645"/>
                <a:gd name="connsiteY6" fmla="*/ 367855 h 1555527"/>
                <a:gd name="connsiteX7" fmla="*/ 63341 w 1739645"/>
                <a:gd name="connsiteY7" fmla="*/ 539496 h 1555527"/>
                <a:gd name="connsiteX8" fmla="*/ 449199 w 1739645"/>
                <a:gd name="connsiteY8" fmla="*/ 907351 h 1555527"/>
                <a:gd name="connsiteX9" fmla="*/ 1419987 w 1739645"/>
                <a:gd name="connsiteY9" fmla="*/ 907351 h 1555527"/>
                <a:gd name="connsiteX10" fmla="*/ 1419987 w 1739645"/>
                <a:gd name="connsiteY10" fmla="*/ 1263110 h 1555527"/>
                <a:gd name="connsiteX11" fmla="*/ 319754 w 1739645"/>
                <a:gd name="connsiteY11" fmla="*/ 1263110 h 1555527"/>
                <a:gd name="connsiteX12" fmla="*/ 319754 w 1739645"/>
                <a:gd name="connsiteY12" fmla="*/ 1095661 h 1555527"/>
                <a:gd name="connsiteX13" fmla="*/ 0 w 1739645"/>
                <a:gd name="connsiteY13" fmla="*/ 1162050 h 1555527"/>
                <a:gd name="connsiteX14" fmla="*/ 0 w 1739645"/>
                <a:gd name="connsiteY14" fmla="*/ 1187768 h 1555527"/>
                <a:gd name="connsiteX15" fmla="*/ 388906 w 1739645"/>
                <a:gd name="connsiteY15" fmla="*/ 1555528 h 1555527"/>
                <a:gd name="connsiteX16" fmla="*/ 1350740 w 1739645"/>
                <a:gd name="connsiteY16" fmla="*/ 1555528 h 1555527"/>
                <a:gd name="connsiteX17" fmla="*/ 1739646 w 1739645"/>
                <a:gd name="connsiteY17" fmla="*/ 1187768 h 1555527"/>
                <a:gd name="connsiteX18" fmla="*/ 1739646 w 1739645"/>
                <a:gd name="connsiteY18" fmla="*/ 973741 h 1555527"/>
                <a:gd name="connsiteX19" fmla="*/ 1350740 w 1739645"/>
                <a:gd name="connsiteY19" fmla="*/ 605885 h 1555527"/>
                <a:gd name="connsiteX20" fmla="*/ 379857 w 1739645"/>
                <a:gd name="connsiteY20" fmla="*/ 605885 h 1555527"/>
                <a:gd name="connsiteX21" fmla="*/ 379857 w 1739645"/>
                <a:gd name="connsiteY21" fmla="*/ 271367 h 1555527"/>
                <a:gd name="connsiteX22" fmla="*/ 1398842 w 1739645"/>
                <a:gd name="connsiteY22" fmla="*/ 271367 h 155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39645" h="1555527">
                  <a:moveTo>
                    <a:pt x="1398842" y="271367"/>
                  </a:moveTo>
                  <a:lnTo>
                    <a:pt x="1398842" y="439865"/>
                  </a:lnTo>
                  <a:lnTo>
                    <a:pt x="1718405" y="364522"/>
                  </a:lnTo>
                  <a:lnTo>
                    <a:pt x="1718405" y="340709"/>
                  </a:lnTo>
                  <a:cubicBezTo>
                    <a:pt x="1718405" y="72295"/>
                    <a:pt x="1609916" y="0"/>
                    <a:pt x="1332548" y="0"/>
                  </a:cubicBezTo>
                  <a:lnTo>
                    <a:pt x="449199" y="0"/>
                  </a:lnTo>
                  <a:cubicBezTo>
                    <a:pt x="156781" y="0"/>
                    <a:pt x="63341" y="75343"/>
                    <a:pt x="63341" y="367855"/>
                  </a:cubicBezTo>
                  <a:lnTo>
                    <a:pt x="63341" y="539496"/>
                  </a:lnTo>
                  <a:cubicBezTo>
                    <a:pt x="63341" y="832009"/>
                    <a:pt x="156877" y="907351"/>
                    <a:pt x="449199" y="907351"/>
                  </a:cubicBezTo>
                  <a:lnTo>
                    <a:pt x="1419987" y="907351"/>
                  </a:lnTo>
                  <a:lnTo>
                    <a:pt x="1419987" y="1263110"/>
                  </a:lnTo>
                  <a:lnTo>
                    <a:pt x="319754" y="1263110"/>
                  </a:lnTo>
                  <a:lnTo>
                    <a:pt x="319754" y="1095661"/>
                  </a:lnTo>
                  <a:lnTo>
                    <a:pt x="0" y="1162050"/>
                  </a:lnTo>
                  <a:lnTo>
                    <a:pt x="0" y="1187768"/>
                  </a:lnTo>
                  <a:cubicBezTo>
                    <a:pt x="0" y="1480185"/>
                    <a:pt x="96488" y="1555528"/>
                    <a:pt x="388906" y="1555528"/>
                  </a:cubicBezTo>
                  <a:lnTo>
                    <a:pt x="1350740" y="1555528"/>
                  </a:lnTo>
                  <a:cubicBezTo>
                    <a:pt x="1643158" y="1555528"/>
                    <a:pt x="1739646" y="1480185"/>
                    <a:pt x="1739646" y="1187768"/>
                  </a:cubicBezTo>
                  <a:lnTo>
                    <a:pt x="1739646" y="973741"/>
                  </a:lnTo>
                  <a:cubicBezTo>
                    <a:pt x="1739646" y="681228"/>
                    <a:pt x="1643158" y="605885"/>
                    <a:pt x="1350740" y="605885"/>
                  </a:cubicBezTo>
                  <a:lnTo>
                    <a:pt x="379857" y="605885"/>
                  </a:lnTo>
                  <a:lnTo>
                    <a:pt x="379857" y="271367"/>
                  </a:lnTo>
                  <a:lnTo>
                    <a:pt x="1398842" y="271367"/>
                  </a:lnTo>
                  <a:close/>
                </a:path>
              </a:pathLst>
            </a:custGeom>
            <a:grpFill/>
            <a:ln w="9525" cap="flat">
              <a:noFill/>
              <a:prstDash val="solid"/>
              <a:miter/>
            </a:ln>
          </p:spPr>
          <p:txBody>
            <a:bodyPr lIns="0" tIns="0" rIns="0" bIns="0" rtlCol="0" anchor="ctr"/>
            <a:lstStyle/>
            <a:p>
              <a:endParaRPr lang="de-DE" sz="100"/>
            </a:p>
          </p:txBody>
        </p:sp>
        <p:sp>
          <p:nvSpPr>
            <p:cNvPr id="29" name="o">
              <a:extLst>
                <a:ext uri="{FF2B5EF4-FFF2-40B4-BE49-F238E27FC236}">
                  <a16:creationId xmlns:a16="http://schemas.microsoft.com/office/drawing/2014/main" id="{DF1FBB60-B2D3-4FBC-9E38-D485EF50542D}"/>
                </a:ext>
              </a:extLst>
            </p:cNvPr>
            <p:cNvSpPr/>
            <p:nvPr/>
          </p:nvSpPr>
          <p:spPr bwMode="gray">
            <a:xfrm>
              <a:off x="2206942" y="3966591"/>
              <a:ext cx="1682019" cy="1275207"/>
            </a:xfrm>
            <a:custGeom>
              <a:avLst/>
              <a:gdLst>
                <a:gd name="connsiteX0" fmla="*/ 326041 w 1682019"/>
                <a:gd name="connsiteY0" fmla="*/ 234982 h 1275207"/>
                <a:gd name="connsiteX1" fmla="*/ 1374648 w 1682019"/>
                <a:gd name="connsiteY1" fmla="*/ 234982 h 1275207"/>
                <a:gd name="connsiteX2" fmla="*/ 1374648 w 1682019"/>
                <a:gd name="connsiteY2" fmla="*/ 1030891 h 1275207"/>
                <a:gd name="connsiteX3" fmla="*/ 326041 w 1682019"/>
                <a:gd name="connsiteY3" fmla="*/ 1030891 h 1275207"/>
                <a:gd name="connsiteX4" fmla="*/ 326041 w 1682019"/>
                <a:gd name="connsiteY4" fmla="*/ 234982 h 1275207"/>
                <a:gd name="connsiteX5" fmla="*/ 0 w 1682019"/>
                <a:gd name="connsiteY5" fmla="*/ 301371 h 1275207"/>
                <a:gd name="connsiteX6" fmla="*/ 0 w 1682019"/>
                <a:gd name="connsiteY6" fmla="*/ 973646 h 1275207"/>
                <a:gd name="connsiteX7" fmla="*/ 338233 w 1682019"/>
                <a:gd name="connsiteY7" fmla="*/ 1275207 h 1275207"/>
                <a:gd name="connsiteX8" fmla="*/ 1343787 w 1682019"/>
                <a:gd name="connsiteY8" fmla="*/ 1275207 h 1275207"/>
                <a:gd name="connsiteX9" fmla="*/ 1682020 w 1682019"/>
                <a:gd name="connsiteY9" fmla="*/ 973646 h 1275207"/>
                <a:gd name="connsiteX10" fmla="*/ 1682020 w 1682019"/>
                <a:gd name="connsiteY10" fmla="*/ 301371 h 1275207"/>
                <a:gd name="connsiteX11" fmla="*/ 1343787 w 1682019"/>
                <a:gd name="connsiteY11" fmla="*/ 0 h 1275207"/>
                <a:gd name="connsiteX12" fmla="*/ 338233 w 1682019"/>
                <a:gd name="connsiteY12" fmla="*/ 0 h 1275207"/>
                <a:gd name="connsiteX13" fmla="*/ 0 w 1682019"/>
                <a:gd name="connsiteY13" fmla="*/ 301371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82019" h="1275207">
                  <a:moveTo>
                    <a:pt x="326041" y="234982"/>
                  </a:moveTo>
                  <a:lnTo>
                    <a:pt x="1374648" y="234982"/>
                  </a:lnTo>
                  <a:lnTo>
                    <a:pt x="1374648" y="1030891"/>
                  </a:lnTo>
                  <a:lnTo>
                    <a:pt x="326041" y="1030891"/>
                  </a:lnTo>
                  <a:lnTo>
                    <a:pt x="326041" y="234982"/>
                  </a:lnTo>
                  <a:close/>
                  <a:moveTo>
                    <a:pt x="0" y="301371"/>
                  </a:moveTo>
                  <a:lnTo>
                    <a:pt x="0" y="973646"/>
                  </a:lnTo>
                  <a:cubicBezTo>
                    <a:pt x="0" y="1214819"/>
                    <a:pt x="79915" y="1275207"/>
                    <a:pt x="338233" y="1275207"/>
                  </a:cubicBezTo>
                  <a:lnTo>
                    <a:pt x="1343787" y="1275207"/>
                  </a:lnTo>
                  <a:cubicBezTo>
                    <a:pt x="1598962" y="1275207"/>
                    <a:pt x="1682020" y="1214819"/>
                    <a:pt x="1682020" y="973646"/>
                  </a:cubicBezTo>
                  <a:lnTo>
                    <a:pt x="1682020" y="301371"/>
                  </a:lnTo>
                  <a:cubicBezTo>
                    <a:pt x="1682020" y="57150"/>
                    <a:pt x="1598867" y="0"/>
                    <a:pt x="1343787" y="0"/>
                  </a:cubicBezTo>
                  <a:lnTo>
                    <a:pt x="338233" y="0"/>
                  </a:lnTo>
                  <a:cubicBezTo>
                    <a:pt x="83153" y="0"/>
                    <a:pt x="0" y="57150"/>
                    <a:pt x="0" y="301371"/>
                  </a:cubicBezTo>
                </a:path>
              </a:pathLst>
            </a:custGeom>
            <a:grpFill/>
            <a:ln w="9525" cap="flat">
              <a:noFill/>
              <a:prstDash val="solid"/>
              <a:miter/>
            </a:ln>
          </p:spPr>
          <p:txBody>
            <a:bodyPr lIns="0" tIns="0" rIns="0" bIns="0" rtlCol="0" anchor="ctr"/>
            <a:lstStyle/>
            <a:p>
              <a:endParaRPr lang="de-DE" sz="100"/>
            </a:p>
          </p:txBody>
        </p:sp>
        <p:sp>
          <p:nvSpPr>
            <p:cNvPr id="30" name="m">
              <a:extLst>
                <a:ext uri="{FF2B5EF4-FFF2-40B4-BE49-F238E27FC236}">
                  <a16:creationId xmlns:a16="http://schemas.microsoft.com/office/drawing/2014/main" id="{BC9E3E74-4A0C-4DA9-AA93-703FA6A38B9E}"/>
                </a:ext>
              </a:extLst>
            </p:cNvPr>
            <p:cNvSpPr/>
            <p:nvPr/>
          </p:nvSpPr>
          <p:spPr bwMode="gray">
            <a:xfrm>
              <a:off x="4290155" y="3966495"/>
              <a:ext cx="1815750" cy="1275207"/>
            </a:xfrm>
            <a:custGeom>
              <a:avLst/>
              <a:gdLst>
                <a:gd name="connsiteX0" fmla="*/ 1560576 w 1815750"/>
                <a:gd name="connsiteY0" fmla="*/ 0 h 1275207"/>
                <a:gd name="connsiteX1" fmla="*/ 927163 w 1815750"/>
                <a:gd name="connsiteY1" fmla="*/ 756571 h 1275207"/>
                <a:gd name="connsiteX2" fmla="*/ 290703 w 1815750"/>
                <a:gd name="connsiteY2" fmla="*/ 0 h 1275207"/>
                <a:gd name="connsiteX3" fmla="*/ 0 w 1815750"/>
                <a:gd name="connsiteY3" fmla="*/ 0 h 1275207"/>
                <a:gd name="connsiteX4" fmla="*/ 0 w 1815750"/>
                <a:gd name="connsiteY4" fmla="*/ 1275207 h 1275207"/>
                <a:gd name="connsiteX5" fmla="*/ 290703 w 1815750"/>
                <a:gd name="connsiteY5" fmla="*/ 1275207 h 1275207"/>
                <a:gd name="connsiteX6" fmla="*/ 290703 w 1815750"/>
                <a:gd name="connsiteY6" fmla="*/ 419100 h 1275207"/>
                <a:gd name="connsiteX7" fmla="*/ 877919 w 1815750"/>
                <a:gd name="connsiteY7" fmla="*/ 1121474 h 1275207"/>
                <a:gd name="connsiteX8" fmla="*/ 939356 w 1815750"/>
                <a:gd name="connsiteY8" fmla="*/ 1121474 h 1275207"/>
                <a:gd name="connsiteX9" fmla="*/ 1520571 w 1815750"/>
                <a:gd name="connsiteY9" fmla="*/ 397859 h 1275207"/>
                <a:gd name="connsiteX10" fmla="*/ 1520571 w 1815750"/>
                <a:gd name="connsiteY10" fmla="*/ 1275207 h 1275207"/>
                <a:gd name="connsiteX11" fmla="*/ 1815751 w 1815750"/>
                <a:gd name="connsiteY11" fmla="*/ 1275207 h 1275207"/>
                <a:gd name="connsiteX12" fmla="*/ 1815751 w 1815750"/>
                <a:gd name="connsiteY12" fmla="*/ 0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5750" h="1275207">
                  <a:moveTo>
                    <a:pt x="1560576" y="0"/>
                  </a:moveTo>
                  <a:lnTo>
                    <a:pt x="927163" y="756571"/>
                  </a:lnTo>
                  <a:lnTo>
                    <a:pt x="290703" y="0"/>
                  </a:lnTo>
                  <a:lnTo>
                    <a:pt x="0" y="0"/>
                  </a:lnTo>
                  <a:lnTo>
                    <a:pt x="0" y="1275207"/>
                  </a:lnTo>
                  <a:lnTo>
                    <a:pt x="290703" y="1275207"/>
                  </a:lnTo>
                  <a:lnTo>
                    <a:pt x="290703" y="419100"/>
                  </a:lnTo>
                  <a:lnTo>
                    <a:pt x="877919" y="1121474"/>
                  </a:lnTo>
                  <a:lnTo>
                    <a:pt x="939356" y="1121474"/>
                  </a:lnTo>
                  <a:lnTo>
                    <a:pt x="1520571" y="397859"/>
                  </a:lnTo>
                  <a:lnTo>
                    <a:pt x="1520571" y="1275207"/>
                  </a:lnTo>
                  <a:lnTo>
                    <a:pt x="1815751" y="1275207"/>
                  </a:lnTo>
                  <a:lnTo>
                    <a:pt x="1815751" y="0"/>
                  </a:lnTo>
                  <a:close/>
                </a:path>
              </a:pathLst>
            </a:custGeom>
            <a:grpFill/>
            <a:ln w="9525" cap="flat">
              <a:noFill/>
              <a:prstDash val="solid"/>
              <a:miter/>
            </a:ln>
          </p:spPr>
          <p:txBody>
            <a:bodyPr lIns="0" tIns="0" rIns="0" bIns="0" rtlCol="0" anchor="ctr"/>
            <a:lstStyle/>
            <a:p>
              <a:endParaRPr lang="de-DE" sz="100"/>
            </a:p>
          </p:txBody>
        </p:sp>
        <p:sp>
          <p:nvSpPr>
            <p:cNvPr id="31" name="m">
              <a:extLst>
                <a:ext uri="{FF2B5EF4-FFF2-40B4-BE49-F238E27FC236}">
                  <a16:creationId xmlns:a16="http://schemas.microsoft.com/office/drawing/2014/main" id="{9D1CC7BA-D7CB-44B2-92C3-84020751560F}"/>
                </a:ext>
              </a:extLst>
            </p:cNvPr>
            <p:cNvSpPr/>
            <p:nvPr/>
          </p:nvSpPr>
          <p:spPr bwMode="gray">
            <a:xfrm>
              <a:off x="6535102" y="3966495"/>
              <a:ext cx="1815750" cy="1275207"/>
            </a:xfrm>
            <a:custGeom>
              <a:avLst/>
              <a:gdLst>
                <a:gd name="connsiteX0" fmla="*/ 1560672 w 1815750"/>
                <a:gd name="connsiteY0" fmla="*/ 0 h 1275207"/>
                <a:gd name="connsiteX1" fmla="*/ 927164 w 1815750"/>
                <a:gd name="connsiteY1" fmla="*/ 756571 h 1275207"/>
                <a:gd name="connsiteX2" fmla="*/ 290799 w 1815750"/>
                <a:gd name="connsiteY2" fmla="*/ 0 h 1275207"/>
                <a:gd name="connsiteX3" fmla="*/ 0 w 1815750"/>
                <a:gd name="connsiteY3" fmla="*/ 0 h 1275207"/>
                <a:gd name="connsiteX4" fmla="*/ 0 w 1815750"/>
                <a:gd name="connsiteY4" fmla="*/ 1275207 h 1275207"/>
                <a:gd name="connsiteX5" fmla="*/ 290799 w 1815750"/>
                <a:gd name="connsiteY5" fmla="*/ 1275207 h 1275207"/>
                <a:gd name="connsiteX6" fmla="*/ 290799 w 1815750"/>
                <a:gd name="connsiteY6" fmla="*/ 419100 h 1275207"/>
                <a:gd name="connsiteX7" fmla="*/ 878015 w 1815750"/>
                <a:gd name="connsiteY7" fmla="*/ 1121474 h 1275207"/>
                <a:gd name="connsiteX8" fmla="*/ 939546 w 1815750"/>
                <a:gd name="connsiteY8" fmla="*/ 1121474 h 1275207"/>
                <a:gd name="connsiteX9" fmla="*/ 1520571 w 1815750"/>
                <a:gd name="connsiteY9" fmla="*/ 397859 h 1275207"/>
                <a:gd name="connsiteX10" fmla="*/ 1520571 w 1815750"/>
                <a:gd name="connsiteY10" fmla="*/ 1275207 h 1275207"/>
                <a:gd name="connsiteX11" fmla="*/ 1815751 w 1815750"/>
                <a:gd name="connsiteY11" fmla="*/ 1275207 h 1275207"/>
                <a:gd name="connsiteX12" fmla="*/ 1815751 w 1815750"/>
                <a:gd name="connsiteY12" fmla="*/ 0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5750" h="1275207">
                  <a:moveTo>
                    <a:pt x="1560672" y="0"/>
                  </a:moveTo>
                  <a:lnTo>
                    <a:pt x="927164" y="756571"/>
                  </a:lnTo>
                  <a:lnTo>
                    <a:pt x="290799" y="0"/>
                  </a:lnTo>
                  <a:lnTo>
                    <a:pt x="0" y="0"/>
                  </a:lnTo>
                  <a:lnTo>
                    <a:pt x="0" y="1275207"/>
                  </a:lnTo>
                  <a:lnTo>
                    <a:pt x="290799" y="1275207"/>
                  </a:lnTo>
                  <a:lnTo>
                    <a:pt x="290799" y="419100"/>
                  </a:lnTo>
                  <a:lnTo>
                    <a:pt x="878015" y="1121474"/>
                  </a:lnTo>
                  <a:lnTo>
                    <a:pt x="939546" y="1121474"/>
                  </a:lnTo>
                  <a:lnTo>
                    <a:pt x="1520571" y="397859"/>
                  </a:lnTo>
                  <a:lnTo>
                    <a:pt x="1520571" y="1275207"/>
                  </a:lnTo>
                  <a:lnTo>
                    <a:pt x="1815751" y="1275207"/>
                  </a:lnTo>
                  <a:lnTo>
                    <a:pt x="1815751" y="0"/>
                  </a:lnTo>
                  <a:close/>
                </a:path>
              </a:pathLst>
            </a:custGeom>
            <a:grpFill/>
            <a:ln w="9525" cap="flat">
              <a:noFill/>
              <a:prstDash val="solid"/>
              <a:miter/>
            </a:ln>
          </p:spPr>
          <p:txBody>
            <a:bodyPr lIns="0" tIns="0" rIns="0" bIns="0" rtlCol="0" anchor="ctr"/>
            <a:lstStyle/>
            <a:p>
              <a:endParaRPr lang="de-DE" sz="100"/>
            </a:p>
          </p:txBody>
        </p:sp>
        <p:sp>
          <p:nvSpPr>
            <p:cNvPr id="32" name="e">
              <a:extLst>
                <a:ext uri="{FF2B5EF4-FFF2-40B4-BE49-F238E27FC236}">
                  <a16:creationId xmlns:a16="http://schemas.microsoft.com/office/drawing/2014/main" id="{003F2468-26C0-406C-A17D-50679D8F7AA7}"/>
                </a:ext>
              </a:extLst>
            </p:cNvPr>
            <p:cNvSpPr/>
            <p:nvPr/>
          </p:nvSpPr>
          <p:spPr bwMode="gray">
            <a:xfrm>
              <a:off x="8765762" y="3966495"/>
              <a:ext cx="1411319" cy="1275207"/>
            </a:xfrm>
            <a:custGeom>
              <a:avLst/>
              <a:gdLst>
                <a:gd name="connsiteX0" fmla="*/ 0 w 1411319"/>
                <a:gd name="connsiteY0" fmla="*/ 0 h 1275207"/>
                <a:gd name="connsiteX1" fmla="*/ 0 w 1411319"/>
                <a:gd name="connsiteY1" fmla="*/ 1275207 h 1275207"/>
                <a:gd name="connsiteX2" fmla="*/ 1411319 w 1411319"/>
                <a:gd name="connsiteY2" fmla="*/ 1275207 h 1275207"/>
                <a:gd name="connsiteX3" fmla="*/ 1411319 w 1411319"/>
                <a:gd name="connsiteY3" fmla="*/ 1036987 h 1275207"/>
                <a:gd name="connsiteX4" fmla="*/ 319850 w 1411319"/>
                <a:gd name="connsiteY4" fmla="*/ 1036987 h 1275207"/>
                <a:gd name="connsiteX5" fmla="*/ 319850 w 1411319"/>
                <a:gd name="connsiteY5" fmla="*/ 723424 h 1275207"/>
                <a:gd name="connsiteX6" fmla="*/ 947166 w 1411319"/>
                <a:gd name="connsiteY6" fmla="*/ 723424 h 1275207"/>
                <a:gd name="connsiteX7" fmla="*/ 947166 w 1411319"/>
                <a:gd name="connsiteY7" fmla="*/ 503396 h 1275207"/>
                <a:gd name="connsiteX8" fmla="*/ 319850 w 1411319"/>
                <a:gd name="connsiteY8" fmla="*/ 503396 h 1275207"/>
                <a:gd name="connsiteX9" fmla="*/ 319850 w 1411319"/>
                <a:gd name="connsiteY9" fmla="*/ 226219 h 1275207"/>
                <a:gd name="connsiteX10" fmla="*/ 1395984 w 1411319"/>
                <a:gd name="connsiteY10" fmla="*/ 226219 h 1275207"/>
                <a:gd name="connsiteX11" fmla="*/ 1395984 w 1411319"/>
                <a:gd name="connsiteY11" fmla="*/ 0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11319" h="1275207">
                  <a:moveTo>
                    <a:pt x="0" y="0"/>
                  </a:moveTo>
                  <a:lnTo>
                    <a:pt x="0" y="1275207"/>
                  </a:lnTo>
                  <a:lnTo>
                    <a:pt x="1411319" y="1275207"/>
                  </a:lnTo>
                  <a:lnTo>
                    <a:pt x="1411319" y="1036987"/>
                  </a:lnTo>
                  <a:lnTo>
                    <a:pt x="319850" y="1036987"/>
                  </a:lnTo>
                  <a:lnTo>
                    <a:pt x="319850" y="723424"/>
                  </a:lnTo>
                  <a:lnTo>
                    <a:pt x="947166" y="723424"/>
                  </a:lnTo>
                  <a:lnTo>
                    <a:pt x="947166" y="503396"/>
                  </a:lnTo>
                  <a:lnTo>
                    <a:pt x="319850" y="503396"/>
                  </a:lnTo>
                  <a:lnTo>
                    <a:pt x="319850" y="226219"/>
                  </a:lnTo>
                  <a:lnTo>
                    <a:pt x="1395984" y="226219"/>
                  </a:lnTo>
                  <a:lnTo>
                    <a:pt x="1395984" y="0"/>
                  </a:lnTo>
                  <a:close/>
                </a:path>
              </a:pathLst>
            </a:custGeom>
            <a:grpFill/>
            <a:ln w="9525" cap="flat">
              <a:noFill/>
              <a:prstDash val="solid"/>
              <a:miter/>
            </a:ln>
          </p:spPr>
          <p:txBody>
            <a:bodyPr lIns="0" tIns="0" rIns="0" bIns="0" rtlCol="0" anchor="ctr"/>
            <a:lstStyle/>
            <a:p>
              <a:endParaRPr lang="de-DE" sz="100"/>
            </a:p>
          </p:txBody>
        </p:sp>
        <p:sp>
          <p:nvSpPr>
            <p:cNvPr id="33" name="r">
              <a:extLst>
                <a:ext uri="{FF2B5EF4-FFF2-40B4-BE49-F238E27FC236}">
                  <a16:creationId xmlns:a16="http://schemas.microsoft.com/office/drawing/2014/main" id="{D9CF7EEA-A666-4706-A10E-CC0DEC4C4EFD}"/>
                </a:ext>
              </a:extLst>
            </p:cNvPr>
            <p:cNvSpPr/>
            <p:nvPr/>
          </p:nvSpPr>
          <p:spPr bwMode="gray">
            <a:xfrm>
              <a:off x="10504359" y="3966495"/>
              <a:ext cx="1579817" cy="1275207"/>
            </a:xfrm>
            <a:custGeom>
              <a:avLst/>
              <a:gdLst>
                <a:gd name="connsiteX0" fmla="*/ 1015937 w 1579817"/>
                <a:gd name="connsiteY0" fmla="*/ 220028 h 1275207"/>
                <a:gd name="connsiteX1" fmla="*/ 1157669 w 1579817"/>
                <a:gd name="connsiteY1" fmla="*/ 322517 h 1275207"/>
                <a:gd name="connsiteX2" fmla="*/ 1157669 w 1579817"/>
                <a:gd name="connsiteY2" fmla="*/ 470249 h 1275207"/>
                <a:gd name="connsiteX3" fmla="*/ 1015937 w 1579817"/>
                <a:gd name="connsiteY3" fmla="*/ 572738 h 1275207"/>
                <a:gd name="connsiteX4" fmla="*/ 307467 w 1579817"/>
                <a:gd name="connsiteY4" fmla="*/ 572738 h 1275207"/>
                <a:gd name="connsiteX5" fmla="*/ 307467 w 1579817"/>
                <a:gd name="connsiteY5" fmla="*/ 220028 h 1275207"/>
                <a:gd name="connsiteX6" fmla="*/ 1015937 w 1579817"/>
                <a:gd name="connsiteY6" fmla="*/ 220028 h 1275207"/>
                <a:gd name="connsiteX7" fmla="*/ 0 w 1579817"/>
                <a:gd name="connsiteY7" fmla="*/ 1275207 h 1275207"/>
                <a:gd name="connsiteX8" fmla="*/ 307563 w 1579817"/>
                <a:gd name="connsiteY8" fmla="*/ 1275207 h 1275207"/>
                <a:gd name="connsiteX9" fmla="*/ 307563 w 1579817"/>
                <a:gd name="connsiteY9" fmla="*/ 792766 h 1275207"/>
                <a:gd name="connsiteX10" fmla="*/ 599981 w 1579817"/>
                <a:gd name="connsiteY10" fmla="*/ 792766 h 1275207"/>
                <a:gd name="connsiteX11" fmla="*/ 1133570 w 1579817"/>
                <a:gd name="connsiteY11" fmla="*/ 1275207 h 1275207"/>
                <a:gd name="connsiteX12" fmla="*/ 1579818 w 1579817"/>
                <a:gd name="connsiteY12" fmla="*/ 1275207 h 1275207"/>
                <a:gd name="connsiteX13" fmla="*/ 973931 w 1579817"/>
                <a:gd name="connsiteY13" fmla="*/ 792766 h 1275207"/>
                <a:gd name="connsiteX14" fmla="*/ 1148811 w 1579817"/>
                <a:gd name="connsiteY14" fmla="*/ 792766 h 1275207"/>
                <a:gd name="connsiteX15" fmla="*/ 1447229 w 1579817"/>
                <a:gd name="connsiteY15" fmla="*/ 548545 h 1275207"/>
                <a:gd name="connsiteX16" fmla="*/ 1447229 w 1579817"/>
                <a:gd name="connsiteY16" fmla="*/ 247174 h 1275207"/>
                <a:gd name="connsiteX17" fmla="*/ 1148811 w 1579817"/>
                <a:gd name="connsiteY17" fmla="*/ 0 h 1275207"/>
                <a:gd name="connsiteX18" fmla="*/ 191 w 1579817"/>
                <a:gd name="connsiteY18" fmla="*/ 0 h 1275207"/>
                <a:gd name="connsiteX19" fmla="*/ 191 w 1579817"/>
                <a:gd name="connsiteY19" fmla="*/ 1275207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79817" h="1275207">
                  <a:moveTo>
                    <a:pt x="1015937" y="220028"/>
                  </a:moveTo>
                  <a:cubicBezTo>
                    <a:pt x="1109282" y="220028"/>
                    <a:pt x="1157669" y="238220"/>
                    <a:pt x="1157669" y="322517"/>
                  </a:cubicBezTo>
                  <a:lnTo>
                    <a:pt x="1157669" y="470249"/>
                  </a:lnTo>
                  <a:cubicBezTo>
                    <a:pt x="1157669" y="554736"/>
                    <a:pt x="1109282" y="572738"/>
                    <a:pt x="1015937" y="572738"/>
                  </a:cubicBezTo>
                  <a:lnTo>
                    <a:pt x="307467" y="572738"/>
                  </a:lnTo>
                  <a:lnTo>
                    <a:pt x="307467" y="220028"/>
                  </a:lnTo>
                  <a:lnTo>
                    <a:pt x="1015937" y="220028"/>
                  </a:lnTo>
                  <a:close/>
                  <a:moveTo>
                    <a:pt x="0" y="1275207"/>
                  </a:moveTo>
                  <a:lnTo>
                    <a:pt x="307563" y="1275207"/>
                  </a:lnTo>
                  <a:lnTo>
                    <a:pt x="307563" y="792766"/>
                  </a:lnTo>
                  <a:lnTo>
                    <a:pt x="599981" y="792766"/>
                  </a:lnTo>
                  <a:lnTo>
                    <a:pt x="1133570" y="1275207"/>
                  </a:lnTo>
                  <a:lnTo>
                    <a:pt x="1579818" y="1275207"/>
                  </a:lnTo>
                  <a:lnTo>
                    <a:pt x="973931" y="792766"/>
                  </a:lnTo>
                  <a:lnTo>
                    <a:pt x="1148811" y="792766"/>
                  </a:lnTo>
                  <a:cubicBezTo>
                    <a:pt x="1353693" y="792766"/>
                    <a:pt x="1447229" y="723424"/>
                    <a:pt x="1447229" y="548545"/>
                  </a:cubicBezTo>
                  <a:lnTo>
                    <a:pt x="1447229" y="247174"/>
                  </a:lnTo>
                  <a:cubicBezTo>
                    <a:pt x="1447229" y="69342"/>
                    <a:pt x="1353693" y="0"/>
                    <a:pt x="1148811" y="0"/>
                  </a:cubicBezTo>
                  <a:lnTo>
                    <a:pt x="191" y="0"/>
                  </a:lnTo>
                  <a:lnTo>
                    <a:pt x="191" y="1275207"/>
                  </a:lnTo>
                  <a:close/>
                </a:path>
              </a:pathLst>
            </a:custGeom>
            <a:grpFill/>
            <a:ln w="9525" cap="flat">
              <a:noFill/>
              <a:prstDash val="solid"/>
              <a:miter/>
            </a:ln>
          </p:spPr>
          <p:txBody>
            <a:bodyPr lIns="0" tIns="0" rIns="0" bIns="0" rtlCol="0" anchor="ctr"/>
            <a:lstStyle/>
            <a:p>
              <a:endParaRPr lang="de-DE" sz="100"/>
            </a:p>
          </p:txBody>
        </p:sp>
      </p:grpSp>
      <p:sp>
        <p:nvSpPr>
          <p:cNvPr id="2" name="title">
            <a:extLst>
              <a:ext uri="{FF2B5EF4-FFF2-40B4-BE49-F238E27FC236}">
                <a16:creationId xmlns:a16="http://schemas.microsoft.com/office/drawing/2014/main" id="{2D63E91F-7C50-4944-B1AC-430EC102DAF7}"/>
              </a:ext>
            </a:extLst>
          </p:cNvPr>
          <p:cNvSpPr>
            <a:spLocks noGrp="1"/>
          </p:cNvSpPr>
          <p:nvPr userDrawn="1">
            <p:ph type="ctrTitle"/>
          </p:nvPr>
        </p:nvSpPr>
        <p:spPr bwMode="gray">
          <a:xfrm>
            <a:off x="0" y="3661334"/>
            <a:ext cx="5400000" cy="3196666"/>
          </a:xfrm>
          <a:noFill/>
        </p:spPr>
        <p:txBody>
          <a:bodyPr lIns="525600" tIns="514800" rIns="216000" bIns="720000" anchor="t">
            <a:noAutofit/>
          </a:bodyPr>
          <a:lstStyle>
            <a:lvl1pPr algn="l">
              <a:defRPr sz="2600">
                <a:solidFill>
                  <a:schemeClr val="tx1"/>
                </a:solidFill>
              </a:defRPr>
            </a:lvl1pPr>
          </a:lstStyle>
          <a:p>
            <a:r>
              <a:rPr lang="de-DE"/>
              <a:t>Mastertitelformat bearbeiten</a:t>
            </a:r>
            <a:endParaRPr lang="en-US"/>
          </a:p>
        </p:txBody>
      </p:sp>
      <p:sp>
        <p:nvSpPr>
          <p:cNvPr id="3" name="subtitle">
            <a:extLst>
              <a:ext uri="{FF2B5EF4-FFF2-40B4-BE49-F238E27FC236}">
                <a16:creationId xmlns:a16="http://schemas.microsoft.com/office/drawing/2014/main" id="{D3F50A68-F558-4D31-BE77-E20AB0A29926}"/>
              </a:ext>
            </a:extLst>
          </p:cNvPr>
          <p:cNvSpPr>
            <a:spLocks noGrp="1"/>
          </p:cNvSpPr>
          <p:nvPr userDrawn="1">
            <p:ph type="subTitle" idx="1" hasCustomPrompt="1"/>
          </p:nvPr>
        </p:nvSpPr>
        <p:spPr bwMode="gray">
          <a:xfrm>
            <a:off x="0" y="5312218"/>
            <a:ext cx="5400000" cy="432000"/>
          </a:xfrm>
        </p:spPr>
        <p:txBody>
          <a:bodyPr lIns="540000" rIns="216000" bIns="216000"/>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itle / Speaker / Date / Location</a:t>
            </a:r>
            <a:endParaRPr lang="en-US"/>
          </a:p>
        </p:txBody>
      </p:sp>
      <p:sp>
        <p:nvSpPr>
          <p:cNvPr id="6" name="slide number">
            <a:extLst>
              <a:ext uri="{FF2B5EF4-FFF2-40B4-BE49-F238E27FC236}">
                <a16:creationId xmlns:a16="http://schemas.microsoft.com/office/drawing/2014/main" id="{F1423FEB-CFD7-4376-A0C4-D91B3BE0287A}"/>
              </a:ext>
            </a:extLst>
          </p:cNvPr>
          <p:cNvSpPr>
            <a:spLocks noGrp="1"/>
          </p:cNvSpPr>
          <p:nvPr userDrawn="1">
            <p:ph type="sldNum" sz="quarter" idx="12"/>
          </p:nvPr>
        </p:nvSpPr>
        <p:spPr bwMode="gray">
          <a:xfrm>
            <a:off x="525600" y="7200000"/>
            <a:ext cx="234000" cy="180000"/>
          </a:xfrm>
        </p:spPr>
        <p:txBody>
          <a:bodyPr lIns="0" tIns="0" rIns="0" bIns="0"/>
          <a:lstStyle/>
          <a:p>
            <a:fld id="{9829449A-3FF3-45CE-9F4F-09BADC0910C6}" type="slidenum">
              <a:rPr lang="en-US" smtClean="0"/>
              <a:t>‹Nr.›</a:t>
            </a:fld>
            <a:endParaRPr lang="en-US"/>
          </a:p>
        </p:txBody>
      </p:sp>
      <p:sp>
        <p:nvSpPr>
          <p:cNvPr id="5" name="footer">
            <a:extLst>
              <a:ext uri="{FF2B5EF4-FFF2-40B4-BE49-F238E27FC236}">
                <a16:creationId xmlns:a16="http://schemas.microsoft.com/office/drawing/2014/main" id="{190677E9-326C-4EF5-ADE8-5E9E2D32D3E6}"/>
              </a:ext>
            </a:extLst>
          </p:cNvPr>
          <p:cNvSpPr>
            <a:spLocks noGrp="1"/>
          </p:cNvSpPr>
          <p:nvPr userDrawn="1">
            <p:ph type="ftr" sz="quarter" idx="11"/>
          </p:nvPr>
        </p:nvSpPr>
        <p:spPr bwMode="gray">
          <a:xfrm>
            <a:off x="763200" y="7200000"/>
            <a:ext cx="7880400" cy="180000"/>
          </a:xfrm>
        </p:spPr>
        <p:txBody>
          <a:bodyPr lIns="0" tIns="0" rIns="0" bIns="0"/>
          <a:lstStyle/>
          <a:p>
            <a:endParaRPr lang="en-US"/>
          </a:p>
        </p:txBody>
      </p:sp>
    </p:spTree>
    <p:extLst>
      <p:ext uri="{BB962C8B-B14F-4D97-AF65-F5344CB8AC3E}">
        <p14:creationId xmlns:p14="http://schemas.microsoft.com/office/powerpoint/2010/main" val="1108406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306" userDrawn="1">
          <p15:clr>
            <a:srgbClr val="FBAE40"/>
          </p15:clr>
        </p15:guide>
        <p15:guide id="2" orient="horz" pos="3345" userDrawn="1">
          <p15:clr>
            <a:srgbClr val="FBAE40"/>
          </p15:clr>
        </p15:guide>
        <p15:guide id="3" pos="3402"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amp; Full Picture 1/1">
    <p:spTree>
      <p:nvGrpSpPr>
        <p:cNvPr id="1" name=""/>
        <p:cNvGrpSpPr/>
        <p:nvPr/>
      </p:nvGrpSpPr>
      <p:grpSpPr>
        <a:xfrm>
          <a:off x="0" y="0"/>
          <a:ext cx="0" cy="0"/>
          <a:chOff x="0" y="0"/>
          <a:chExt cx="0" cy="0"/>
        </a:xfrm>
      </p:grpSpPr>
      <p:sp>
        <p:nvSpPr>
          <p:cNvPr id="35" name="logo drees&amp;sommer blue mask">
            <a:extLst>
              <a:ext uri="{FF2B5EF4-FFF2-40B4-BE49-F238E27FC236}">
                <a16:creationId xmlns:a16="http://schemas.microsoft.com/office/drawing/2014/main" id="{7F360378-F73A-4B3A-B454-4B80CCCB2A92}"/>
              </a:ext>
            </a:extLst>
          </p:cNvPr>
          <p:cNvSpPr/>
          <p:nvPr userDrawn="1"/>
        </p:nvSpPr>
        <p:spPr bwMode="gray">
          <a:xfrm>
            <a:off x="10579100" y="6197600"/>
            <a:ext cx="1270000" cy="584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400"/>
              </a:spcBef>
              <a:spcAft>
                <a:spcPts val="400"/>
              </a:spcAft>
            </a:pPr>
            <a:endParaRPr lang="de-DE" sz="1400"/>
          </a:p>
        </p:txBody>
      </p:sp>
      <p:sp>
        <p:nvSpPr>
          <p:cNvPr id="2" name="title">
            <a:extLst>
              <a:ext uri="{FF2B5EF4-FFF2-40B4-BE49-F238E27FC236}">
                <a16:creationId xmlns:a16="http://schemas.microsoft.com/office/drawing/2014/main" id="{8FFCB50B-5503-4467-8A0F-9FBB8B48B97D}"/>
              </a:ext>
            </a:extLst>
          </p:cNvPr>
          <p:cNvSpPr>
            <a:spLocks noGrp="1"/>
          </p:cNvSpPr>
          <p:nvPr>
            <p:ph type="title"/>
          </p:nvPr>
        </p:nvSpPr>
        <p:spPr bwMode="gray">
          <a:xfrm>
            <a:off x="525600" y="673200"/>
            <a:ext cx="5353200" cy="288000"/>
          </a:xfrm>
        </p:spPr>
        <p:txBody>
          <a:bodyPr lIns="0" tIns="0" rIns="0" bIns="0"/>
          <a:lstStyle/>
          <a:p>
            <a:r>
              <a:rPr lang="de-DE"/>
              <a:t>Mastertitelformat bearbeiten</a:t>
            </a:r>
            <a:endParaRPr lang="en-US"/>
          </a:p>
        </p:txBody>
      </p:sp>
      <p:sp>
        <p:nvSpPr>
          <p:cNvPr id="4" name="subtitle">
            <a:extLst>
              <a:ext uri="{FF2B5EF4-FFF2-40B4-BE49-F238E27FC236}">
                <a16:creationId xmlns:a16="http://schemas.microsoft.com/office/drawing/2014/main" id="{7086919D-8D03-4875-B9F0-05F0C8564079}"/>
              </a:ext>
            </a:extLst>
          </p:cNvPr>
          <p:cNvSpPr>
            <a:spLocks noGrp="1"/>
          </p:cNvSpPr>
          <p:nvPr>
            <p:ph type="body" sz="quarter" idx="14" hasCustomPrompt="1"/>
          </p:nvPr>
        </p:nvSpPr>
        <p:spPr bwMode="gray">
          <a:xfrm>
            <a:off x="525600" y="1022400"/>
            <a:ext cx="5353200" cy="504000"/>
          </a:xfrm>
        </p:spPr>
        <p:txBody>
          <a:bodyPr/>
          <a:lstStyle>
            <a:lvl1pPr>
              <a:lnSpc>
                <a:spcPct val="85000"/>
              </a:lnSpc>
              <a:spcBef>
                <a:spcPts val="0"/>
              </a:spcBef>
              <a:spcAft>
                <a:spcPts val="0"/>
              </a:spcAft>
              <a:defRPr sz="2000"/>
            </a:lvl1pPr>
          </a:lstStyle>
          <a:p>
            <a:pPr lvl="0"/>
            <a:r>
              <a:rPr lang="de-DE" err="1"/>
              <a:t>Subtitle</a:t>
            </a:r>
            <a:endParaRPr lang="en-US"/>
          </a:p>
        </p:txBody>
      </p:sp>
      <p:sp>
        <p:nvSpPr>
          <p:cNvPr id="7" name="content">
            <a:extLst>
              <a:ext uri="{FF2B5EF4-FFF2-40B4-BE49-F238E27FC236}">
                <a16:creationId xmlns:a16="http://schemas.microsoft.com/office/drawing/2014/main" id="{5ACBB9A0-3E08-4278-AF60-F20CD65CA5C6}"/>
              </a:ext>
            </a:extLst>
          </p:cNvPr>
          <p:cNvSpPr>
            <a:spLocks noGrp="1"/>
          </p:cNvSpPr>
          <p:nvPr>
            <p:ph idx="1"/>
          </p:nvPr>
        </p:nvSpPr>
        <p:spPr bwMode="gray">
          <a:xfrm>
            <a:off x="525600" y="1602000"/>
            <a:ext cx="5353200" cy="449640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34" name="picture">
            <a:extLst>
              <a:ext uri="{FF2B5EF4-FFF2-40B4-BE49-F238E27FC236}">
                <a16:creationId xmlns:a16="http://schemas.microsoft.com/office/drawing/2014/main" id="{8EA3C3E4-202D-4939-91A7-80ECB3EE2B15}"/>
              </a:ext>
            </a:extLst>
          </p:cNvPr>
          <p:cNvSpPr>
            <a:spLocks noGrp="1"/>
          </p:cNvSpPr>
          <p:nvPr>
            <p:ph type="pic" sz="quarter" idx="16"/>
          </p:nvPr>
        </p:nvSpPr>
        <p:spPr bwMode="gray">
          <a:xfrm>
            <a:off x="6166800" y="0"/>
            <a:ext cx="6025200" cy="6858000"/>
          </a:xfrm>
          <a:custGeom>
            <a:avLst/>
            <a:gdLst>
              <a:gd name="connsiteX0" fmla="*/ 4742543 w 6025200"/>
              <a:gd name="connsiteY0" fmla="*/ 6535879 h 6858000"/>
              <a:gd name="connsiteX1" fmla="*/ 4825368 w 6025200"/>
              <a:gd name="connsiteY1" fmla="*/ 6535879 h 6858000"/>
              <a:gd name="connsiteX2" fmla="*/ 4825368 w 6025200"/>
              <a:gd name="connsiteY2" fmla="*/ 6598745 h 6858000"/>
              <a:gd name="connsiteX3" fmla="*/ 4742543 w 6025200"/>
              <a:gd name="connsiteY3" fmla="*/ 6598745 h 6858000"/>
              <a:gd name="connsiteX4" fmla="*/ 5396456 w 6025200"/>
              <a:gd name="connsiteY4" fmla="*/ 6534690 h 6858000"/>
              <a:gd name="connsiteX5" fmla="*/ 5452415 w 6025200"/>
              <a:gd name="connsiteY5" fmla="*/ 6534690 h 6858000"/>
              <a:gd name="connsiteX6" fmla="*/ 5463609 w 6025200"/>
              <a:gd name="connsiteY6" fmla="*/ 6542786 h 6858000"/>
              <a:gd name="connsiteX7" fmla="*/ 5463609 w 6025200"/>
              <a:gd name="connsiteY7" fmla="*/ 6554455 h 6858000"/>
              <a:gd name="connsiteX8" fmla="*/ 5452415 w 6025200"/>
              <a:gd name="connsiteY8" fmla="*/ 6562550 h 6858000"/>
              <a:gd name="connsiteX9" fmla="*/ 5396456 w 6025200"/>
              <a:gd name="connsiteY9" fmla="*/ 6562550 h 6858000"/>
              <a:gd name="connsiteX10" fmla="*/ 4743506 w 6025200"/>
              <a:gd name="connsiteY10" fmla="*/ 6517318 h 6858000"/>
              <a:gd name="connsiteX11" fmla="*/ 4716790 w 6025200"/>
              <a:gd name="connsiteY11" fmla="*/ 6541122 h 6858000"/>
              <a:gd name="connsiteX12" fmla="*/ 4716790 w 6025200"/>
              <a:gd name="connsiteY12" fmla="*/ 6594223 h 6858000"/>
              <a:gd name="connsiteX13" fmla="*/ 4743506 w 6025200"/>
              <a:gd name="connsiteY13" fmla="*/ 6618042 h 6858000"/>
              <a:gd name="connsiteX14" fmla="*/ 4822930 w 6025200"/>
              <a:gd name="connsiteY14" fmla="*/ 6618042 h 6858000"/>
              <a:gd name="connsiteX15" fmla="*/ 4849646 w 6025200"/>
              <a:gd name="connsiteY15" fmla="*/ 6594223 h 6858000"/>
              <a:gd name="connsiteX16" fmla="*/ 4849646 w 6025200"/>
              <a:gd name="connsiteY16" fmla="*/ 6541122 h 6858000"/>
              <a:gd name="connsiteX17" fmla="*/ 4822930 w 6025200"/>
              <a:gd name="connsiteY17" fmla="*/ 6517318 h 6858000"/>
              <a:gd name="connsiteX18" fmla="*/ 5372185 w 6025200"/>
              <a:gd name="connsiteY18" fmla="*/ 6517311 h 6858000"/>
              <a:gd name="connsiteX19" fmla="*/ 5372185 w 6025200"/>
              <a:gd name="connsiteY19" fmla="*/ 6618035 h 6858000"/>
              <a:gd name="connsiteX20" fmla="*/ 5396463 w 6025200"/>
              <a:gd name="connsiteY20" fmla="*/ 6618035 h 6858000"/>
              <a:gd name="connsiteX21" fmla="*/ 5396463 w 6025200"/>
              <a:gd name="connsiteY21" fmla="*/ 6579929 h 6858000"/>
              <a:gd name="connsiteX22" fmla="*/ 5419560 w 6025200"/>
              <a:gd name="connsiteY22" fmla="*/ 6579929 h 6858000"/>
              <a:gd name="connsiteX23" fmla="*/ 5461706 w 6025200"/>
              <a:gd name="connsiteY23" fmla="*/ 6618035 h 6858000"/>
              <a:gd name="connsiteX24" fmla="*/ 5496953 w 6025200"/>
              <a:gd name="connsiteY24" fmla="*/ 6618035 h 6858000"/>
              <a:gd name="connsiteX25" fmla="*/ 5449097 w 6025200"/>
              <a:gd name="connsiteY25" fmla="*/ 6579929 h 6858000"/>
              <a:gd name="connsiteX26" fmla="*/ 5462910 w 6025200"/>
              <a:gd name="connsiteY26" fmla="*/ 6579929 h 6858000"/>
              <a:gd name="connsiteX27" fmla="*/ 5486480 w 6025200"/>
              <a:gd name="connsiteY27" fmla="*/ 6560639 h 6858000"/>
              <a:gd name="connsiteX28" fmla="*/ 5486480 w 6025200"/>
              <a:gd name="connsiteY28" fmla="*/ 6536835 h 6858000"/>
              <a:gd name="connsiteX29" fmla="*/ 5462910 w 6025200"/>
              <a:gd name="connsiteY29" fmla="*/ 6517311 h 6858000"/>
              <a:gd name="connsiteX30" fmla="*/ 5234845 w 6025200"/>
              <a:gd name="connsiteY30" fmla="*/ 6517311 h 6858000"/>
              <a:gd name="connsiteX31" fmla="*/ 5234845 w 6025200"/>
              <a:gd name="connsiteY31" fmla="*/ 6618035 h 6858000"/>
              <a:gd name="connsiteX32" fmla="*/ 5346319 w 6025200"/>
              <a:gd name="connsiteY32" fmla="*/ 6618035 h 6858000"/>
              <a:gd name="connsiteX33" fmla="*/ 5346319 w 6025200"/>
              <a:gd name="connsiteY33" fmla="*/ 6599219 h 6858000"/>
              <a:gd name="connsiteX34" fmla="*/ 5260109 w 6025200"/>
              <a:gd name="connsiteY34" fmla="*/ 6599219 h 6858000"/>
              <a:gd name="connsiteX35" fmla="*/ 5260109 w 6025200"/>
              <a:gd name="connsiteY35" fmla="*/ 6574452 h 6858000"/>
              <a:gd name="connsiteX36" fmla="*/ 5309658 w 6025200"/>
              <a:gd name="connsiteY36" fmla="*/ 6574452 h 6858000"/>
              <a:gd name="connsiteX37" fmla="*/ 5309658 w 6025200"/>
              <a:gd name="connsiteY37" fmla="*/ 6557073 h 6858000"/>
              <a:gd name="connsiteX38" fmla="*/ 5260109 w 6025200"/>
              <a:gd name="connsiteY38" fmla="*/ 6557073 h 6858000"/>
              <a:gd name="connsiteX39" fmla="*/ 5260109 w 6025200"/>
              <a:gd name="connsiteY39" fmla="*/ 6535179 h 6858000"/>
              <a:gd name="connsiteX40" fmla="*/ 5345108 w 6025200"/>
              <a:gd name="connsiteY40" fmla="*/ 6535179 h 6858000"/>
              <a:gd name="connsiteX41" fmla="*/ 5345108 w 6025200"/>
              <a:gd name="connsiteY41" fmla="*/ 6517311 h 6858000"/>
              <a:gd name="connsiteX42" fmla="*/ 5058654 w 6025200"/>
              <a:gd name="connsiteY42" fmla="*/ 6517311 h 6858000"/>
              <a:gd name="connsiteX43" fmla="*/ 5058654 w 6025200"/>
              <a:gd name="connsiteY43" fmla="*/ 6618035 h 6858000"/>
              <a:gd name="connsiteX44" fmla="*/ 5081623 w 6025200"/>
              <a:gd name="connsiteY44" fmla="*/ 6618035 h 6858000"/>
              <a:gd name="connsiteX45" fmla="*/ 5081623 w 6025200"/>
              <a:gd name="connsiteY45" fmla="*/ 6550414 h 6858000"/>
              <a:gd name="connsiteX46" fmla="*/ 5128005 w 6025200"/>
              <a:gd name="connsiteY46" fmla="*/ 6605892 h 6858000"/>
              <a:gd name="connsiteX47" fmla="*/ 5132865 w 6025200"/>
              <a:gd name="connsiteY47" fmla="*/ 6605892 h 6858000"/>
              <a:gd name="connsiteX48" fmla="*/ 5178758 w 6025200"/>
              <a:gd name="connsiteY48" fmla="*/ 6548737 h 6858000"/>
              <a:gd name="connsiteX49" fmla="*/ 5178758 w 6025200"/>
              <a:gd name="connsiteY49" fmla="*/ 6618035 h 6858000"/>
              <a:gd name="connsiteX50" fmla="*/ 5202073 w 6025200"/>
              <a:gd name="connsiteY50" fmla="*/ 6618035 h 6858000"/>
              <a:gd name="connsiteX51" fmla="*/ 5202073 w 6025200"/>
              <a:gd name="connsiteY51" fmla="*/ 6517311 h 6858000"/>
              <a:gd name="connsiteX52" fmla="*/ 5181925 w 6025200"/>
              <a:gd name="connsiteY52" fmla="*/ 6517311 h 6858000"/>
              <a:gd name="connsiteX53" fmla="*/ 5131887 w 6025200"/>
              <a:gd name="connsiteY53" fmla="*/ 6577070 h 6858000"/>
              <a:gd name="connsiteX54" fmla="*/ 5081623 w 6025200"/>
              <a:gd name="connsiteY54" fmla="*/ 6517311 h 6858000"/>
              <a:gd name="connsiteX55" fmla="*/ 4881335 w 6025200"/>
              <a:gd name="connsiteY55" fmla="*/ 6517311 h 6858000"/>
              <a:gd name="connsiteX56" fmla="*/ 4881335 w 6025200"/>
              <a:gd name="connsiteY56" fmla="*/ 6618035 h 6858000"/>
              <a:gd name="connsiteX57" fmla="*/ 4904296 w 6025200"/>
              <a:gd name="connsiteY57" fmla="*/ 6618035 h 6858000"/>
              <a:gd name="connsiteX58" fmla="*/ 4904296 w 6025200"/>
              <a:gd name="connsiteY58" fmla="*/ 6550414 h 6858000"/>
              <a:gd name="connsiteX59" fmla="*/ 4950678 w 6025200"/>
              <a:gd name="connsiteY59" fmla="*/ 6605892 h 6858000"/>
              <a:gd name="connsiteX60" fmla="*/ 4955531 w 6025200"/>
              <a:gd name="connsiteY60" fmla="*/ 6605892 h 6858000"/>
              <a:gd name="connsiteX61" fmla="*/ 5001439 w 6025200"/>
              <a:gd name="connsiteY61" fmla="*/ 6548737 h 6858000"/>
              <a:gd name="connsiteX62" fmla="*/ 5001439 w 6025200"/>
              <a:gd name="connsiteY62" fmla="*/ 6618035 h 6858000"/>
              <a:gd name="connsiteX63" fmla="*/ 5024754 w 6025200"/>
              <a:gd name="connsiteY63" fmla="*/ 6618035 h 6858000"/>
              <a:gd name="connsiteX64" fmla="*/ 5024754 w 6025200"/>
              <a:gd name="connsiteY64" fmla="*/ 6517311 h 6858000"/>
              <a:gd name="connsiteX65" fmla="*/ 5004599 w 6025200"/>
              <a:gd name="connsiteY65" fmla="*/ 6517311 h 6858000"/>
              <a:gd name="connsiteX66" fmla="*/ 4954568 w 6025200"/>
              <a:gd name="connsiteY66" fmla="*/ 6577070 h 6858000"/>
              <a:gd name="connsiteX67" fmla="*/ 4904296 w 6025200"/>
              <a:gd name="connsiteY67" fmla="*/ 6517311 h 6858000"/>
              <a:gd name="connsiteX68" fmla="*/ 4585477 w 6025200"/>
              <a:gd name="connsiteY68" fmla="*/ 6495162 h 6858000"/>
              <a:gd name="connsiteX69" fmla="*/ 4554999 w 6025200"/>
              <a:gd name="connsiteY69" fmla="*/ 6524218 h 6858000"/>
              <a:gd name="connsiteX70" fmla="*/ 4554999 w 6025200"/>
              <a:gd name="connsiteY70" fmla="*/ 6537775 h 6858000"/>
              <a:gd name="connsiteX71" fmla="*/ 4585477 w 6025200"/>
              <a:gd name="connsiteY71" fmla="*/ 6566830 h 6858000"/>
              <a:gd name="connsiteX72" fmla="*/ 4662155 w 6025200"/>
              <a:gd name="connsiteY72" fmla="*/ 6566830 h 6858000"/>
              <a:gd name="connsiteX73" fmla="*/ 4662155 w 6025200"/>
              <a:gd name="connsiteY73" fmla="*/ 6594930 h 6858000"/>
              <a:gd name="connsiteX74" fmla="*/ 4575252 w 6025200"/>
              <a:gd name="connsiteY74" fmla="*/ 6594930 h 6858000"/>
              <a:gd name="connsiteX75" fmla="*/ 4575252 w 6025200"/>
              <a:gd name="connsiteY75" fmla="*/ 6581704 h 6858000"/>
              <a:gd name="connsiteX76" fmla="*/ 4549996 w 6025200"/>
              <a:gd name="connsiteY76" fmla="*/ 6586948 h 6858000"/>
              <a:gd name="connsiteX77" fmla="*/ 4549996 w 6025200"/>
              <a:gd name="connsiteY77" fmla="*/ 6588979 h 6858000"/>
              <a:gd name="connsiteX78" fmla="*/ 4580714 w 6025200"/>
              <a:gd name="connsiteY78" fmla="*/ 6618027 h 6858000"/>
              <a:gd name="connsiteX79" fmla="*/ 4656686 w 6025200"/>
              <a:gd name="connsiteY79" fmla="*/ 6618027 h 6858000"/>
              <a:gd name="connsiteX80" fmla="*/ 4687404 w 6025200"/>
              <a:gd name="connsiteY80" fmla="*/ 6588979 h 6858000"/>
              <a:gd name="connsiteX81" fmla="*/ 4687404 w 6025200"/>
              <a:gd name="connsiteY81" fmla="*/ 6572074 h 6858000"/>
              <a:gd name="connsiteX82" fmla="*/ 4656686 w 6025200"/>
              <a:gd name="connsiteY82" fmla="*/ 6543019 h 6858000"/>
              <a:gd name="connsiteX83" fmla="*/ 4579999 w 6025200"/>
              <a:gd name="connsiteY83" fmla="*/ 6543019 h 6858000"/>
              <a:gd name="connsiteX84" fmla="*/ 4579999 w 6025200"/>
              <a:gd name="connsiteY84" fmla="*/ 6516596 h 6858000"/>
              <a:gd name="connsiteX85" fmla="*/ 4660485 w 6025200"/>
              <a:gd name="connsiteY85" fmla="*/ 6516596 h 6858000"/>
              <a:gd name="connsiteX86" fmla="*/ 4660485 w 6025200"/>
              <a:gd name="connsiteY86" fmla="*/ 6529905 h 6858000"/>
              <a:gd name="connsiteX87" fmla="*/ 4685726 w 6025200"/>
              <a:gd name="connsiteY87" fmla="*/ 6523954 h 6858000"/>
              <a:gd name="connsiteX88" fmla="*/ 4685726 w 6025200"/>
              <a:gd name="connsiteY88" fmla="*/ 6522074 h 6858000"/>
              <a:gd name="connsiteX89" fmla="*/ 4655249 w 6025200"/>
              <a:gd name="connsiteY89" fmla="*/ 6495162 h 6858000"/>
              <a:gd name="connsiteX90" fmla="*/ 5387421 w 6025200"/>
              <a:gd name="connsiteY90" fmla="*/ 6392873 h 6858000"/>
              <a:gd name="connsiteX91" fmla="*/ 5424323 w 6025200"/>
              <a:gd name="connsiteY91" fmla="*/ 6423591 h 6858000"/>
              <a:gd name="connsiteX92" fmla="*/ 5412895 w 6025200"/>
              <a:gd name="connsiteY92" fmla="*/ 6433349 h 6858000"/>
              <a:gd name="connsiteX93" fmla="*/ 5355995 w 6025200"/>
              <a:gd name="connsiteY93" fmla="*/ 6433349 h 6858000"/>
              <a:gd name="connsiteX94" fmla="*/ 5355995 w 6025200"/>
              <a:gd name="connsiteY94" fmla="*/ 6433342 h 6858000"/>
              <a:gd name="connsiteX95" fmla="*/ 5355995 w 6025200"/>
              <a:gd name="connsiteY95" fmla="*/ 6412396 h 6858000"/>
              <a:gd name="connsiteX96" fmla="*/ 4756732 w 6025200"/>
              <a:gd name="connsiteY96" fmla="*/ 6371439 h 6858000"/>
              <a:gd name="connsiteX97" fmla="*/ 4812691 w 6025200"/>
              <a:gd name="connsiteY97" fmla="*/ 6371439 h 6858000"/>
              <a:gd name="connsiteX98" fmla="*/ 4823885 w 6025200"/>
              <a:gd name="connsiteY98" fmla="*/ 6379534 h 6858000"/>
              <a:gd name="connsiteX99" fmla="*/ 4823885 w 6025200"/>
              <a:gd name="connsiteY99" fmla="*/ 6391203 h 6858000"/>
              <a:gd name="connsiteX100" fmla="*/ 4812691 w 6025200"/>
              <a:gd name="connsiteY100" fmla="*/ 6399298 h 6858000"/>
              <a:gd name="connsiteX101" fmla="*/ 4756732 w 6025200"/>
              <a:gd name="connsiteY101" fmla="*/ 6399298 h 6858000"/>
              <a:gd name="connsiteX102" fmla="*/ 5182505 w 6025200"/>
              <a:gd name="connsiteY102" fmla="*/ 6354060 h 6858000"/>
              <a:gd name="connsiteX103" fmla="*/ 5156068 w 6025200"/>
              <a:gd name="connsiteY103" fmla="*/ 6377879 h 6858000"/>
              <a:gd name="connsiteX104" fmla="*/ 5156068 w 6025200"/>
              <a:gd name="connsiteY104" fmla="*/ 6389074 h 6858000"/>
              <a:gd name="connsiteX105" fmla="*/ 5182505 w 6025200"/>
              <a:gd name="connsiteY105" fmla="*/ 6412878 h 6858000"/>
              <a:gd name="connsiteX106" fmla="*/ 5247741 w 6025200"/>
              <a:gd name="connsiteY106" fmla="*/ 6412878 h 6858000"/>
              <a:gd name="connsiteX107" fmla="*/ 5247741 w 6025200"/>
              <a:gd name="connsiteY107" fmla="*/ 6435983 h 6858000"/>
              <a:gd name="connsiteX108" fmla="*/ 5173680 w 6025200"/>
              <a:gd name="connsiteY108" fmla="*/ 6435983 h 6858000"/>
              <a:gd name="connsiteX109" fmla="*/ 5173680 w 6025200"/>
              <a:gd name="connsiteY109" fmla="*/ 6425375 h 6858000"/>
              <a:gd name="connsiteX110" fmla="*/ 5151787 w 6025200"/>
              <a:gd name="connsiteY110" fmla="*/ 6429430 h 6858000"/>
              <a:gd name="connsiteX111" fmla="*/ 5151787 w 6025200"/>
              <a:gd name="connsiteY111" fmla="*/ 6430980 h 6858000"/>
              <a:gd name="connsiteX112" fmla="*/ 5178209 w 6025200"/>
              <a:gd name="connsiteY112" fmla="*/ 6454784 h 6858000"/>
              <a:gd name="connsiteX113" fmla="*/ 5243701 w 6025200"/>
              <a:gd name="connsiteY113" fmla="*/ 6454784 h 6858000"/>
              <a:gd name="connsiteX114" fmla="*/ 5269890 w 6025200"/>
              <a:gd name="connsiteY114" fmla="*/ 6430980 h 6858000"/>
              <a:gd name="connsiteX115" fmla="*/ 5269890 w 6025200"/>
              <a:gd name="connsiteY115" fmla="*/ 6417166 h 6858000"/>
              <a:gd name="connsiteX116" fmla="*/ 5243701 w 6025200"/>
              <a:gd name="connsiteY116" fmla="*/ 6393362 h 6858000"/>
              <a:gd name="connsiteX117" fmla="*/ 5178209 w 6025200"/>
              <a:gd name="connsiteY117" fmla="*/ 6393362 h 6858000"/>
              <a:gd name="connsiteX118" fmla="*/ 5178209 w 6025200"/>
              <a:gd name="connsiteY118" fmla="*/ 6372154 h 6858000"/>
              <a:gd name="connsiteX119" fmla="*/ 5247500 w 6025200"/>
              <a:gd name="connsiteY119" fmla="*/ 6372154 h 6858000"/>
              <a:gd name="connsiteX120" fmla="*/ 5247500 w 6025200"/>
              <a:gd name="connsiteY120" fmla="*/ 6381565 h 6858000"/>
              <a:gd name="connsiteX121" fmla="*/ 5268686 w 6025200"/>
              <a:gd name="connsiteY121" fmla="*/ 6377051 h 6858000"/>
              <a:gd name="connsiteX122" fmla="*/ 5268686 w 6025200"/>
              <a:gd name="connsiteY122" fmla="*/ 6375968 h 6858000"/>
              <a:gd name="connsiteX123" fmla="*/ 5242264 w 6025200"/>
              <a:gd name="connsiteY123" fmla="*/ 6354060 h 6858000"/>
              <a:gd name="connsiteX124" fmla="*/ 5018171 w 6025200"/>
              <a:gd name="connsiteY124" fmla="*/ 6354060 h 6858000"/>
              <a:gd name="connsiteX125" fmla="*/ 5018171 w 6025200"/>
              <a:gd name="connsiteY125" fmla="*/ 6454776 h 6858000"/>
              <a:gd name="connsiteX126" fmla="*/ 5127464 w 6025200"/>
              <a:gd name="connsiteY126" fmla="*/ 6454776 h 6858000"/>
              <a:gd name="connsiteX127" fmla="*/ 5127464 w 6025200"/>
              <a:gd name="connsiteY127" fmla="*/ 6435967 h 6858000"/>
              <a:gd name="connsiteX128" fmla="*/ 5042938 w 6025200"/>
              <a:gd name="connsiteY128" fmla="*/ 6435967 h 6858000"/>
              <a:gd name="connsiteX129" fmla="*/ 5042938 w 6025200"/>
              <a:gd name="connsiteY129" fmla="*/ 6411200 h 6858000"/>
              <a:gd name="connsiteX130" fmla="*/ 5091510 w 6025200"/>
              <a:gd name="connsiteY130" fmla="*/ 6411200 h 6858000"/>
              <a:gd name="connsiteX131" fmla="*/ 5091510 w 6025200"/>
              <a:gd name="connsiteY131" fmla="*/ 6393821 h 6858000"/>
              <a:gd name="connsiteX132" fmla="*/ 5042938 w 6025200"/>
              <a:gd name="connsiteY132" fmla="*/ 6393821 h 6858000"/>
              <a:gd name="connsiteX133" fmla="*/ 5042938 w 6025200"/>
              <a:gd name="connsiteY133" fmla="*/ 6371913 h 6858000"/>
              <a:gd name="connsiteX134" fmla="*/ 5126283 w 6025200"/>
              <a:gd name="connsiteY134" fmla="*/ 6371913 h 6858000"/>
              <a:gd name="connsiteX135" fmla="*/ 5126283 w 6025200"/>
              <a:gd name="connsiteY135" fmla="*/ 6354060 h 6858000"/>
              <a:gd name="connsiteX136" fmla="*/ 4880462 w 6025200"/>
              <a:gd name="connsiteY136" fmla="*/ 6354060 h 6858000"/>
              <a:gd name="connsiteX137" fmla="*/ 4880462 w 6025200"/>
              <a:gd name="connsiteY137" fmla="*/ 6454776 h 6858000"/>
              <a:gd name="connsiteX138" fmla="*/ 4989755 w 6025200"/>
              <a:gd name="connsiteY138" fmla="*/ 6454776 h 6858000"/>
              <a:gd name="connsiteX139" fmla="*/ 4989755 w 6025200"/>
              <a:gd name="connsiteY139" fmla="*/ 6435967 h 6858000"/>
              <a:gd name="connsiteX140" fmla="*/ 4905229 w 6025200"/>
              <a:gd name="connsiteY140" fmla="*/ 6435967 h 6858000"/>
              <a:gd name="connsiteX141" fmla="*/ 4905229 w 6025200"/>
              <a:gd name="connsiteY141" fmla="*/ 6411200 h 6858000"/>
              <a:gd name="connsiteX142" fmla="*/ 4953801 w 6025200"/>
              <a:gd name="connsiteY142" fmla="*/ 6411200 h 6858000"/>
              <a:gd name="connsiteX143" fmla="*/ 4953801 w 6025200"/>
              <a:gd name="connsiteY143" fmla="*/ 6393821 h 6858000"/>
              <a:gd name="connsiteX144" fmla="*/ 4905229 w 6025200"/>
              <a:gd name="connsiteY144" fmla="*/ 6393821 h 6858000"/>
              <a:gd name="connsiteX145" fmla="*/ 4905229 w 6025200"/>
              <a:gd name="connsiteY145" fmla="*/ 6371913 h 6858000"/>
              <a:gd name="connsiteX146" fmla="*/ 4988574 w 6025200"/>
              <a:gd name="connsiteY146" fmla="*/ 6371913 h 6858000"/>
              <a:gd name="connsiteX147" fmla="*/ 4988574 w 6025200"/>
              <a:gd name="connsiteY147" fmla="*/ 6354060 h 6858000"/>
              <a:gd name="connsiteX148" fmla="*/ 4732446 w 6025200"/>
              <a:gd name="connsiteY148" fmla="*/ 6354060 h 6858000"/>
              <a:gd name="connsiteX149" fmla="*/ 4732446 w 6025200"/>
              <a:gd name="connsiteY149" fmla="*/ 6454776 h 6858000"/>
              <a:gd name="connsiteX150" fmla="*/ 4756739 w 6025200"/>
              <a:gd name="connsiteY150" fmla="*/ 6454776 h 6858000"/>
              <a:gd name="connsiteX151" fmla="*/ 4756739 w 6025200"/>
              <a:gd name="connsiteY151" fmla="*/ 6416670 h 6858000"/>
              <a:gd name="connsiteX152" fmla="*/ 4779836 w 6025200"/>
              <a:gd name="connsiteY152" fmla="*/ 6416670 h 6858000"/>
              <a:gd name="connsiteX153" fmla="*/ 4821982 w 6025200"/>
              <a:gd name="connsiteY153" fmla="*/ 6454776 h 6858000"/>
              <a:gd name="connsiteX154" fmla="*/ 4857229 w 6025200"/>
              <a:gd name="connsiteY154" fmla="*/ 6454776 h 6858000"/>
              <a:gd name="connsiteX155" fmla="*/ 4809358 w 6025200"/>
              <a:gd name="connsiteY155" fmla="*/ 6416670 h 6858000"/>
              <a:gd name="connsiteX156" fmla="*/ 4823171 w 6025200"/>
              <a:gd name="connsiteY156" fmla="*/ 6416670 h 6858000"/>
              <a:gd name="connsiteX157" fmla="*/ 4846749 w 6025200"/>
              <a:gd name="connsiteY157" fmla="*/ 6397395 h 6858000"/>
              <a:gd name="connsiteX158" fmla="*/ 4846749 w 6025200"/>
              <a:gd name="connsiteY158" fmla="*/ 6373583 h 6858000"/>
              <a:gd name="connsiteX159" fmla="*/ 4823171 w 6025200"/>
              <a:gd name="connsiteY159" fmla="*/ 6354060 h 6858000"/>
              <a:gd name="connsiteX160" fmla="*/ 4582625 w 6025200"/>
              <a:gd name="connsiteY160" fmla="*/ 6353819 h 6858000"/>
              <a:gd name="connsiteX161" fmla="*/ 4633340 w 6025200"/>
              <a:gd name="connsiteY161" fmla="*/ 6353819 h 6858000"/>
              <a:gd name="connsiteX162" fmla="*/ 4673824 w 6025200"/>
              <a:gd name="connsiteY162" fmla="*/ 6392158 h 6858000"/>
              <a:gd name="connsiteX163" fmla="*/ 4619527 w 6025200"/>
              <a:gd name="connsiteY163" fmla="*/ 6431686 h 6858000"/>
              <a:gd name="connsiteX164" fmla="*/ 4582625 w 6025200"/>
              <a:gd name="connsiteY164" fmla="*/ 6431686 h 6858000"/>
              <a:gd name="connsiteX165" fmla="*/ 5392190 w 6025200"/>
              <a:gd name="connsiteY165" fmla="*/ 6331911 h 6858000"/>
              <a:gd name="connsiteX166" fmla="*/ 5361713 w 6025200"/>
              <a:gd name="connsiteY166" fmla="*/ 6354293 h 6858000"/>
              <a:gd name="connsiteX167" fmla="*/ 5361713 w 6025200"/>
              <a:gd name="connsiteY167" fmla="*/ 6361192 h 6858000"/>
              <a:gd name="connsiteX168" fmla="*/ 5372193 w 6025200"/>
              <a:gd name="connsiteY168" fmla="*/ 6379767 h 6858000"/>
              <a:gd name="connsiteX169" fmla="*/ 5347178 w 6025200"/>
              <a:gd name="connsiteY169" fmla="*/ 6394776 h 6858000"/>
              <a:gd name="connsiteX170" fmla="*/ 5331943 w 6025200"/>
              <a:gd name="connsiteY170" fmla="*/ 6417633 h 6858000"/>
              <a:gd name="connsiteX171" fmla="*/ 5331943 w 6025200"/>
              <a:gd name="connsiteY171" fmla="*/ 6425728 h 6858000"/>
              <a:gd name="connsiteX172" fmla="*/ 5362654 w 6025200"/>
              <a:gd name="connsiteY172" fmla="*/ 6454776 h 6858000"/>
              <a:gd name="connsiteX173" fmla="*/ 5406470 w 6025200"/>
              <a:gd name="connsiteY173" fmla="*/ 6454776 h 6858000"/>
              <a:gd name="connsiteX174" fmla="*/ 5429567 w 6025200"/>
              <a:gd name="connsiteY174" fmla="*/ 6447388 h 6858000"/>
              <a:gd name="connsiteX175" fmla="*/ 5440521 w 6025200"/>
              <a:gd name="connsiteY175" fmla="*/ 6437630 h 6858000"/>
              <a:gd name="connsiteX176" fmla="*/ 5460759 w 6025200"/>
              <a:gd name="connsiteY176" fmla="*/ 6454776 h 6858000"/>
              <a:gd name="connsiteX177" fmla="*/ 5498150 w 6025200"/>
              <a:gd name="connsiteY177" fmla="*/ 6454776 h 6858000"/>
              <a:gd name="connsiteX178" fmla="*/ 5459337 w 6025200"/>
              <a:gd name="connsiteY178" fmla="*/ 6422147 h 6858000"/>
              <a:gd name="connsiteX179" fmla="*/ 5487670 w 6025200"/>
              <a:gd name="connsiteY179" fmla="*/ 6398583 h 6858000"/>
              <a:gd name="connsiteX180" fmla="*/ 5471472 w 6025200"/>
              <a:gd name="connsiteY180" fmla="*/ 6384537 h 6858000"/>
              <a:gd name="connsiteX181" fmla="*/ 5442898 w 6025200"/>
              <a:gd name="connsiteY181" fmla="*/ 6408341 h 6858000"/>
              <a:gd name="connsiteX182" fmla="*/ 5385036 w 6025200"/>
              <a:gd name="connsiteY182" fmla="*/ 6360244 h 6858000"/>
              <a:gd name="connsiteX183" fmla="*/ 5385036 w 6025200"/>
              <a:gd name="connsiteY183" fmla="*/ 6351434 h 6858000"/>
              <a:gd name="connsiteX184" fmla="*/ 5425286 w 6025200"/>
              <a:gd name="connsiteY184" fmla="*/ 6351434 h 6858000"/>
              <a:gd name="connsiteX185" fmla="*/ 5425286 w 6025200"/>
              <a:gd name="connsiteY185" fmla="*/ 6367873 h 6858000"/>
              <a:gd name="connsiteX186" fmla="*/ 5447420 w 6025200"/>
              <a:gd name="connsiteY186" fmla="*/ 6364066 h 6858000"/>
              <a:gd name="connsiteX187" fmla="*/ 5447420 w 6025200"/>
              <a:gd name="connsiteY187" fmla="*/ 6356678 h 6858000"/>
              <a:gd name="connsiteX188" fmla="*/ 5416942 w 6025200"/>
              <a:gd name="connsiteY188" fmla="*/ 6331911 h 6858000"/>
              <a:gd name="connsiteX189" fmla="*/ 4554051 w 6025200"/>
              <a:gd name="connsiteY189" fmla="*/ 6331911 h 6858000"/>
              <a:gd name="connsiteX190" fmla="*/ 4554051 w 6025200"/>
              <a:gd name="connsiteY190" fmla="*/ 6454776 h 6858000"/>
              <a:gd name="connsiteX191" fmla="*/ 4625727 w 6025200"/>
              <a:gd name="connsiteY191" fmla="*/ 6454776 h 6858000"/>
              <a:gd name="connsiteX192" fmla="*/ 4676209 w 6025200"/>
              <a:gd name="connsiteY192" fmla="*/ 6445259 h 6858000"/>
              <a:gd name="connsiteX193" fmla="*/ 4703346 w 6025200"/>
              <a:gd name="connsiteY193" fmla="*/ 6392632 h 6858000"/>
              <a:gd name="connsiteX194" fmla="*/ 4633100 w 6025200"/>
              <a:gd name="connsiteY194" fmla="*/ 6331911 h 6858000"/>
              <a:gd name="connsiteX195" fmla="*/ 0 w 6025200"/>
              <a:gd name="connsiteY195" fmla="*/ 0 h 6858000"/>
              <a:gd name="connsiteX196" fmla="*/ 6025200 w 6025200"/>
              <a:gd name="connsiteY196" fmla="*/ 0 h 6858000"/>
              <a:gd name="connsiteX197" fmla="*/ 6025200 w 6025200"/>
              <a:gd name="connsiteY197" fmla="*/ 6858000 h 6858000"/>
              <a:gd name="connsiteX198" fmla="*/ 0 w 6025200"/>
              <a:gd name="connsiteY19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Lst>
            <a:rect l="l" t="t" r="r" b="b"/>
            <a:pathLst>
              <a:path w="6025200" h="6858000">
                <a:moveTo>
                  <a:pt x="4742543" y="6535879"/>
                </a:moveTo>
                <a:lnTo>
                  <a:pt x="4825368" y="6535879"/>
                </a:lnTo>
                <a:lnTo>
                  <a:pt x="4825368" y="6598745"/>
                </a:lnTo>
                <a:lnTo>
                  <a:pt x="4742543" y="6598745"/>
                </a:lnTo>
                <a:close/>
                <a:moveTo>
                  <a:pt x="5396456" y="6534690"/>
                </a:moveTo>
                <a:lnTo>
                  <a:pt x="5452415" y="6534690"/>
                </a:lnTo>
                <a:cubicBezTo>
                  <a:pt x="5459787" y="6534690"/>
                  <a:pt x="5463609" y="6536127"/>
                  <a:pt x="5463609" y="6542786"/>
                </a:cubicBezTo>
                <a:lnTo>
                  <a:pt x="5463609" y="6554455"/>
                </a:lnTo>
                <a:cubicBezTo>
                  <a:pt x="5463609" y="6561128"/>
                  <a:pt x="5459787" y="6562550"/>
                  <a:pt x="5452415" y="6562550"/>
                </a:cubicBezTo>
                <a:lnTo>
                  <a:pt x="5396456" y="6562550"/>
                </a:lnTo>
                <a:close/>
                <a:moveTo>
                  <a:pt x="4743506" y="6517318"/>
                </a:moveTo>
                <a:cubicBezTo>
                  <a:pt x="4723358" y="6517318"/>
                  <a:pt x="4716790" y="6521832"/>
                  <a:pt x="4716790" y="6541122"/>
                </a:cubicBezTo>
                <a:lnTo>
                  <a:pt x="4716790" y="6594223"/>
                </a:lnTo>
                <a:cubicBezTo>
                  <a:pt x="4716790" y="6613272"/>
                  <a:pt x="4723102" y="6618042"/>
                  <a:pt x="4743506" y="6618042"/>
                </a:cubicBezTo>
                <a:lnTo>
                  <a:pt x="4822930" y="6618042"/>
                </a:lnTo>
                <a:cubicBezTo>
                  <a:pt x="4843086" y="6618042"/>
                  <a:pt x="4849646" y="6613272"/>
                  <a:pt x="4849646" y="6594223"/>
                </a:cubicBezTo>
                <a:lnTo>
                  <a:pt x="4849646" y="6541122"/>
                </a:lnTo>
                <a:cubicBezTo>
                  <a:pt x="4849646" y="6521832"/>
                  <a:pt x="4843078" y="6517318"/>
                  <a:pt x="4822930" y="6517318"/>
                </a:cubicBezTo>
                <a:close/>
                <a:moveTo>
                  <a:pt x="5372185" y="6517311"/>
                </a:moveTo>
                <a:lnTo>
                  <a:pt x="5372185" y="6618035"/>
                </a:lnTo>
                <a:lnTo>
                  <a:pt x="5396463" y="6618035"/>
                </a:lnTo>
                <a:lnTo>
                  <a:pt x="5396463" y="6579929"/>
                </a:lnTo>
                <a:lnTo>
                  <a:pt x="5419560" y="6579929"/>
                </a:lnTo>
                <a:lnTo>
                  <a:pt x="5461706" y="6618035"/>
                </a:lnTo>
                <a:lnTo>
                  <a:pt x="5496953" y="6618035"/>
                </a:lnTo>
                <a:lnTo>
                  <a:pt x="5449097" y="6579929"/>
                </a:lnTo>
                <a:lnTo>
                  <a:pt x="5462910" y="6579929"/>
                </a:lnTo>
                <a:cubicBezTo>
                  <a:pt x="5479092" y="6579929"/>
                  <a:pt x="5486480" y="6574452"/>
                  <a:pt x="5486480" y="6560639"/>
                </a:cubicBezTo>
                <a:lnTo>
                  <a:pt x="5486480" y="6536835"/>
                </a:lnTo>
                <a:cubicBezTo>
                  <a:pt x="5486480" y="6522788"/>
                  <a:pt x="5479092" y="6517311"/>
                  <a:pt x="5462910" y="6517311"/>
                </a:cubicBezTo>
                <a:close/>
                <a:moveTo>
                  <a:pt x="5234845" y="6517311"/>
                </a:moveTo>
                <a:lnTo>
                  <a:pt x="5234845" y="6618035"/>
                </a:lnTo>
                <a:lnTo>
                  <a:pt x="5346319" y="6618035"/>
                </a:lnTo>
                <a:lnTo>
                  <a:pt x="5346319" y="6599219"/>
                </a:lnTo>
                <a:lnTo>
                  <a:pt x="5260109" y="6599219"/>
                </a:lnTo>
                <a:lnTo>
                  <a:pt x="5260109" y="6574452"/>
                </a:lnTo>
                <a:lnTo>
                  <a:pt x="5309658" y="6574452"/>
                </a:lnTo>
                <a:lnTo>
                  <a:pt x="5309658" y="6557073"/>
                </a:lnTo>
                <a:lnTo>
                  <a:pt x="5260109" y="6557073"/>
                </a:lnTo>
                <a:lnTo>
                  <a:pt x="5260109" y="6535179"/>
                </a:lnTo>
                <a:lnTo>
                  <a:pt x="5345108" y="6535179"/>
                </a:lnTo>
                <a:lnTo>
                  <a:pt x="5345108" y="6517311"/>
                </a:lnTo>
                <a:close/>
                <a:moveTo>
                  <a:pt x="5058654" y="6517311"/>
                </a:moveTo>
                <a:lnTo>
                  <a:pt x="5058654" y="6618035"/>
                </a:lnTo>
                <a:lnTo>
                  <a:pt x="5081623" y="6618035"/>
                </a:lnTo>
                <a:lnTo>
                  <a:pt x="5081623" y="6550414"/>
                </a:lnTo>
                <a:lnTo>
                  <a:pt x="5128005" y="6605892"/>
                </a:lnTo>
                <a:lnTo>
                  <a:pt x="5132865" y="6605892"/>
                </a:lnTo>
                <a:lnTo>
                  <a:pt x="5178758" y="6548737"/>
                </a:lnTo>
                <a:lnTo>
                  <a:pt x="5178758" y="6618035"/>
                </a:lnTo>
                <a:lnTo>
                  <a:pt x="5202073" y="6618035"/>
                </a:lnTo>
                <a:lnTo>
                  <a:pt x="5202073" y="6517311"/>
                </a:lnTo>
                <a:lnTo>
                  <a:pt x="5181925" y="6517311"/>
                </a:lnTo>
                <a:lnTo>
                  <a:pt x="5131887" y="6577070"/>
                </a:lnTo>
                <a:lnTo>
                  <a:pt x="5081623" y="6517311"/>
                </a:lnTo>
                <a:close/>
                <a:moveTo>
                  <a:pt x="4881335" y="6517311"/>
                </a:moveTo>
                <a:lnTo>
                  <a:pt x="4881335" y="6618035"/>
                </a:lnTo>
                <a:lnTo>
                  <a:pt x="4904296" y="6618035"/>
                </a:lnTo>
                <a:lnTo>
                  <a:pt x="4904296" y="6550414"/>
                </a:lnTo>
                <a:lnTo>
                  <a:pt x="4950678" y="6605892"/>
                </a:lnTo>
                <a:lnTo>
                  <a:pt x="4955531" y="6605892"/>
                </a:lnTo>
                <a:lnTo>
                  <a:pt x="5001439" y="6548737"/>
                </a:lnTo>
                <a:lnTo>
                  <a:pt x="5001439" y="6618035"/>
                </a:lnTo>
                <a:lnTo>
                  <a:pt x="5024754" y="6618035"/>
                </a:lnTo>
                <a:lnTo>
                  <a:pt x="5024754" y="6517311"/>
                </a:lnTo>
                <a:lnTo>
                  <a:pt x="5004599" y="6517311"/>
                </a:lnTo>
                <a:lnTo>
                  <a:pt x="4954568" y="6577070"/>
                </a:lnTo>
                <a:lnTo>
                  <a:pt x="4904296" y="6517311"/>
                </a:lnTo>
                <a:close/>
                <a:moveTo>
                  <a:pt x="4585477" y="6495162"/>
                </a:moveTo>
                <a:cubicBezTo>
                  <a:pt x="4562380" y="6495162"/>
                  <a:pt x="4554999" y="6501113"/>
                  <a:pt x="4554999" y="6524218"/>
                </a:cubicBezTo>
                <a:lnTo>
                  <a:pt x="4554999" y="6537775"/>
                </a:lnTo>
                <a:cubicBezTo>
                  <a:pt x="4554999" y="6560879"/>
                  <a:pt x="4562387" y="6566830"/>
                  <a:pt x="4585477" y="6566830"/>
                </a:cubicBezTo>
                <a:lnTo>
                  <a:pt x="4662155" y="6566830"/>
                </a:lnTo>
                <a:lnTo>
                  <a:pt x="4662155" y="6594930"/>
                </a:lnTo>
                <a:lnTo>
                  <a:pt x="4575252" y="6594930"/>
                </a:lnTo>
                <a:lnTo>
                  <a:pt x="4575252" y="6581704"/>
                </a:lnTo>
                <a:lnTo>
                  <a:pt x="4549996" y="6586948"/>
                </a:lnTo>
                <a:lnTo>
                  <a:pt x="4549996" y="6588979"/>
                </a:lnTo>
                <a:cubicBezTo>
                  <a:pt x="4549996" y="6612076"/>
                  <a:pt x="4557617" y="6618027"/>
                  <a:pt x="4580714" y="6618027"/>
                </a:cubicBezTo>
                <a:lnTo>
                  <a:pt x="4656686" y="6618027"/>
                </a:lnTo>
                <a:cubicBezTo>
                  <a:pt x="4679783" y="6618027"/>
                  <a:pt x="4687404" y="6612076"/>
                  <a:pt x="4687404" y="6588979"/>
                </a:cubicBezTo>
                <a:lnTo>
                  <a:pt x="4687404" y="6572074"/>
                </a:lnTo>
                <a:cubicBezTo>
                  <a:pt x="4687404" y="6548970"/>
                  <a:pt x="4679783" y="6543019"/>
                  <a:pt x="4656686" y="6543019"/>
                </a:cubicBezTo>
                <a:lnTo>
                  <a:pt x="4579999" y="6543019"/>
                </a:lnTo>
                <a:lnTo>
                  <a:pt x="4579999" y="6516596"/>
                </a:lnTo>
                <a:lnTo>
                  <a:pt x="4660485" y="6516596"/>
                </a:lnTo>
                <a:lnTo>
                  <a:pt x="4660485" y="6529905"/>
                </a:lnTo>
                <a:lnTo>
                  <a:pt x="4685726" y="6523954"/>
                </a:lnTo>
                <a:lnTo>
                  <a:pt x="4685726" y="6522074"/>
                </a:lnTo>
                <a:cubicBezTo>
                  <a:pt x="4685726" y="6500872"/>
                  <a:pt x="4677157" y="6495162"/>
                  <a:pt x="4655249" y="6495162"/>
                </a:cubicBezTo>
                <a:close/>
                <a:moveTo>
                  <a:pt x="5387421" y="6392873"/>
                </a:moveTo>
                <a:lnTo>
                  <a:pt x="5424323" y="6423591"/>
                </a:lnTo>
                <a:lnTo>
                  <a:pt x="5412895" y="6433349"/>
                </a:lnTo>
                <a:lnTo>
                  <a:pt x="5355995" y="6433349"/>
                </a:lnTo>
                <a:lnTo>
                  <a:pt x="5355995" y="6433342"/>
                </a:lnTo>
                <a:lnTo>
                  <a:pt x="5355995" y="6412396"/>
                </a:lnTo>
                <a:close/>
                <a:moveTo>
                  <a:pt x="4756732" y="6371439"/>
                </a:moveTo>
                <a:lnTo>
                  <a:pt x="4812691" y="6371439"/>
                </a:lnTo>
                <a:cubicBezTo>
                  <a:pt x="4820064" y="6371439"/>
                  <a:pt x="4823885" y="6372876"/>
                  <a:pt x="4823885" y="6379534"/>
                </a:cubicBezTo>
                <a:lnTo>
                  <a:pt x="4823885" y="6391203"/>
                </a:lnTo>
                <a:cubicBezTo>
                  <a:pt x="4823885" y="6397876"/>
                  <a:pt x="4820064" y="6399298"/>
                  <a:pt x="4812691" y="6399298"/>
                </a:cubicBezTo>
                <a:lnTo>
                  <a:pt x="4756732" y="6399298"/>
                </a:lnTo>
                <a:close/>
                <a:moveTo>
                  <a:pt x="5182505" y="6354060"/>
                </a:moveTo>
                <a:cubicBezTo>
                  <a:pt x="5162741" y="6354060"/>
                  <a:pt x="5156068" y="6358830"/>
                  <a:pt x="5156068" y="6377879"/>
                </a:cubicBezTo>
                <a:lnTo>
                  <a:pt x="5156068" y="6389074"/>
                </a:lnTo>
                <a:cubicBezTo>
                  <a:pt x="5156068" y="6408123"/>
                  <a:pt x="5162741" y="6412878"/>
                  <a:pt x="5182505" y="6412878"/>
                </a:cubicBezTo>
                <a:lnTo>
                  <a:pt x="5247741" y="6412878"/>
                </a:lnTo>
                <a:lnTo>
                  <a:pt x="5247741" y="6435983"/>
                </a:lnTo>
                <a:lnTo>
                  <a:pt x="5173680" y="6435983"/>
                </a:lnTo>
                <a:lnTo>
                  <a:pt x="5173680" y="6425375"/>
                </a:lnTo>
                <a:lnTo>
                  <a:pt x="5151787" y="6429430"/>
                </a:lnTo>
                <a:lnTo>
                  <a:pt x="5151787" y="6430980"/>
                </a:lnTo>
                <a:cubicBezTo>
                  <a:pt x="5151787" y="6449796"/>
                  <a:pt x="5158212" y="6454784"/>
                  <a:pt x="5178209" y="6454784"/>
                </a:cubicBezTo>
                <a:lnTo>
                  <a:pt x="5243701" y="6454784"/>
                </a:lnTo>
                <a:cubicBezTo>
                  <a:pt x="5263698" y="6454784"/>
                  <a:pt x="5269890" y="6449796"/>
                  <a:pt x="5269890" y="6430980"/>
                </a:cubicBezTo>
                <a:lnTo>
                  <a:pt x="5269890" y="6417166"/>
                </a:lnTo>
                <a:cubicBezTo>
                  <a:pt x="5269890" y="6398117"/>
                  <a:pt x="5263706" y="6393362"/>
                  <a:pt x="5243701" y="6393362"/>
                </a:cubicBezTo>
                <a:lnTo>
                  <a:pt x="5178209" y="6393362"/>
                </a:lnTo>
                <a:lnTo>
                  <a:pt x="5178209" y="6372154"/>
                </a:lnTo>
                <a:lnTo>
                  <a:pt x="5247500" y="6372154"/>
                </a:lnTo>
                <a:lnTo>
                  <a:pt x="5247500" y="6381565"/>
                </a:lnTo>
                <a:lnTo>
                  <a:pt x="5268686" y="6377051"/>
                </a:lnTo>
                <a:lnTo>
                  <a:pt x="5268686" y="6375968"/>
                </a:lnTo>
                <a:cubicBezTo>
                  <a:pt x="5268686" y="6358356"/>
                  <a:pt x="5260839" y="6354060"/>
                  <a:pt x="5242264" y="6354060"/>
                </a:cubicBezTo>
                <a:close/>
                <a:moveTo>
                  <a:pt x="5018171" y="6354060"/>
                </a:moveTo>
                <a:lnTo>
                  <a:pt x="5018171" y="6454776"/>
                </a:lnTo>
                <a:lnTo>
                  <a:pt x="5127464" y="6454776"/>
                </a:lnTo>
                <a:lnTo>
                  <a:pt x="5127464" y="6435967"/>
                </a:lnTo>
                <a:lnTo>
                  <a:pt x="5042938" y="6435967"/>
                </a:lnTo>
                <a:lnTo>
                  <a:pt x="5042938" y="6411200"/>
                </a:lnTo>
                <a:lnTo>
                  <a:pt x="5091510" y="6411200"/>
                </a:lnTo>
                <a:lnTo>
                  <a:pt x="5091510" y="6393821"/>
                </a:lnTo>
                <a:lnTo>
                  <a:pt x="5042938" y="6393821"/>
                </a:lnTo>
                <a:lnTo>
                  <a:pt x="5042938" y="6371913"/>
                </a:lnTo>
                <a:lnTo>
                  <a:pt x="5126283" y="6371913"/>
                </a:lnTo>
                <a:lnTo>
                  <a:pt x="5126283" y="6354060"/>
                </a:lnTo>
                <a:close/>
                <a:moveTo>
                  <a:pt x="4880462" y="6354060"/>
                </a:moveTo>
                <a:lnTo>
                  <a:pt x="4880462" y="6454776"/>
                </a:lnTo>
                <a:lnTo>
                  <a:pt x="4989755" y="6454776"/>
                </a:lnTo>
                <a:lnTo>
                  <a:pt x="4989755" y="6435967"/>
                </a:lnTo>
                <a:lnTo>
                  <a:pt x="4905229" y="6435967"/>
                </a:lnTo>
                <a:lnTo>
                  <a:pt x="4905229" y="6411200"/>
                </a:lnTo>
                <a:lnTo>
                  <a:pt x="4953801" y="6411200"/>
                </a:lnTo>
                <a:lnTo>
                  <a:pt x="4953801" y="6393821"/>
                </a:lnTo>
                <a:lnTo>
                  <a:pt x="4905229" y="6393821"/>
                </a:lnTo>
                <a:lnTo>
                  <a:pt x="4905229" y="6371913"/>
                </a:lnTo>
                <a:lnTo>
                  <a:pt x="4988574" y="6371913"/>
                </a:lnTo>
                <a:lnTo>
                  <a:pt x="4988574" y="6354060"/>
                </a:lnTo>
                <a:close/>
                <a:moveTo>
                  <a:pt x="4732446" y="6354060"/>
                </a:moveTo>
                <a:lnTo>
                  <a:pt x="4732446" y="6454776"/>
                </a:lnTo>
                <a:lnTo>
                  <a:pt x="4756739" y="6454776"/>
                </a:lnTo>
                <a:lnTo>
                  <a:pt x="4756739" y="6416670"/>
                </a:lnTo>
                <a:lnTo>
                  <a:pt x="4779836" y="6416670"/>
                </a:lnTo>
                <a:lnTo>
                  <a:pt x="4821982" y="6454776"/>
                </a:lnTo>
                <a:lnTo>
                  <a:pt x="4857229" y="6454776"/>
                </a:lnTo>
                <a:lnTo>
                  <a:pt x="4809358" y="6416670"/>
                </a:lnTo>
                <a:lnTo>
                  <a:pt x="4823171" y="6416670"/>
                </a:lnTo>
                <a:cubicBezTo>
                  <a:pt x="4839369" y="6416670"/>
                  <a:pt x="4846749" y="6411193"/>
                  <a:pt x="4846749" y="6397395"/>
                </a:cubicBezTo>
                <a:lnTo>
                  <a:pt x="4846749" y="6373583"/>
                </a:lnTo>
                <a:cubicBezTo>
                  <a:pt x="4846749" y="6359537"/>
                  <a:pt x="4839361" y="6354060"/>
                  <a:pt x="4823171" y="6354060"/>
                </a:cubicBezTo>
                <a:close/>
                <a:moveTo>
                  <a:pt x="4582625" y="6353819"/>
                </a:moveTo>
                <a:lnTo>
                  <a:pt x="4633340" y="6353819"/>
                </a:lnTo>
                <a:cubicBezTo>
                  <a:pt x="4660252" y="6353819"/>
                  <a:pt x="4673824" y="6367158"/>
                  <a:pt x="4673824" y="6392158"/>
                </a:cubicBezTo>
                <a:cubicBezTo>
                  <a:pt x="4673824" y="6422636"/>
                  <a:pt x="4655723" y="6431686"/>
                  <a:pt x="4619527" y="6431686"/>
                </a:cubicBezTo>
                <a:lnTo>
                  <a:pt x="4582625" y="6431686"/>
                </a:lnTo>
                <a:close/>
                <a:moveTo>
                  <a:pt x="5392190" y="6331911"/>
                </a:moveTo>
                <a:cubicBezTo>
                  <a:pt x="5371230" y="6331911"/>
                  <a:pt x="5361713" y="6336681"/>
                  <a:pt x="5361713" y="6354293"/>
                </a:cubicBezTo>
                <a:lnTo>
                  <a:pt x="5361713" y="6361192"/>
                </a:lnTo>
                <a:cubicBezTo>
                  <a:pt x="5361713" y="6368339"/>
                  <a:pt x="5365046" y="6373816"/>
                  <a:pt x="5372193" y="6379767"/>
                </a:cubicBezTo>
                <a:lnTo>
                  <a:pt x="5347178" y="6394776"/>
                </a:lnTo>
                <a:cubicBezTo>
                  <a:pt x="5336472" y="6401202"/>
                  <a:pt x="5331943" y="6405008"/>
                  <a:pt x="5331943" y="6417633"/>
                </a:cubicBezTo>
                <a:lnTo>
                  <a:pt x="5331943" y="6425728"/>
                </a:lnTo>
                <a:cubicBezTo>
                  <a:pt x="5331943" y="6448825"/>
                  <a:pt x="5339564" y="6454776"/>
                  <a:pt x="5362654" y="6454776"/>
                </a:cubicBezTo>
                <a:lnTo>
                  <a:pt x="5406470" y="6454776"/>
                </a:lnTo>
                <a:cubicBezTo>
                  <a:pt x="5416702" y="6454776"/>
                  <a:pt x="5421705" y="6454302"/>
                  <a:pt x="5429567" y="6447388"/>
                </a:cubicBezTo>
                <a:lnTo>
                  <a:pt x="5440521" y="6437630"/>
                </a:lnTo>
                <a:lnTo>
                  <a:pt x="5460759" y="6454776"/>
                </a:lnTo>
                <a:lnTo>
                  <a:pt x="5498150" y="6454776"/>
                </a:lnTo>
                <a:lnTo>
                  <a:pt x="5459337" y="6422147"/>
                </a:lnTo>
                <a:lnTo>
                  <a:pt x="5487670" y="6398583"/>
                </a:lnTo>
                <a:lnTo>
                  <a:pt x="5471472" y="6384537"/>
                </a:lnTo>
                <a:lnTo>
                  <a:pt x="5442898" y="6408341"/>
                </a:lnTo>
                <a:lnTo>
                  <a:pt x="5385036" y="6360244"/>
                </a:lnTo>
                <a:lnTo>
                  <a:pt x="5385036" y="6351434"/>
                </a:lnTo>
                <a:lnTo>
                  <a:pt x="5425286" y="6351434"/>
                </a:lnTo>
                <a:lnTo>
                  <a:pt x="5425286" y="6367873"/>
                </a:lnTo>
                <a:lnTo>
                  <a:pt x="5447420" y="6364066"/>
                </a:lnTo>
                <a:lnTo>
                  <a:pt x="5447420" y="6356678"/>
                </a:lnTo>
                <a:cubicBezTo>
                  <a:pt x="5447420" y="6336681"/>
                  <a:pt x="5439084" y="6331911"/>
                  <a:pt x="5416942" y="6331911"/>
                </a:cubicBezTo>
                <a:close/>
                <a:moveTo>
                  <a:pt x="4554051" y="6331911"/>
                </a:moveTo>
                <a:lnTo>
                  <a:pt x="4554051" y="6454776"/>
                </a:lnTo>
                <a:lnTo>
                  <a:pt x="4625727" y="6454776"/>
                </a:lnTo>
                <a:cubicBezTo>
                  <a:pt x="4647620" y="6454776"/>
                  <a:pt x="4664292" y="6452632"/>
                  <a:pt x="4676209" y="6445259"/>
                </a:cubicBezTo>
                <a:cubicBezTo>
                  <a:pt x="4693355" y="6434779"/>
                  <a:pt x="4703346" y="6415729"/>
                  <a:pt x="4703346" y="6392632"/>
                </a:cubicBezTo>
                <a:cubicBezTo>
                  <a:pt x="4703346" y="6354534"/>
                  <a:pt x="4679068" y="6331911"/>
                  <a:pt x="4633100" y="6331911"/>
                </a:cubicBezTo>
                <a:close/>
                <a:moveTo>
                  <a:pt x="0" y="0"/>
                </a:moveTo>
                <a:lnTo>
                  <a:pt x="6025200" y="0"/>
                </a:lnTo>
                <a:lnTo>
                  <a:pt x="6025200" y="6858000"/>
                </a:lnTo>
                <a:lnTo>
                  <a:pt x="0" y="6858000"/>
                </a:lnTo>
                <a:close/>
              </a:path>
            </a:pathLst>
          </a:custGeom>
          <a:pattFill prst="ltUpDiag">
            <a:fgClr>
              <a:schemeClr val="bg1">
                <a:lumMod val="95000"/>
              </a:schemeClr>
            </a:fgClr>
            <a:bgClr>
              <a:schemeClr val="bg1"/>
            </a:bgClr>
          </a:pattFill>
        </p:spPr>
        <p:txBody>
          <a:bodyPr wrap="square">
            <a:noAutofit/>
          </a:bodyPr>
          <a:lstStyle/>
          <a:p>
            <a:endParaRPr lang="en-US"/>
          </a:p>
        </p:txBody>
      </p:sp>
      <p:sp>
        <p:nvSpPr>
          <p:cNvPr id="36" name="logo drees&amp;sommer white">
            <a:extLst>
              <a:ext uri="{FF2B5EF4-FFF2-40B4-BE49-F238E27FC236}">
                <a16:creationId xmlns:a16="http://schemas.microsoft.com/office/drawing/2014/main" id="{58D9E566-0030-4B7F-9084-265EDE84DE2D}"/>
              </a:ext>
            </a:extLst>
          </p:cNvPr>
          <p:cNvSpPr>
            <a:spLocks noGrp="1"/>
          </p:cNvSpPr>
          <p:nvPr>
            <p:ph type="media" sz="quarter" idx="20"/>
          </p:nvPr>
        </p:nvSpPr>
        <p:spPr bwMode="gray">
          <a:xfrm>
            <a:off x="10716797" y="6330042"/>
            <a:ext cx="946800" cy="288000"/>
          </a:xfrm>
          <a:blipFill>
            <a:blip r:embed="rId2" cstate="print">
              <a:extLst>
                <a:ext uri="{28A0092B-C50C-407E-A947-70E740481C1C}">
                  <a14:useLocalDpi xmlns:a14="http://schemas.microsoft.com/office/drawing/2010/main"/>
                </a:ext>
              </a:extLst>
            </a:blip>
            <a:stretch>
              <a:fillRect/>
            </a:stretch>
          </a:blipFill>
          <a:ln w="15875" cap="flat">
            <a:noFill/>
            <a:prstDash val="lgDash"/>
          </a:ln>
        </p:spPr>
        <p:txBody>
          <a:bodyPr/>
          <a:lstStyle>
            <a:lvl1pPr>
              <a:defRPr sz="100">
                <a:solidFill>
                  <a:schemeClr val="bg1"/>
                </a:solidFill>
              </a:defRPr>
            </a:lvl1pPr>
          </a:lstStyle>
          <a:p>
            <a:endParaRPr lang="de-DE"/>
          </a:p>
        </p:txBody>
      </p:sp>
      <p:sp>
        <p:nvSpPr>
          <p:cNvPr id="12" name="info">
            <a:extLst>
              <a:ext uri="{FF2B5EF4-FFF2-40B4-BE49-F238E27FC236}">
                <a16:creationId xmlns:a16="http://schemas.microsoft.com/office/drawing/2014/main" id="{9E77869E-35B5-4B1F-AAA9-427D489FE3D3}"/>
              </a:ext>
            </a:extLst>
          </p:cNvPr>
          <p:cNvSpPr/>
          <p:nvPr userDrawn="1"/>
        </p:nvSpPr>
        <p:spPr bwMode="gray">
          <a:xfrm flipH="1">
            <a:off x="12247320" y="6288645"/>
            <a:ext cx="1579616" cy="370793"/>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36000" rtlCol="0" anchor="ctr">
            <a:spAutoFit/>
          </a:bodyPr>
          <a:lstStyle/>
          <a:p>
            <a:pPr algn="ctr">
              <a:lnSpc>
                <a:spcPct val="80000"/>
              </a:lnSpc>
              <a:spcBef>
                <a:spcPts val="400"/>
              </a:spcBef>
              <a:spcAft>
                <a:spcPts val="400"/>
              </a:spcAft>
            </a:pPr>
            <a:r>
              <a:rPr lang="en-US" sz="1050">
                <a:solidFill>
                  <a:schemeClr val="bg1"/>
                </a:solidFill>
              </a:rPr>
              <a:t>delete the white logo </a:t>
            </a:r>
            <a:br>
              <a:rPr lang="en-US" sz="1050">
                <a:solidFill>
                  <a:schemeClr val="bg1"/>
                </a:solidFill>
              </a:rPr>
            </a:br>
            <a:r>
              <a:rPr lang="en-US" sz="1050">
                <a:solidFill>
                  <a:schemeClr val="bg1"/>
                </a:solidFill>
              </a:rPr>
              <a:t>to get the BLUE LOGO</a:t>
            </a:r>
            <a:endParaRPr lang="de-DE" sz="1050">
              <a:solidFill>
                <a:schemeClr val="bg1"/>
              </a:solidFill>
            </a:endParaRPr>
          </a:p>
        </p:txBody>
      </p:sp>
      <p:sp>
        <p:nvSpPr>
          <p:cNvPr id="6" name="slide number">
            <a:extLst>
              <a:ext uri="{FF2B5EF4-FFF2-40B4-BE49-F238E27FC236}">
                <a16:creationId xmlns:a16="http://schemas.microsoft.com/office/drawing/2014/main" id="{90B54C2D-8235-4852-8EB7-5E05529B2499}"/>
              </a:ext>
            </a:extLst>
          </p:cNvPr>
          <p:cNvSpPr>
            <a:spLocks noGrp="1"/>
          </p:cNvSpPr>
          <p:nvPr>
            <p:ph type="sldNum" sz="quarter" idx="12"/>
          </p:nvPr>
        </p:nvSpPr>
        <p:spPr bwMode="gray"/>
        <p:txBody>
          <a:bodyPr lIns="0" tIns="0" rIns="0" bIns="0"/>
          <a:lstStyle/>
          <a:p>
            <a:fld id="{9829449A-3FF3-45CE-9F4F-09BADC0910C6}" type="slidenum">
              <a:rPr lang="en-US" smtClean="0"/>
              <a:t>‹Nr.›</a:t>
            </a:fld>
            <a:endParaRPr lang="en-US"/>
          </a:p>
        </p:txBody>
      </p:sp>
      <p:sp>
        <p:nvSpPr>
          <p:cNvPr id="5" name="footer">
            <a:extLst>
              <a:ext uri="{FF2B5EF4-FFF2-40B4-BE49-F238E27FC236}">
                <a16:creationId xmlns:a16="http://schemas.microsoft.com/office/drawing/2014/main" id="{A4534FC4-D037-44B0-B266-D9E820FC1DF2}"/>
              </a:ext>
            </a:extLst>
          </p:cNvPr>
          <p:cNvSpPr>
            <a:spLocks noGrp="1"/>
          </p:cNvSpPr>
          <p:nvPr>
            <p:ph type="ftr" sz="quarter" idx="11"/>
          </p:nvPr>
        </p:nvSpPr>
        <p:spPr bwMode="gray">
          <a:xfrm>
            <a:off x="763200" y="6386400"/>
            <a:ext cx="5115600" cy="180000"/>
          </a:xfrm>
        </p:spPr>
        <p:txBody>
          <a:bodyPr lIns="0" tIns="0" rIns="0" bIns="0"/>
          <a:lstStyle/>
          <a:p>
            <a:endParaRPr lang="en-US"/>
          </a:p>
        </p:txBody>
      </p:sp>
    </p:spTree>
    <p:extLst>
      <p:ext uri="{BB962C8B-B14F-4D97-AF65-F5344CB8AC3E}">
        <p14:creationId xmlns:p14="http://schemas.microsoft.com/office/powerpoint/2010/main" val="3424610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644" userDrawn="1">
          <p15:clr>
            <a:srgbClr val="FBAE40"/>
          </p15:clr>
        </p15:guide>
        <p15:guide id="2" pos="3704" userDrawn="1">
          <p15:clr>
            <a:srgbClr val="FBAE40"/>
          </p15:clr>
        </p15:guide>
        <p15:guide id="3" pos="3884"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amp; Full Picture 2/1">
    <p:spTree>
      <p:nvGrpSpPr>
        <p:cNvPr id="1" name=""/>
        <p:cNvGrpSpPr/>
        <p:nvPr/>
      </p:nvGrpSpPr>
      <p:grpSpPr>
        <a:xfrm>
          <a:off x="0" y="0"/>
          <a:ext cx="0" cy="0"/>
          <a:chOff x="0" y="0"/>
          <a:chExt cx="0" cy="0"/>
        </a:xfrm>
      </p:grpSpPr>
      <p:sp>
        <p:nvSpPr>
          <p:cNvPr id="14" name="logo drees&amp;sommer blue mask">
            <a:extLst>
              <a:ext uri="{FF2B5EF4-FFF2-40B4-BE49-F238E27FC236}">
                <a16:creationId xmlns:a16="http://schemas.microsoft.com/office/drawing/2014/main" id="{30573451-C3D8-4D01-84C3-D375C7D33197}"/>
              </a:ext>
            </a:extLst>
          </p:cNvPr>
          <p:cNvSpPr/>
          <p:nvPr userDrawn="1"/>
        </p:nvSpPr>
        <p:spPr bwMode="gray">
          <a:xfrm>
            <a:off x="10579100" y="6197600"/>
            <a:ext cx="1270000" cy="584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400"/>
              </a:spcBef>
              <a:spcAft>
                <a:spcPts val="400"/>
              </a:spcAft>
            </a:pPr>
            <a:endParaRPr lang="de-DE" sz="1400"/>
          </a:p>
        </p:txBody>
      </p:sp>
      <p:sp>
        <p:nvSpPr>
          <p:cNvPr id="2" name="title">
            <a:extLst>
              <a:ext uri="{FF2B5EF4-FFF2-40B4-BE49-F238E27FC236}">
                <a16:creationId xmlns:a16="http://schemas.microsoft.com/office/drawing/2014/main" id="{8FFCB50B-5503-4467-8A0F-9FBB8B48B97D}"/>
              </a:ext>
            </a:extLst>
          </p:cNvPr>
          <p:cNvSpPr>
            <a:spLocks noGrp="1"/>
          </p:cNvSpPr>
          <p:nvPr>
            <p:ph type="title"/>
          </p:nvPr>
        </p:nvSpPr>
        <p:spPr bwMode="gray">
          <a:xfrm>
            <a:off x="525600" y="673200"/>
            <a:ext cx="7236000" cy="288000"/>
          </a:xfrm>
        </p:spPr>
        <p:txBody>
          <a:bodyPr lIns="0" tIns="0" rIns="0" bIns="0"/>
          <a:lstStyle/>
          <a:p>
            <a:r>
              <a:rPr lang="de-DE"/>
              <a:t>Mastertitelformat bearbeiten</a:t>
            </a:r>
            <a:endParaRPr lang="en-US"/>
          </a:p>
        </p:txBody>
      </p:sp>
      <p:sp>
        <p:nvSpPr>
          <p:cNvPr id="4" name="subtitle">
            <a:extLst>
              <a:ext uri="{FF2B5EF4-FFF2-40B4-BE49-F238E27FC236}">
                <a16:creationId xmlns:a16="http://schemas.microsoft.com/office/drawing/2014/main" id="{7086919D-8D03-4875-B9F0-05F0C8564079}"/>
              </a:ext>
            </a:extLst>
          </p:cNvPr>
          <p:cNvSpPr>
            <a:spLocks noGrp="1"/>
          </p:cNvSpPr>
          <p:nvPr>
            <p:ph type="body" sz="quarter" idx="14" hasCustomPrompt="1"/>
          </p:nvPr>
        </p:nvSpPr>
        <p:spPr bwMode="gray">
          <a:xfrm>
            <a:off x="525600" y="1022400"/>
            <a:ext cx="7236000" cy="504000"/>
          </a:xfrm>
        </p:spPr>
        <p:txBody>
          <a:bodyPr/>
          <a:lstStyle>
            <a:lvl1pPr>
              <a:lnSpc>
                <a:spcPct val="85000"/>
              </a:lnSpc>
              <a:spcBef>
                <a:spcPts val="0"/>
              </a:spcBef>
              <a:spcAft>
                <a:spcPts val="0"/>
              </a:spcAft>
              <a:defRPr sz="2000"/>
            </a:lvl1pPr>
          </a:lstStyle>
          <a:p>
            <a:pPr lvl="0"/>
            <a:r>
              <a:rPr lang="de-DE" err="1"/>
              <a:t>Subtitle</a:t>
            </a:r>
            <a:endParaRPr lang="en-US"/>
          </a:p>
        </p:txBody>
      </p:sp>
      <p:sp>
        <p:nvSpPr>
          <p:cNvPr id="7" name="content">
            <a:extLst>
              <a:ext uri="{FF2B5EF4-FFF2-40B4-BE49-F238E27FC236}">
                <a16:creationId xmlns:a16="http://schemas.microsoft.com/office/drawing/2014/main" id="{5ACBB9A0-3E08-4278-AF60-F20CD65CA5C6}"/>
              </a:ext>
            </a:extLst>
          </p:cNvPr>
          <p:cNvSpPr>
            <a:spLocks noGrp="1"/>
          </p:cNvSpPr>
          <p:nvPr>
            <p:ph idx="1"/>
          </p:nvPr>
        </p:nvSpPr>
        <p:spPr bwMode="gray">
          <a:xfrm>
            <a:off x="525599" y="1602000"/>
            <a:ext cx="7236000" cy="449640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3" name="picture">
            <a:extLst>
              <a:ext uri="{FF2B5EF4-FFF2-40B4-BE49-F238E27FC236}">
                <a16:creationId xmlns:a16="http://schemas.microsoft.com/office/drawing/2014/main" id="{8E094460-BD2F-463B-A397-6EBBC121720C}"/>
              </a:ext>
            </a:extLst>
          </p:cNvPr>
          <p:cNvSpPr>
            <a:spLocks noGrp="1"/>
          </p:cNvSpPr>
          <p:nvPr>
            <p:ph type="pic" sz="quarter" idx="16"/>
          </p:nvPr>
        </p:nvSpPr>
        <p:spPr bwMode="gray">
          <a:xfrm>
            <a:off x="8046865" y="0"/>
            <a:ext cx="4145135" cy="6858000"/>
          </a:xfrm>
          <a:custGeom>
            <a:avLst/>
            <a:gdLst>
              <a:gd name="connsiteX0" fmla="*/ 2862478 w 4145135"/>
              <a:gd name="connsiteY0" fmla="*/ 6535879 h 6858000"/>
              <a:gd name="connsiteX1" fmla="*/ 2945303 w 4145135"/>
              <a:gd name="connsiteY1" fmla="*/ 6535879 h 6858000"/>
              <a:gd name="connsiteX2" fmla="*/ 2945303 w 4145135"/>
              <a:gd name="connsiteY2" fmla="*/ 6598745 h 6858000"/>
              <a:gd name="connsiteX3" fmla="*/ 2862478 w 4145135"/>
              <a:gd name="connsiteY3" fmla="*/ 6598745 h 6858000"/>
              <a:gd name="connsiteX4" fmla="*/ 3516391 w 4145135"/>
              <a:gd name="connsiteY4" fmla="*/ 6534690 h 6858000"/>
              <a:gd name="connsiteX5" fmla="*/ 3572350 w 4145135"/>
              <a:gd name="connsiteY5" fmla="*/ 6534690 h 6858000"/>
              <a:gd name="connsiteX6" fmla="*/ 3583544 w 4145135"/>
              <a:gd name="connsiteY6" fmla="*/ 6542786 h 6858000"/>
              <a:gd name="connsiteX7" fmla="*/ 3583544 w 4145135"/>
              <a:gd name="connsiteY7" fmla="*/ 6554455 h 6858000"/>
              <a:gd name="connsiteX8" fmla="*/ 3572350 w 4145135"/>
              <a:gd name="connsiteY8" fmla="*/ 6562550 h 6858000"/>
              <a:gd name="connsiteX9" fmla="*/ 3516391 w 4145135"/>
              <a:gd name="connsiteY9" fmla="*/ 6562550 h 6858000"/>
              <a:gd name="connsiteX10" fmla="*/ 2863441 w 4145135"/>
              <a:gd name="connsiteY10" fmla="*/ 6517318 h 6858000"/>
              <a:gd name="connsiteX11" fmla="*/ 2836725 w 4145135"/>
              <a:gd name="connsiteY11" fmla="*/ 6541122 h 6858000"/>
              <a:gd name="connsiteX12" fmla="*/ 2836725 w 4145135"/>
              <a:gd name="connsiteY12" fmla="*/ 6594223 h 6858000"/>
              <a:gd name="connsiteX13" fmla="*/ 2863441 w 4145135"/>
              <a:gd name="connsiteY13" fmla="*/ 6618042 h 6858000"/>
              <a:gd name="connsiteX14" fmla="*/ 2942865 w 4145135"/>
              <a:gd name="connsiteY14" fmla="*/ 6618042 h 6858000"/>
              <a:gd name="connsiteX15" fmla="*/ 2969581 w 4145135"/>
              <a:gd name="connsiteY15" fmla="*/ 6594223 h 6858000"/>
              <a:gd name="connsiteX16" fmla="*/ 2969581 w 4145135"/>
              <a:gd name="connsiteY16" fmla="*/ 6541122 h 6858000"/>
              <a:gd name="connsiteX17" fmla="*/ 2942865 w 4145135"/>
              <a:gd name="connsiteY17" fmla="*/ 6517318 h 6858000"/>
              <a:gd name="connsiteX18" fmla="*/ 3492120 w 4145135"/>
              <a:gd name="connsiteY18" fmla="*/ 6517311 h 6858000"/>
              <a:gd name="connsiteX19" fmla="*/ 3492120 w 4145135"/>
              <a:gd name="connsiteY19" fmla="*/ 6618035 h 6858000"/>
              <a:gd name="connsiteX20" fmla="*/ 3516398 w 4145135"/>
              <a:gd name="connsiteY20" fmla="*/ 6618035 h 6858000"/>
              <a:gd name="connsiteX21" fmla="*/ 3516398 w 4145135"/>
              <a:gd name="connsiteY21" fmla="*/ 6579929 h 6858000"/>
              <a:gd name="connsiteX22" fmla="*/ 3539495 w 4145135"/>
              <a:gd name="connsiteY22" fmla="*/ 6579929 h 6858000"/>
              <a:gd name="connsiteX23" fmla="*/ 3581641 w 4145135"/>
              <a:gd name="connsiteY23" fmla="*/ 6618035 h 6858000"/>
              <a:gd name="connsiteX24" fmla="*/ 3616888 w 4145135"/>
              <a:gd name="connsiteY24" fmla="*/ 6618035 h 6858000"/>
              <a:gd name="connsiteX25" fmla="*/ 3569032 w 4145135"/>
              <a:gd name="connsiteY25" fmla="*/ 6579929 h 6858000"/>
              <a:gd name="connsiteX26" fmla="*/ 3582845 w 4145135"/>
              <a:gd name="connsiteY26" fmla="*/ 6579929 h 6858000"/>
              <a:gd name="connsiteX27" fmla="*/ 3606415 w 4145135"/>
              <a:gd name="connsiteY27" fmla="*/ 6560639 h 6858000"/>
              <a:gd name="connsiteX28" fmla="*/ 3606415 w 4145135"/>
              <a:gd name="connsiteY28" fmla="*/ 6536835 h 6858000"/>
              <a:gd name="connsiteX29" fmla="*/ 3582845 w 4145135"/>
              <a:gd name="connsiteY29" fmla="*/ 6517311 h 6858000"/>
              <a:gd name="connsiteX30" fmla="*/ 3354780 w 4145135"/>
              <a:gd name="connsiteY30" fmla="*/ 6517311 h 6858000"/>
              <a:gd name="connsiteX31" fmla="*/ 3354780 w 4145135"/>
              <a:gd name="connsiteY31" fmla="*/ 6618035 h 6858000"/>
              <a:gd name="connsiteX32" fmla="*/ 3466254 w 4145135"/>
              <a:gd name="connsiteY32" fmla="*/ 6618035 h 6858000"/>
              <a:gd name="connsiteX33" fmla="*/ 3466254 w 4145135"/>
              <a:gd name="connsiteY33" fmla="*/ 6599219 h 6858000"/>
              <a:gd name="connsiteX34" fmla="*/ 3380044 w 4145135"/>
              <a:gd name="connsiteY34" fmla="*/ 6599219 h 6858000"/>
              <a:gd name="connsiteX35" fmla="*/ 3380044 w 4145135"/>
              <a:gd name="connsiteY35" fmla="*/ 6574452 h 6858000"/>
              <a:gd name="connsiteX36" fmla="*/ 3429593 w 4145135"/>
              <a:gd name="connsiteY36" fmla="*/ 6574452 h 6858000"/>
              <a:gd name="connsiteX37" fmla="*/ 3429593 w 4145135"/>
              <a:gd name="connsiteY37" fmla="*/ 6557073 h 6858000"/>
              <a:gd name="connsiteX38" fmla="*/ 3380044 w 4145135"/>
              <a:gd name="connsiteY38" fmla="*/ 6557073 h 6858000"/>
              <a:gd name="connsiteX39" fmla="*/ 3380044 w 4145135"/>
              <a:gd name="connsiteY39" fmla="*/ 6535179 h 6858000"/>
              <a:gd name="connsiteX40" fmla="*/ 3465043 w 4145135"/>
              <a:gd name="connsiteY40" fmla="*/ 6535179 h 6858000"/>
              <a:gd name="connsiteX41" fmla="*/ 3465043 w 4145135"/>
              <a:gd name="connsiteY41" fmla="*/ 6517311 h 6858000"/>
              <a:gd name="connsiteX42" fmla="*/ 3178589 w 4145135"/>
              <a:gd name="connsiteY42" fmla="*/ 6517311 h 6858000"/>
              <a:gd name="connsiteX43" fmla="*/ 3178589 w 4145135"/>
              <a:gd name="connsiteY43" fmla="*/ 6618035 h 6858000"/>
              <a:gd name="connsiteX44" fmla="*/ 3201558 w 4145135"/>
              <a:gd name="connsiteY44" fmla="*/ 6618035 h 6858000"/>
              <a:gd name="connsiteX45" fmla="*/ 3201558 w 4145135"/>
              <a:gd name="connsiteY45" fmla="*/ 6550414 h 6858000"/>
              <a:gd name="connsiteX46" fmla="*/ 3247940 w 4145135"/>
              <a:gd name="connsiteY46" fmla="*/ 6605892 h 6858000"/>
              <a:gd name="connsiteX47" fmla="*/ 3252800 w 4145135"/>
              <a:gd name="connsiteY47" fmla="*/ 6605892 h 6858000"/>
              <a:gd name="connsiteX48" fmla="*/ 3298693 w 4145135"/>
              <a:gd name="connsiteY48" fmla="*/ 6548737 h 6858000"/>
              <a:gd name="connsiteX49" fmla="*/ 3298693 w 4145135"/>
              <a:gd name="connsiteY49" fmla="*/ 6618035 h 6858000"/>
              <a:gd name="connsiteX50" fmla="*/ 3322008 w 4145135"/>
              <a:gd name="connsiteY50" fmla="*/ 6618035 h 6858000"/>
              <a:gd name="connsiteX51" fmla="*/ 3322008 w 4145135"/>
              <a:gd name="connsiteY51" fmla="*/ 6517311 h 6858000"/>
              <a:gd name="connsiteX52" fmla="*/ 3301860 w 4145135"/>
              <a:gd name="connsiteY52" fmla="*/ 6517311 h 6858000"/>
              <a:gd name="connsiteX53" fmla="*/ 3251822 w 4145135"/>
              <a:gd name="connsiteY53" fmla="*/ 6577070 h 6858000"/>
              <a:gd name="connsiteX54" fmla="*/ 3201558 w 4145135"/>
              <a:gd name="connsiteY54" fmla="*/ 6517311 h 6858000"/>
              <a:gd name="connsiteX55" fmla="*/ 3001270 w 4145135"/>
              <a:gd name="connsiteY55" fmla="*/ 6517311 h 6858000"/>
              <a:gd name="connsiteX56" fmla="*/ 3001270 w 4145135"/>
              <a:gd name="connsiteY56" fmla="*/ 6618035 h 6858000"/>
              <a:gd name="connsiteX57" fmla="*/ 3024231 w 4145135"/>
              <a:gd name="connsiteY57" fmla="*/ 6618035 h 6858000"/>
              <a:gd name="connsiteX58" fmla="*/ 3024231 w 4145135"/>
              <a:gd name="connsiteY58" fmla="*/ 6550414 h 6858000"/>
              <a:gd name="connsiteX59" fmla="*/ 3070613 w 4145135"/>
              <a:gd name="connsiteY59" fmla="*/ 6605892 h 6858000"/>
              <a:gd name="connsiteX60" fmla="*/ 3075466 w 4145135"/>
              <a:gd name="connsiteY60" fmla="*/ 6605892 h 6858000"/>
              <a:gd name="connsiteX61" fmla="*/ 3121374 w 4145135"/>
              <a:gd name="connsiteY61" fmla="*/ 6548737 h 6858000"/>
              <a:gd name="connsiteX62" fmla="*/ 3121374 w 4145135"/>
              <a:gd name="connsiteY62" fmla="*/ 6618035 h 6858000"/>
              <a:gd name="connsiteX63" fmla="*/ 3144689 w 4145135"/>
              <a:gd name="connsiteY63" fmla="*/ 6618035 h 6858000"/>
              <a:gd name="connsiteX64" fmla="*/ 3144689 w 4145135"/>
              <a:gd name="connsiteY64" fmla="*/ 6517311 h 6858000"/>
              <a:gd name="connsiteX65" fmla="*/ 3124534 w 4145135"/>
              <a:gd name="connsiteY65" fmla="*/ 6517311 h 6858000"/>
              <a:gd name="connsiteX66" fmla="*/ 3074503 w 4145135"/>
              <a:gd name="connsiteY66" fmla="*/ 6577070 h 6858000"/>
              <a:gd name="connsiteX67" fmla="*/ 3024231 w 4145135"/>
              <a:gd name="connsiteY67" fmla="*/ 6517311 h 6858000"/>
              <a:gd name="connsiteX68" fmla="*/ 2705412 w 4145135"/>
              <a:gd name="connsiteY68" fmla="*/ 6495162 h 6858000"/>
              <a:gd name="connsiteX69" fmla="*/ 2674934 w 4145135"/>
              <a:gd name="connsiteY69" fmla="*/ 6524218 h 6858000"/>
              <a:gd name="connsiteX70" fmla="*/ 2674934 w 4145135"/>
              <a:gd name="connsiteY70" fmla="*/ 6537775 h 6858000"/>
              <a:gd name="connsiteX71" fmla="*/ 2705412 w 4145135"/>
              <a:gd name="connsiteY71" fmla="*/ 6566830 h 6858000"/>
              <a:gd name="connsiteX72" fmla="*/ 2782090 w 4145135"/>
              <a:gd name="connsiteY72" fmla="*/ 6566830 h 6858000"/>
              <a:gd name="connsiteX73" fmla="*/ 2782090 w 4145135"/>
              <a:gd name="connsiteY73" fmla="*/ 6594930 h 6858000"/>
              <a:gd name="connsiteX74" fmla="*/ 2695187 w 4145135"/>
              <a:gd name="connsiteY74" fmla="*/ 6594930 h 6858000"/>
              <a:gd name="connsiteX75" fmla="*/ 2695187 w 4145135"/>
              <a:gd name="connsiteY75" fmla="*/ 6581704 h 6858000"/>
              <a:gd name="connsiteX76" fmla="*/ 2669931 w 4145135"/>
              <a:gd name="connsiteY76" fmla="*/ 6586948 h 6858000"/>
              <a:gd name="connsiteX77" fmla="*/ 2669931 w 4145135"/>
              <a:gd name="connsiteY77" fmla="*/ 6588979 h 6858000"/>
              <a:gd name="connsiteX78" fmla="*/ 2700649 w 4145135"/>
              <a:gd name="connsiteY78" fmla="*/ 6618027 h 6858000"/>
              <a:gd name="connsiteX79" fmla="*/ 2776621 w 4145135"/>
              <a:gd name="connsiteY79" fmla="*/ 6618027 h 6858000"/>
              <a:gd name="connsiteX80" fmla="*/ 2807339 w 4145135"/>
              <a:gd name="connsiteY80" fmla="*/ 6588979 h 6858000"/>
              <a:gd name="connsiteX81" fmla="*/ 2807339 w 4145135"/>
              <a:gd name="connsiteY81" fmla="*/ 6572074 h 6858000"/>
              <a:gd name="connsiteX82" fmla="*/ 2776621 w 4145135"/>
              <a:gd name="connsiteY82" fmla="*/ 6543019 h 6858000"/>
              <a:gd name="connsiteX83" fmla="*/ 2699934 w 4145135"/>
              <a:gd name="connsiteY83" fmla="*/ 6543019 h 6858000"/>
              <a:gd name="connsiteX84" fmla="*/ 2699934 w 4145135"/>
              <a:gd name="connsiteY84" fmla="*/ 6516596 h 6858000"/>
              <a:gd name="connsiteX85" fmla="*/ 2780420 w 4145135"/>
              <a:gd name="connsiteY85" fmla="*/ 6516596 h 6858000"/>
              <a:gd name="connsiteX86" fmla="*/ 2780420 w 4145135"/>
              <a:gd name="connsiteY86" fmla="*/ 6529905 h 6858000"/>
              <a:gd name="connsiteX87" fmla="*/ 2805661 w 4145135"/>
              <a:gd name="connsiteY87" fmla="*/ 6523954 h 6858000"/>
              <a:gd name="connsiteX88" fmla="*/ 2805661 w 4145135"/>
              <a:gd name="connsiteY88" fmla="*/ 6522074 h 6858000"/>
              <a:gd name="connsiteX89" fmla="*/ 2775184 w 4145135"/>
              <a:gd name="connsiteY89" fmla="*/ 6495162 h 6858000"/>
              <a:gd name="connsiteX90" fmla="*/ 3507356 w 4145135"/>
              <a:gd name="connsiteY90" fmla="*/ 6392873 h 6858000"/>
              <a:gd name="connsiteX91" fmla="*/ 3544258 w 4145135"/>
              <a:gd name="connsiteY91" fmla="*/ 6423591 h 6858000"/>
              <a:gd name="connsiteX92" fmla="*/ 3532830 w 4145135"/>
              <a:gd name="connsiteY92" fmla="*/ 6433349 h 6858000"/>
              <a:gd name="connsiteX93" fmla="*/ 3475930 w 4145135"/>
              <a:gd name="connsiteY93" fmla="*/ 6433349 h 6858000"/>
              <a:gd name="connsiteX94" fmla="*/ 3475930 w 4145135"/>
              <a:gd name="connsiteY94" fmla="*/ 6433342 h 6858000"/>
              <a:gd name="connsiteX95" fmla="*/ 3475930 w 4145135"/>
              <a:gd name="connsiteY95" fmla="*/ 6412396 h 6858000"/>
              <a:gd name="connsiteX96" fmla="*/ 2876667 w 4145135"/>
              <a:gd name="connsiteY96" fmla="*/ 6371439 h 6858000"/>
              <a:gd name="connsiteX97" fmla="*/ 2932626 w 4145135"/>
              <a:gd name="connsiteY97" fmla="*/ 6371439 h 6858000"/>
              <a:gd name="connsiteX98" fmla="*/ 2943820 w 4145135"/>
              <a:gd name="connsiteY98" fmla="*/ 6379534 h 6858000"/>
              <a:gd name="connsiteX99" fmla="*/ 2943820 w 4145135"/>
              <a:gd name="connsiteY99" fmla="*/ 6391203 h 6858000"/>
              <a:gd name="connsiteX100" fmla="*/ 2932626 w 4145135"/>
              <a:gd name="connsiteY100" fmla="*/ 6399298 h 6858000"/>
              <a:gd name="connsiteX101" fmla="*/ 2876667 w 4145135"/>
              <a:gd name="connsiteY101" fmla="*/ 6399298 h 6858000"/>
              <a:gd name="connsiteX102" fmla="*/ 3302440 w 4145135"/>
              <a:gd name="connsiteY102" fmla="*/ 6354060 h 6858000"/>
              <a:gd name="connsiteX103" fmla="*/ 3276003 w 4145135"/>
              <a:gd name="connsiteY103" fmla="*/ 6377879 h 6858000"/>
              <a:gd name="connsiteX104" fmla="*/ 3276003 w 4145135"/>
              <a:gd name="connsiteY104" fmla="*/ 6389074 h 6858000"/>
              <a:gd name="connsiteX105" fmla="*/ 3302440 w 4145135"/>
              <a:gd name="connsiteY105" fmla="*/ 6412878 h 6858000"/>
              <a:gd name="connsiteX106" fmla="*/ 3367676 w 4145135"/>
              <a:gd name="connsiteY106" fmla="*/ 6412878 h 6858000"/>
              <a:gd name="connsiteX107" fmla="*/ 3367676 w 4145135"/>
              <a:gd name="connsiteY107" fmla="*/ 6435983 h 6858000"/>
              <a:gd name="connsiteX108" fmla="*/ 3293615 w 4145135"/>
              <a:gd name="connsiteY108" fmla="*/ 6435983 h 6858000"/>
              <a:gd name="connsiteX109" fmla="*/ 3293615 w 4145135"/>
              <a:gd name="connsiteY109" fmla="*/ 6425375 h 6858000"/>
              <a:gd name="connsiteX110" fmla="*/ 3271722 w 4145135"/>
              <a:gd name="connsiteY110" fmla="*/ 6429430 h 6858000"/>
              <a:gd name="connsiteX111" fmla="*/ 3271722 w 4145135"/>
              <a:gd name="connsiteY111" fmla="*/ 6430980 h 6858000"/>
              <a:gd name="connsiteX112" fmla="*/ 3298144 w 4145135"/>
              <a:gd name="connsiteY112" fmla="*/ 6454784 h 6858000"/>
              <a:gd name="connsiteX113" fmla="*/ 3363636 w 4145135"/>
              <a:gd name="connsiteY113" fmla="*/ 6454784 h 6858000"/>
              <a:gd name="connsiteX114" fmla="*/ 3389825 w 4145135"/>
              <a:gd name="connsiteY114" fmla="*/ 6430980 h 6858000"/>
              <a:gd name="connsiteX115" fmla="*/ 3389825 w 4145135"/>
              <a:gd name="connsiteY115" fmla="*/ 6417166 h 6858000"/>
              <a:gd name="connsiteX116" fmla="*/ 3363636 w 4145135"/>
              <a:gd name="connsiteY116" fmla="*/ 6393362 h 6858000"/>
              <a:gd name="connsiteX117" fmla="*/ 3298144 w 4145135"/>
              <a:gd name="connsiteY117" fmla="*/ 6393362 h 6858000"/>
              <a:gd name="connsiteX118" fmla="*/ 3298144 w 4145135"/>
              <a:gd name="connsiteY118" fmla="*/ 6372154 h 6858000"/>
              <a:gd name="connsiteX119" fmla="*/ 3367435 w 4145135"/>
              <a:gd name="connsiteY119" fmla="*/ 6372154 h 6858000"/>
              <a:gd name="connsiteX120" fmla="*/ 3367435 w 4145135"/>
              <a:gd name="connsiteY120" fmla="*/ 6381565 h 6858000"/>
              <a:gd name="connsiteX121" fmla="*/ 3388621 w 4145135"/>
              <a:gd name="connsiteY121" fmla="*/ 6377051 h 6858000"/>
              <a:gd name="connsiteX122" fmla="*/ 3388621 w 4145135"/>
              <a:gd name="connsiteY122" fmla="*/ 6375968 h 6858000"/>
              <a:gd name="connsiteX123" fmla="*/ 3362199 w 4145135"/>
              <a:gd name="connsiteY123" fmla="*/ 6354060 h 6858000"/>
              <a:gd name="connsiteX124" fmla="*/ 3138106 w 4145135"/>
              <a:gd name="connsiteY124" fmla="*/ 6354060 h 6858000"/>
              <a:gd name="connsiteX125" fmla="*/ 3138106 w 4145135"/>
              <a:gd name="connsiteY125" fmla="*/ 6454776 h 6858000"/>
              <a:gd name="connsiteX126" fmla="*/ 3247399 w 4145135"/>
              <a:gd name="connsiteY126" fmla="*/ 6454776 h 6858000"/>
              <a:gd name="connsiteX127" fmla="*/ 3247399 w 4145135"/>
              <a:gd name="connsiteY127" fmla="*/ 6435967 h 6858000"/>
              <a:gd name="connsiteX128" fmla="*/ 3162873 w 4145135"/>
              <a:gd name="connsiteY128" fmla="*/ 6435967 h 6858000"/>
              <a:gd name="connsiteX129" fmla="*/ 3162873 w 4145135"/>
              <a:gd name="connsiteY129" fmla="*/ 6411200 h 6858000"/>
              <a:gd name="connsiteX130" fmla="*/ 3211445 w 4145135"/>
              <a:gd name="connsiteY130" fmla="*/ 6411200 h 6858000"/>
              <a:gd name="connsiteX131" fmla="*/ 3211445 w 4145135"/>
              <a:gd name="connsiteY131" fmla="*/ 6393821 h 6858000"/>
              <a:gd name="connsiteX132" fmla="*/ 3162873 w 4145135"/>
              <a:gd name="connsiteY132" fmla="*/ 6393821 h 6858000"/>
              <a:gd name="connsiteX133" fmla="*/ 3162873 w 4145135"/>
              <a:gd name="connsiteY133" fmla="*/ 6371913 h 6858000"/>
              <a:gd name="connsiteX134" fmla="*/ 3246218 w 4145135"/>
              <a:gd name="connsiteY134" fmla="*/ 6371913 h 6858000"/>
              <a:gd name="connsiteX135" fmla="*/ 3246218 w 4145135"/>
              <a:gd name="connsiteY135" fmla="*/ 6354060 h 6858000"/>
              <a:gd name="connsiteX136" fmla="*/ 3000397 w 4145135"/>
              <a:gd name="connsiteY136" fmla="*/ 6354060 h 6858000"/>
              <a:gd name="connsiteX137" fmla="*/ 3000397 w 4145135"/>
              <a:gd name="connsiteY137" fmla="*/ 6454776 h 6858000"/>
              <a:gd name="connsiteX138" fmla="*/ 3109690 w 4145135"/>
              <a:gd name="connsiteY138" fmla="*/ 6454776 h 6858000"/>
              <a:gd name="connsiteX139" fmla="*/ 3109690 w 4145135"/>
              <a:gd name="connsiteY139" fmla="*/ 6435967 h 6858000"/>
              <a:gd name="connsiteX140" fmla="*/ 3025164 w 4145135"/>
              <a:gd name="connsiteY140" fmla="*/ 6435967 h 6858000"/>
              <a:gd name="connsiteX141" fmla="*/ 3025164 w 4145135"/>
              <a:gd name="connsiteY141" fmla="*/ 6411200 h 6858000"/>
              <a:gd name="connsiteX142" fmla="*/ 3073736 w 4145135"/>
              <a:gd name="connsiteY142" fmla="*/ 6411200 h 6858000"/>
              <a:gd name="connsiteX143" fmla="*/ 3073736 w 4145135"/>
              <a:gd name="connsiteY143" fmla="*/ 6393821 h 6858000"/>
              <a:gd name="connsiteX144" fmla="*/ 3025164 w 4145135"/>
              <a:gd name="connsiteY144" fmla="*/ 6393821 h 6858000"/>
              <a:gd name="connsiteX145" fmla="*/ 3025164 w 4145135"/>
              <a:gd name="connsiteY145" fmla="*/ 6371913 h 6858000"/>
              <a:gd name="connsiteX146" fmla="*/ 3108509 w 4145135"/>
              <a:gd name="connsiteY146" fmla="*/ 6371913 h 6858000"/>
              <a:gd name="connsiteX147" fmla="*/ 3108509 w 4145135"/>
              <a:gd name="connsiteY147" fmla="*/ 6354060 h 6858000"/>
              <a:gd name="connsiteX148" fmla="*/ 2852381 w 4145135"/>
              <a:gd name="connsiteY148" fmla="*/ 6354060 h 6858000"/>
              <a:gd name="connsiteX149" fmla="*/ 2852381 w 4145135"/>
              <a:gd name="connsiteY149" fmla="*/ 6454776 h 6858000"/>
              <a:gd name="connsiteX150" fmla="*/ 2876674 w 4145135"/>
              <a:gd name="connsiteY150" fmla="*/ 6454776 h 6858000"/>
              <a:gd name="connsiteX151" fmla="*/ 2876674 w 4145135"/>
              <a:gd name="connsiteY151" fmla="*/ 6416670 h 6858000"/>
              <a:gd name="connsiteX152" fmla="*/ 2899771 w 4145135"/>
              <a:gd name="connsiteY152" fmla="*/ 6416670 h 6858000"/>
              <a:gd name="connsiteX153" fmla="*/ 2941917 w 4145135"/>
              <a:gd name="connsiteY153" fmla="*/ 6454776 h 6858000"/>
              <a:gd name="connsiteX154" fmla="*/ 2977164 w 4145135"/>
              <a:gd name="connsiteY154" fmla="*/ 6454776 h 6858000"/>
              <a:gd name="connsiteX155" fmla="*/ 2929293 w 4145135"/>
              <a:gd name="connsiteY155" fmla="*/ 6416670 h 6858000"/>
              <a:gd name="connsiteX156" fmla="*/ 2943106 w 4145135"/>
              <a:gd name="connsiteY156" fmla="*/ 6416670 h 6858000"/>
              <a:gd name="connsiteX157" fmla="*/ 2966684 w 4145135"/>
              <a:gd name="connsiteY157" fmla="*/ 6397395 h 6858000"/>
              <a:gd name="connsiteX158" fmla="*/ 2966684 w 4145135"/>
              <a:gd name="connsiteY158" fmla="*/ 6373583 h 6858000"/>
              <a:gd name="connsiteX159" fmla="*/ 2943106 w 4145135"/>
              <a:gd name="connsiteY159" fmla="*/ 6354060 h 6858000"/>
              <a:gd name="connsiteX160" fmla="*/ 2702560 w 4145135"/>
              <a:gd name="connsiteY160" fmla="*/ 6353819 h 6858000"/>
              <a:gd name="connsiteX161" fmla="*/ 2753275 w 4145135"/>
              <a:gd name="connsiteY161" fmla="*/ 6353819 h 6858000"/>
              <a:gd name="connsiteX162" fmla="*/ 2793759 w 4145135"/>
              <a:gd name="connsiteY162" fmla="*/ 6392158 h 6858000"/>
              <a:gd name="connsiteX163" fmla="*/ 2739462 w 4145135"/>
              <a:gd name="connsiteY163" fmla="*/ 6431686 h 6858000"/>
              <a:gd name="connsiteX164" fmla="*/ 2702560 w 4145135"/>
              <a:gd name="connsiteY164" fmla="*/ 6431686 h 6858000"/>
              <a:gd name="connsiteX165" fmla="*/ 3512125 w 4145135"/>
              <a:gd name="connsiteY165" fmla="*/ 6331911 h 6858000"/>
              <a:gd name="connsiteX166" fmla="*/ 3481648 w 4145135"/>
              <a:gd name="connsiteY166" fmla="*/ 6354293 h 6858000"/>
              <a:gd name="connsiteX167" fmla="*/ 3481648 w 4145135"/>
              <a:gd name="connsiteY167" fmla="*/ 6361192 h 6858000"/>
              <a:gd name="connsiteX168" fmla="*/ 3492128 w 4145135"/>
              <a:gd name="connsiteY168" fmla="*/ 6379767 h 6858000"/>
              <a:gd name="connsiteX169" fmla="*/ 3467113 w 4145135"/>
              <a:gd name="connsiteY169" fmla="*/ 6394776 h 6858000"/>
              <a:gd name="connsiteX170" fmla="*/ 3451878 w 4145135"/>
              <a:gd name="connsiteY170" fmla="*/ 6417633 h 6858000"/>
              <a:gd name="connsiteX171" fmla="*/ 3451878 w 4145135"/>
              <a:gd name="connsiteY171" fmla="*/ 6425728 h 6858000"/>
              <a:gd name="connsiteX172" fmla="*/ 3482589 w 4145135"/>
              <a:gd name="connsiteY172" fmla="*/ 6454776 h 6858000"/>
              <a:gd name="connsiteX173" fmla="*/ 3526405 w 4145135"/>
              <a:gd name="connsiteY173" fmla="*/ 6454776 h 6858000"/>
              <a:gd name="connsiteX174" fmla="*/ 3549502 w 4145135"/>
              <a:gd name="connsiteY174" fmla="*/ 6447388 h 6858000"/>
              <a:gd name="connsiteX175" fmla="*/ 3560456 w 4145135"/>
              <a:gd name="connsiteY175" fmla="*/ 6437630 h 6858000"/>
              <a:gd name="connsiteX176" fmla="*/ 3580694 w 4145135"/>
              <a:gd name="connsiteY176" fmla="*/ 6454776 h 6858000"/>
              <a:gd name="connsiteX177" fmla="*/ 3618085 w 4145135"/>
              <a:gd name="connsiteY177" fmla="*/ 6454776 h 6858000"/>
              <a:gd name="connsiteX178" fmla="*/ 3579272 w 4145135"/>
              <a:gd name="connsiteY178" fmla="*/ 6422147 h 6858000"/>
              <a:gd name="connsiteX179" fmla="*/ 3607605 w 4145135"/>
              <a:gd name="connsiteY179" fmla="*/ 6398583 h 6858000"/>
              <a:gd name="connsiteX180" fmla="*/ 3591407 w 4145135"/>
              <a:gd name="connsiteY180" fmla="*/ 6384537 h 6858000"/>
              <a:gd name="connsiteX181" fmla="*/ 3562833 w 4145135"/>
              <a:gd name="connsiteY181" fmla="*/ 6408341 h 6858000"/>
              <a:gd name="connsiteX182" fmla="*/ 3504971 w 4145135"/>
              <a:gd name="connsiteY182" fmla="*/ 6360244 h 6858000"/>
              <a:gd name="connsiteX183" fmla="*/ 3504971 w 4145135"/>
              <a:gd name="connsiteY183" fmla="*/ 6351434 h 6858000"/>
              <a:gd name="connsiteX184" fmla="*/ 3545221 w 4145135"/>
              <a:gd name="connsiteY184" fmla="*/ 6351434 h 6858000"/>
              <a:gd name="connsiteX185" fmla="*/ 3545221 w 4145135"/>
              <a:gd name="connsiteY185" fmla="*/ 6367873 h 6858000"/>
              <a:gd name="connsiteX186" fmla="*/ 3567355 w 4145135"/>
              <a:gd name="connsiteY186" fmla="*/ 6364066 h 6858000"/>
              <a:gd name="connsiteX187" fmla="*/ 3567355 w 4145135"/>
              <a:gd name="connsiteY187" fmla="*/ 6356678 h 6858000"/>
              <a:gd name="connsiteX188" fmla="*/ 3536877 w 4145135"/>
              <a:gd name="connsiteY188" fmla="*/ 6331911 h 6858000"/>
              <a:gd name="connsiteX189" fmla="*/ 2673986 w 4145135"/>
              <a:gd name="connsiteY189" fmla="*/ 6331911 h 6858000"/>
              <a:gd name="connsiteX190" fmla="*/ 2673986 w 4145135"/>
              <a:gd name="connsiteY190" fmla="*/ 6454776 h 6858000"/>
              <a:gd name="connsiteX191" fmla="*/ 2745662 w 4145135"/>
              <a:gd name="connsiteY191" fmla="*/ 6454776 h 6858000"/>
              <a:gd name="connsiteX192" fmla="*/ 2796144 w 4145135"/>
              <a:gd name="connsiteY192" fmla="*/ 6445259 h 6858000"/>
              <a:gd name="connsiteX193" fmla="*/ 2823281 w 4145135"/>
              <a:gd name="connsiteY193" fmla="*/ 6392632 h 6858000"/>
              <a:gd name="connsiteX194" fmla="*/ 2753035 w 4145135"/>
              <a:gd name="connsiteY194" fmla="*/ 6331911 h 6858000"/>
              <a:gd name="connsiteX195" fmla="*/ 0 w 4145135"/>
              <a:gd name="connsiteY195" fmla="*/ 0 h 6858000"/>
              <a:gd name="connsiteX196" fmla="*/ 4145135 w 4145135"/>
              <a:gd name="connsiteY196" fmla="*/ 0 h 6858000"/>
              <a:gd name="connsiteX197" fmla="*/ 4145135 w 4145135"/>
              <a:gd name="connsiteY197" fmla="*/ 6858000 h 6858000"/>
              <a:gd name="connsiteX198" fmla="*/ 0 w 4145135"/>
              <a:gd name="connsiteY19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Lst>
            <a:rect l="l" t="t" r="r" b="b"/>
            <a:pathLst>
              <a:path w="4145135" h="6858000">
                <a:moveTo>
                  <a:pt x="2862478" y="6535879"/>
                </a:moveTo>
                <a:lnTo>
                  <a:pt x="2945303" y="6535879"/>
                </a:lnTo>
                <a:lnTo>
                  <a:pt x="2945303" y="6598745"/>
                </a:lnTo>
                <a:lnTo>
                  <a:pt x="2862478" y="6598745"/>
                </a:lnTo>
                <a:close/>
                <a:moveTo>
                  <a:pt x="3516391" y="6534690"/>
                </a:moveTo>
                <a:lnTo>
                  <a:pt x="3572350" y="6534690"/>
                </a:lnTo>
                <a:cubicBezTo>
                  <a:pt x="3579722" y="6534690"/>
                  <a:pt x="3583544" y="6536127"/>
                  <a:pt x="3583544" y="6542786"/>
                </a:cubicBezTo>
                <a:lnTo>
                  <a:pt x="3583544" y="6554455"/>
                </a:lnTo>
                <a:cubicBezTo>
                  <a:pt x="3583544" y="6561128"/>
                  <a:pt x="3579722" y="6562550"/>
                  <a:pt x="3572350" y="6562550"/>
                </a:cubicBezTo>
                <a:lnTo>
                  <a:pt x="3516391" y="6562550"/>
                </a:lnTo>
                <a:close/>
                <a:moveTo>
                  <a:pt x="2863441" y="6517318"/>
                </a:moveTo>
                <a:cubicBezTo>
                  <a:pt x="2843293" y="6517318"/>
                  <a:pt x="2836725" y="6521832"/>
                  <a:pt x="2836725" y="6541122"/>
                </a:cubicBezTo>
                <a:lnTo>
                  <a:pt x="2836725" y="6594223"/>
                </a:lnTo>
                <a:cubicBezTo>
                  <a:pt x="2836725" y="6613272"/>
                  <a:pt x="2843037" y="6618042"/>
                  <a:pt x="2863441" y="6618042"/>
                </a:cubicBezTo>
                <a:lnTo>
                  <a:pt x="2942865" y="6618042"/>
                </a:lnTo>
                <a:cubicBezTo>
                  <a:pt x="2963021" y="6618042"/>
                  <a:pt x="2969581" y="6613272"/>
                  <a:pt x="2969581" y="6594223"/>
                </a:cubicBezTo>
                <a:lnTo>
                  <a:pt x="2969581" y="6541122"/>
                </a:lnTo>
                <a:cubicBezTo>
                  <a:pt x="2969581" y="6521832"/>
                  <a:pt x="2963013" y="6517318"/>
                  <a:pt x="2942865" y="6517318"/>
                </a:cubicBezTo>
                <a:close/>
                <a:moveTo>
                  <a:pt x="3492120" y="6517311"/>
                </a:moveTo>
                <a:lnTo>
                  <a:pt x="3492120" y="6618035"/>
                </a:lnTo>
                <a:lnTo>
                  <a:pt x="3516398" y="6618035"/>
                </a:lnTo>
                <a:lnTo>
                  <a:pt x="3516398" y="6579929"/>
                </a:lnTo>
                <a:lnTo>
                  <a:pt x="3539495" y="6579929"/>
                </a:lnTo>
                <a:lnTo>
                  <a:pt x="3581641" y="6618035"/>
                </a:lnTo>
                <a:lnTo>
                  <a:pt x="3616888" y="6618035"/>
                </a:lnTo>
                <a:lnTo>
                  <a:pt x="3569032" y="6579929"/>
                </a:lnTo>
                <a:lnTo>
                  <a:pt x="3582845" y="6579929"/>
                </a:lnTo>
                <a:cubicBezTo>
                  <a:pt x="3599027" y="6579929"/>
                  <a:pt x="3606415" y="6574452"/>
                  <a:pt x="3606415" y="6560639"/>
                </a:cubicBezTo>
                <a:lnTo>
                  <a:pt x="3606415" y="6536835"/>
                </a:lnTo>
                <a:cubicBezTo>
                  <a:pt x="3606415" y="6522788"/>
                  <a:pt x="3599027" y="6517311"/>
                  <a:pt x="3582845" y="6517311"/>
                </a:cubicBezTo>
                <a:close/>
                <a:moveTo>
                  <a:pt x="3354780" y="6517311"/>
                </a:moveTo>
                <a:lnTo>
                  <a:pt x="3354780" y="6618035"/>
                </a:lnTo>
                <a:lnTo>
                  <a:pt x="3466254" y="6618035"/>
                </a:lnTo>
                <a:lnTo>
                  <a:pt x="3466254" y="6599219"/>
                </a:lnTo>
                <a:lnTo>
                  <a:pt x="3380044" y="6599219"/>
                </a:lnTo>
                <a:lnTo>
                  <a:pt x="3380044" y="6574452"/>
                </a:lnTo>
                <a:lnTo>
                  <a:pt x="3429593" y="6574452"/>
                </a:lnTo>
                <a:lnTo>
                  <a:pt x="3429593" y="6557073"/>
                </a:lnTo>
                <a:lnTo>
                  <a:pt x="3380044" y="6557073"/>
                </a:lnTo>
                <a:lnTo>
                  <a:pt x="3380044" y="6535179"/>
                </a:lnTo>
                <a:lnTo>
                  <a:pt x="3465043" y="6535179"/>
                </a:lnTo>
                <a:lnTo>
                  <a:pt x="3465043" y="6517311"/>
                </a:lnTo>
                <a:close/>
                <a:moveTo>
                  <a:pt x="3178589" y="6517311"/>
                </a:moveTo>
                <a:lnTo>
                  <a:pt x="3178589" y="6618035"/>
                </a:lnTo>
                <a:lnTo>
                  <a:pt x="3201558" y="6618035"/>
                </a:lnTo>
                <a:lnTo>
                  <a:pt x="3201558" y="6550414"/>
                </a:lnTo>
                <a:lnTo>
                  <a:pt x="3247940" y="6605892"/>
                </a:lnTo>
                <a:lnTo>
                  <a:pt x="3252800" y="6605892"/>
                </a:lnTo>
                <a:lnTo>
                  <a:pt x="3298693" y="6548737"/>
                </a:lnTo>
                <a:lnTo>
                  <a:pt x="3298693" y="6618035"/>
                </a:lnTo>
                <a:lnTo>
                  <a:pt x="3322008" y="6618035"/>
                </a:lnTo>
                <a:lnTo>
                  <a:pt x="3322008" y="6517311"/>
                </a:lnTo>
                <a:lnTo>
                  <a:pt x="3301860" y="6517311"/>
                </a:lnTo>
                <a:lnTo>
                  <a:pt x="3251822" y="6577070"/>
                </a:lnTo>
                <a:lnTo>
                  <a:pt x="3201558" y="6517311"/>
                </a:lnTo>
                <a:close/>
                <a:moveTo>
                  <a:pt x="3001270" y="6517311"/>
                </a:moveTo>
                <a:lnTo>
                  <a:pt x="3001270" y="6618035"/>
                </a:lnTo>
                <a:lnTo>
                  <a:pt x="3024231" y="6618035"/>
                </a:lnTo>
                <a:lnTo>
                  <a:pt x="3024231" y="6550414"/>
                </a:lnTo>
                <a:lnTo>
                  <a:pt x="3070613" y="6605892"/>
                </a:lnTo>
                <a:lnTo>
                  <a:pt x="3075466" y="6605892"/>
                </a:lnTo>
                <a:lnTo>
                  <a:pt x="3121374" y="6548737"/>
                </a:lnTo>
                <a:lnTo>
                  <a:pt x="3121374" y="6618035"/>
                </a:lnTo>
                <a:lnTo>
                  <a:pt x="3144689" y="6618035"/>
                </a:lnTo>
                <a:lnTo>
                  <a:pt x="3144689" y="6517311"/>
                </a:lnTo>
                <a:lnTo>
                  <a:pt x="3124534" y="6517311"/>
                </a:lnTo>
                <a:lnTo>
                  <a:pt x="3074503" y="6577070"/>
                </a:lnTo>
                <a:lnTo>
                  <a:pt x="3024231" y="6517311"/>
                </a:lnTo>
                <a:close/>
                <a:moveTo>
                  <a:pt x="2705412" y="6495162"/>
                </a:moveTo>
                <a:cubicBezTo>
                  <a:pt x="2682315" y="6495162"/>
                  <a:pt x="2674934" y="6501113"/>
                  <a:pt x="2674934" y="6524218"/>
                </a:cubicBezTo>
                <a:lnTo>
                  <a:pt x="2674934" y="6537775"/>
                </a:lnTo>
                <a:cubicBezTo>
                  <a:pt x="2674934" y="6560879"/>
                  <a:pt x="2682322" y="6566830"/>
                  <a:pt x="2705412" y="6566830"/>
                </a:cubicBezTo>
                <a:lnTo>
                  <a:pt x="2782090" y="6566830"/>
                </a:lnTo>
                <a:lnTo>
                  <a:pt x="2782090" y="6594930"/>
                </a:lnTo>
                <a:lnTo>
                  <a:pt x="2695187" y="6594930"/>
                </a:lnTo>
                <a:lnTo>
                  <a:pt x="2695187" y="6581704"/>
                </a:lnTo>
                <a:lnTo>
                  <a:pt x="2669931" y="6586948"/>
                </a:lnTo>
                <a:lnTo>
                  <a:pt x="2669931" y="6588979"/>
                </a:lnTo>
                <a:cubicBezTo>
                  <a:pt x="2669931" y="6612076"/>
                  <a:pt x="2677552" y="6618027"/>
                  <a:pt x="2700649" y="6618027"/>
                </a:cubicBezTo>
                <a:lnTo>
                  <a:pt x="2776621" y="6618027"/>
                </a:lnTo>
                <a:cubicBezTo>
                  <a:pt x="2799718" y="6618027"/>
                  <a:pt x="2807339" y="6612076"/>
                  <a:pt x="2807339" y="6588979"/>
                </a:cubicBezTo>
                <a:lnTo>
                  <a:pt x="2807339" y="6572074"/>
                </a:lnTo>
                <a:cubicBezTo>
                  <a:pt x="2807339" y="6548970"/>
                  <a:pt x="2799718" y="6543019"/>
                  <a:pt x="2776621" y="6543019"/>
                </a:cubicBezTo>
                <a:lnTo>
                  <a:pt x="2699934" y="6543019"/>
                </a:lnTo>
                <a:lnTo>
                  <a:pt x="2699934" y="6516596"/>
                </a:lnTo>
                <a:lnTo>
                  <a:pt x="2780420" y="6516596"/>
                </a:lnTo>
                <a:lnTo>
                  <a:pt x="2780420" y="6529905"/>
                </a:lnTo>
                <a:lnTo>
                  <a:pt x="2805661" y="6523954"/>
                </a:lnTo>
                <a:lnTo>
                  <a:pt x="2805661" y="6522074"/>
                </a:lnTo>
                <a:cubicBezTo>
                  <a:pt x="2805661" y="6500872"/>
                  <a:pt x="2797092" y="6495162"/>
                  <a:pt x="2775184" y="6495162"/>
                </a:cubicBezTo>
                <a:close/>
                <a:moveTo>
                  <a:pt x="3507356" y="6392873"/>
                </a:moveTo>
                <a:lnTo>
                  <a:pt x="3544258" y="6423591"/>
                </a:lnTo>
                <a:lnTo>
                  <a:pt x="3532830" y="6433349"/>
                </a:lnTo>
                <a:lnTo>
                  <a:pt x="3475930" y="6433349"/>
                </a:lnTo>
                <a:lnTo>
                  <a:pt x="3475930" y="6433342"/>
                </a:lnTo>
                <a:lnTo>
                  <a:pt x="3475930" y="6412396"/>
                </a:lnTo>
                <a:close/>
                <a:moveTo>
                  <a:pt x="2876667" y="6371439"/>
                </a:moveTo>
                <a:lnTo>
                  <a:pt x="2932626" y="6371439"/>
                </a:lnTo>
                <a:cubicBezTo>
                  <a:pt x="2939999" y="6371439"/>
                  <a:pt x="2943820" y="6372876"/>
                  <a:pt x="2943820" y="6379534"/>
                </a:cubicBezTo>
                <a:lnTo>
                  <a:pt x="2943820" y="6391203"/>
                </a:lnTo>
                <a:cubicBezTo>
                  <a:pt x="2943820" y="6397876"/>
                  <a:pt x="2939999" y="6399298"/>
                  <a:pt x="2932626" y="6399298"/>
                </a:cubicBezTo>
                <a:lnTo>
                  <a:pt x="2876667" y="6399298"/>
                </a:lnTo>
                <a:close/>
                <a:moveTo>
                  <a:pt x="3302440" y="6354060"/>
                </a:moveTo>
                <a:cubicBezTo>
                  <a:pt x="3282676" y="6354060"/>
                  <a:pt x="3276003" y="6358830"/>
                  <a:pt x="3276003" y="6377879"/>
                </a:cubicBezTo>
                <a:lnTo>
                  <a:pt x="3276003" y="6389074"/>
                </a:lnTo>
                <a:cubicBezTo>
                  <a:pt x="3276003" y="6408123"/>
                  <a:pt x="3282676" y="6412878"/>
                  <a:pt x="3302440" y="6412878"/>
                </a:cubicBezTo>
                <a:lnTo>
                  <a:pt x="3367676" y="6412878"/>
                </a:lnTo>
                <a:lnTo>
                  <a:pt x="3367676" y="6435983"/>
                </a:lnTo>
                <a:lnTo>
                  <a:pt x="3293615" y="6435983"/>
                </a:lnTo>
                <a:lnTo>
                  <a:pt x="3293615" y="6425375"/>
                </a:lnTo>
                <a:lnTo>
                  <a:pt x="3271722" y="6429430"/>
                </a:lnTo>
                <a:lnTo>
                  <a:pt x="3271722" y="6430980"/>
                </a:lnTo>
                <a:cubicBezTo>
                  <a:pt x="3271722" y="6449796"/>
                  <a:pt x="3278147" y="6454784"/>
                  <a:pt x="3298144" y="6454784"/>
                </a:cubicBezTo>
                <a:lnTo>
                  <a:pt x="3363636" y="6454784"/>
                </a:lnTo>
                <a:cubicBezTo>
                  <a:pt x="3383633" y="6454784"/>
                  <a:pt x="3389825" y="6449796"/>
                  <a:pt x="3389825" y="6430980"/>
                </a:cubicBezTo>
                <a:lnTo>
                  <a:pt x="3389825" y="6417166"/>
                </a:lnTo>
                <a:cubicBezTo>
                  <a:pt x="3389825" y="6398117"/>
                  <a:pt x="3383641" y="6393362"/>
                  <a:pt x="3363636" y="6393362"/>
                </a:cubicBezTo>
                <a:lnTo>
                  <a:pt x="3298144" y="6393362"/>
                </a:lnTo>
                <a:lnTo>
                  <a:pt x="3298144" y="6372154"/>
                </a:lnTo>
                <a:lnTo>
                  <a:pt x="3367435" y="6372154"/>
                </a:lnTo>
                <a:lnTo>
                  <a:pt x="3367435" y="6381565"/>
                </a:lnTo>
                <a:lnTo>
                  <a:pt x="3388621" y="6377051"/>
                </a:lnTo>
                <a:lnTo>
                  <a:pt x="3388621" y="6375968"/>
                </a:lnTo>
                <a:cubicBezTo>
                  <a:pt x="3388621" y="6358356"/>
                  <a:pt x="3380774" y="6354060"/>
                  <a:pt x="3362199" y="6354060"/>
                </a:cubicBezTo>
                <a:close/>
                <a:moveTo>
                  <a:pt x="3138106" y="6354060"/>
                </a:moveTo>
                <a:lnTo>
                  <a:pt x="3138106" y="6454776"/>
                </a:lnTo>
                <a:lnTo>
                  <a:pt x="3247399" y="6454776"/>
                </a:lnTo>
                <a:lnTo>
                  <a:pt x="3247399" y="6435967"/>
                </a:lnTo>
                <a:lnTo>
                  <a:pt x="3162873" y="6435967"/>
                </a:lnTo>
                <a:lnTo>
                  <a:pt x="3162873" y="6411200"/>
                </a:lnTo>
                <a:lnTo>
                  <a:pt x="3211445" y="6411200"/>
                </a:lnTo>
                <a:lnTo>
                  <a:pt x="3211445" y="6393821"/>
                </a:lnTo>
                <a:lnTo>
                  <a:pt x="3162873" y="6393821"/>
                </a:lnTo>
                <a:lnTo>
                  <a:pt x="3162873" y="6371913"/>
                </a:lnTo>
                <a:lnTo>
                  <a:pt x="3246218" y="6371913"/>
                </a:lnTo>
                <a:lnTo>
                  <a:pt x="3246218" y="6354060"/>
                </a:lnTo>
                <a:close/>
                <a:moveTo>
                  <a:pt x="3000397" y="6354060"/>
                </a:moveTo>
                <a:lnTo>
                  <a:pt x="3000397" y="6454776"/>
                </a:lnTo>
                <a:lnTo>
                  <a:pt x="3109690" y="6454776"/>
                </a:lnTo>
                <a:lnTo>
                  <a:pt x="3109690" y="6435967"/>
                </a:lnTo>
                <a:lnTo>
                  <a:pt x="3025164" y="6435967"/>
                </a:lnTo>
                <a:lnTo>
                  <a:pt x="3025164" y="6411200"/>
                </a:lnTo>
                <a:lnTo>
                  <a:pt x="3073736" y="6411200"/>
                </a:lnTo>
                <a:lnTo>
                  <a:pt x="3073736" y="6393821"/>
                </a:lnTo>
                <a:lnTo>
                  <a:pt x="3025164" y="6393821"/>
                </a:lnTo>
                <a:lnTo>
                  <a:pt x="3025164" y="6371913"/>
                </a:lnTo>
                <a:lnTo>
                  <a:pt x="3108509" y="6371913"/>
                </a:lnTo>
                <a:lnTo>
                  <a:pt x="3108509" y="6354060"/>
                </a:lnTo>
                <a:close/>
                <a:moveTo>
                  <a:pt x="2852381" y="6354060"/>
                </a:moveTo>
                <a:lnTo>
                  <a:pt x="2852381" y="6454776"/>
                </a:lnTo>
                <a:lnTo>
                  <a:pt x="2876674" y="6454776"/>
                </a:lnTo>
                <a:lnTo>
                  <a:pt x="2876674" y="6416670"/>
                </a:lnTo>
                <a:lnTo>
                  <a:pt x="2899771" y="6416670"/>
                </a:lnTo>
                <a:lnTo>
                  <a:pt x="2941917" y="6454776"/>
                </a:lnTo>
                <a:lnTo>
                  <a:pt x="2977164" y="6454776"/>
                </a:lnTo>
                <a:lnTo>
                  <a:pt x="2929293" y="6416670"/>
                </a:lnTo>
                <a:lnTo>
                  <a:pt x="2943106" y="6416670"/>
                </a:lnTo>
                <a:cubicBezTo>
                  <a:pt x="2959304" y="6416670"/>
                  <a:pt x="2966684" y="6411193"/>
                  <a:pt x="2966684" y="6397395"/>
                </a:cubicBezTo>
                <a:lnTo>
                  <a:pt x="2966684" y="6373583"/>
                </a:lnTo>
                <a:cubicBezTo>
                  <a:pt x="2966684" y="6359537"/>
                  <a:pt x="2959296" y="6354060"/>
                  <a:pt x="2943106" y="6354060"/>
                </a:cubicBezTo>
                <a:close/>
                <a:moveTo>
                  <a:pt x="2702560" y="6353819"/>
                </a:moveTo>
                <a:lnTo>
                  <a:pt x="2753275" y="6353819"/>
                </a:lnTo>
                <a:cubicBezTo>
                  <a:pt x="2780187" y="6353819"/>
                  <a:pt x="2793759" y="6367158"/>
                  <a:pt x="2793759" y="6392158"/>
                </a:cubicBezTo>
                <a:cubicBezTo>
                  <a:pt x="2793759" y="6422636"/>
                  <a:pt x="2775658" y="6431686"/>
                  <a:pt x="2739462" y="6431686"/>
                </a:cubicBezTo>
                <a:lnTo>
                  <a:pt x="2702560" y="6431686"/>
                </a:lnTo>
                <a:close/>
                <a:moveTo>
                  <a:pt x="3512125" y="6331911"/>
                </a:moveTo>
                <a:cubicBezTo>
                  <a:pt x="3491165" y="6331911"/>
                  <a:pt x="3481648" y="6336681"/>
                  <a:pt x="3481648" y="6354293"/>
                </a:cubicBezTo>
                <a:lnTo>
                  <a:pt x="3481648" y="6361192"/>
                </a:lnTo>
                <a:cubicBezTo>
                  <a:pt x="3481648" y="6368339"/>
                  <a:pt x="3484981" y="6373816"/>
                  <a:pt x="3492128" y="6379767"/>
                </a:cubicBezTo>
                <a:lnTo>
                  <a:pt x="3467113" y="6394776"/>
                </a:lnTo>
                <a:cubicBezTo>
                  <a:pt x="3456407" y="6401202"/>
                  <a:pt x="3451878" y="6405008"/>
                  <a:pt x="3451878" y="6417633"/>
                </a:cubicBezTo>
                <a:lnTo>
                  <a:pt x="3451878" y="6425728"/>
                </a:lnTo>
                <a:cubicBezTo>
                  <a:pt x="3451878" y="6448825"/>
                  <a:pt x="3459499" y="6454776"/>
                  <a:pt x="3482589" y="6454776"/>
                </a:cubicBezTo>
                <a:lnTo>
                  <a:pt x="3526405" y="6454776"/>
                </a:lnTo>
                <a:cubicBezTo>
                  <a:pt x="3536637" y="6454776"/>
                  <a:pt x="3541640" y="6454302"/>
                  <a:pt x="3549502" y="6447388"/>
                </a:cubicBezTo>
                <a:lnTo>
                  <a:pt x="3560456" y="6437630"/>
                </a:lnTo>
                <a:lnTo>
                  <a:pt x="3580694" y="6454776"/>
                </a:lnTo>
                <a:lnTo>
                  <a:pt x="3618085" y="6454776"/>
                </a:lnTo>
                <a:lnTo>
                  <a:pt x="3579272" y="6422147"/>
                </a:lnTo>
                <a:lnTo>
                  <a:pt x="3607605" y="6398583"/>
                </a:lnTo>
                <a:lnTo>
                  <a:pt x="3591407" y="6384537"/>
                </a:lnTo>
                <a:lnTo>
                  <a:pt x="3562833" y="6408341"/>
                </a:lnTo>
                <a:lnTo>
                  <a:pt x="3504971" y="6360244"/>
                </a:lnTo>
                <a:lnTo>
                  <a:pt x="3504971" y="6351434"/>
                </a:lnTo>
                <a:lnTo>
                  <a:pt x="3545221" y="6351434"/>
                </a:lnTo>
                <a:lnTo>
                  <a:pt x="3545221" y="6367873"/>
                </a:lnTo>
                <a:lnTo>
                  <a:pt x="3567355" y="6364066"/>
                </a:lnTo>
                <a:lnTo>
                  <a:pt x="3567355" y="6356678"/>
                </a:lnTo>
                <a:cubicBezTo>
                  <a:pt x="3567355" y="6336681"/>
                  <a:pt x="3559019" y="6331911"/>
                  <a:pt x="3536877" y="6331911"/>
                </a:cubicBezTo>
                <a:close/>
                <a:moveTo>
                  <a:pt x="2673986" y="6331911"/>
                </a:moveTo>
                <a:lnTo>
                  <a:pt x="2673986" y="6454776"/>
                </a:lnTo>
                <a:lnTo>
                  <a:pt x="2745662" y="6454776"/>
                </a:lnTo>
                <a:cubicBezTo>
                  <a:pt x="2767555" y="6454776"/>
                  <a:pt x="2784227" y="6452632"/>
                  <a:pt x="2796144" y="6445259"/>
                </a:cubicBezTo>
                <a:cubicBezTo>
                  <a:pt x="2813290" y="6434779"/>
                  <a:pt x="2823281" y="6415729"/>
                  <a:pt x="2823281" y="6392632"/>
                </a:cubicBezTo>
                <a:cubicBezTo>
                  <a:pt x="2823281" y="6354534"/>
                  <a:pt x="2799003" y="6331911"/>
                  <a:pt x="2753035" y="6331911"/>
                </a:cubicBezTo>
                <a:close/>
                <a:moveTo>
                  <a:pt x="0" y="0"/>
                </a:moveTo>
                <a:lnTo>
                  <a:pt x="4145135" y="0"/>
                </a:lnTo>
                <a:lnTo>
                  <a:pt x="4145135" y="6858000"/>
                </a:lnTo>
                <a:lnTo>
                  <a:pt x="0" y="6858000"/>
                </a:lnTo>
                <a:close/>
              </a:path>
            </a:pathLst>
          </a:custGeom>
          <a:pattFill prst="ltUpDiag">
            <a:fgClr>
              <a:schemeClr val="bg1">
                <a:lumMod val="95000"/>
              </a:schemeClr>
            </a:fgClr>
            <a:bgClr>
              <a:schemeClr val="bg1"/>
            </a:bgClr>
          </a:pattFill>
        </p:spPr>
        <p:txBody>
          <a:bodyPr wrap="square">
            <a:noAutofit/>
          </a:bodyPr>
          <a:lstStyle/>
          <a:p>
            <a:endParaRPr lang="en-US"/>
          </a:p>
        </p:txBody>
      </p:sp>
      <p:sp>
        <p:nvSpPr>
          <p:cNvPr id="15" name="logo drees&amp;sommer white">
            <a:extLst>
              <a:ext uri="{FF2B5EF4-FFF2-40B4-BE49-F238E27FC236}">
                <a16:creationId xmlns:a16="http://schemas.microsoft.com/office/drawing/2014/main" id="{F3E5A22C-5837-40C0-8E09-40DEB6AA2A9D}"/>
              </a:ext>
            </a:extLst>
          </p:cNvPr>
          <p:cNvSpPr>
            <a:spLocks noGrp="1"/>
          </p:cNvSpPr>
          <p:nvPr>
            <p:ph type="media" sz="quarter" idx="20"/>
          </p:nvPr>
        </p:nvSpPr>
        <p:spPr bwMode="gray">
          <a:xfrm>
            <a:off x="10716797" y="6330042"/>
            <a:ext cx="946800" cy="288000"/>
          </a:xfrm>
          <a:blipFill>
            <a:blip r:embed="rId2" cstate="print">
              <a:extLst>
                <a:ext uri="{28A0092B-C50C-407E-A947-70E740481C1C}">
                  <a14:useLocalDpi xmlns:a14="http://schemas.microsoft.com/office/drawing/2010/main"/>
                </a:ext>
              </a:extLst>
            </a:blip>
            <a:stretch>
              <a:fillRect/>
            </a:stretch>
          </a:blipFill>
          <a:ln w="15875" cap="flat">
            <a:noFill/>
            <a:prstDash val="lgDash"/>
          </a:ln>
        </p:spPr>
        <p:txBody>
          <a:bodyPr/>
          <a:lstStyle>
            <a:lvl1pPr>
              <a:defRPr sz="100">
                <a:solidFill>
                  <a:schemeClr val="bg1"/>
                </a:solidFill>
              </a:defRPr>
            </a:lvl1pPr>
          </a:lstStyle>
          <a:p>
            <a:endParaRPr lang="de-DE"/>
          </a:p>
        </p:txBody>
      </p:sp>
      <p:sp>
        <p:nvSpPr>
          <p:cNvPr id="12" name="info">
            <a:extLst>
              <a:ext uri="{FF2B5EF4-FFF2-40B4-BE49-F238E27FC236}">
                <a16:creationId xmlns:a16="http://schemas.microsoft.com/office/drawing/2014/main" id="{43D6FDCE-9CC1-42E7-8918-ED9A701879FC}"/>
              </a:ext>
            </a:extLst>
          </p:cNvPr>
          <p:cNvSpPr/>
          <p:nvPr userDrawn="1"/>
        </p:nvSpPr>
        <p:spPr bwMode="gray">
          <a:xfrm flipH="1">
            <a:off x="12247320" y="6288645"/>
            <a:ext cx="1579616" cy="370793"/>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36000" rtlCol="0" anchor="ctr">
            <a:spAutoFit/>
          </a:bodyPr>
          <a:lstStyle/>
          <a:p>
            <a:pPr algn="ctr">
              <a:lnSpc>
                <a:spcPct val="80000"/>
              </a:lnSpc>
              <a:spcBef>
                <a:spcPts val="400"/>
              </a:spcBef>
              <a:spcAft>
                <a:spcPts val="400"/>
              </a:spcAft>
            </a:pPr>
            <a:r>
              <a:rPr lang="en-US" sz="1050">
                <a:solidFill>
                  <a:schemeClr val="bg1"/>
                </a:solidFill>
              </a:rPr>
              <a:t>delete the white logo </a:t>
            </a:r>
            <a:br>
              <a:rPr lang="en-US" sz="1050">
                <a:solidFill>
                  <a:schemeClr val="bg1"/>
                </a:solidFill>
              </a:rPr>
            </a:br>
            <a:r>
              <a:rPr lang="en-US" sz="1050">
                <a:solidFill>
                  <a:schemeClr val="bg1"/>
                </a:solidFill>
              </a:rPr>
              <a:t>to get the BLUE LOGO</a:t>
            </a:r>
            <a:endParaRPr lang="de-DE" sz="1050">
              <a:solidFill>
                <a:schemeClr val="bg1"/>
              </a:solidFill>
            </a:endParaRPr>
          </a:p>
        </p:txBody>
      </p:sp>
      <p:sp>
        <p:nvSpPr>
          <p:cNvPr id="6" name="slide number">
            <a:extLst>
              <a:ext uri="{FF2B5EF4-FFF2-40B4-BE49-F238E27FC236}">
                <a16:creationId xmlns:a16="http://schemas.microsoft.com/office/drawing/2014/main" id="{90B54C2D-8235-4852-8EB7-5E05529B2499}"/>
              </a:ext>
            </a:extLst>
          </p:cNvPr>
          <p:cNvSpPr>
            <a:spLocks noGrp="1"/>
          </p:cNvSpPr>
          <p:nvPr>
            <p:ph type="sldNum" sz="quarter" idx="12"/>
          </p:nvPr>
        </p:nvSpPr>
        <p:spPr bwMode="gray"/>
        <p:txBody>
          <a:bodyPr lIns="0" tIns="0" rIns="0" bIns="0"/>
          <a:lstStyle/>
          <a:p>
            <a:fld id="{9829449A-3FF3-45CE-9F4F-09BADC0910C6}" type="slidenum">
              <a:rPr lang="en-US" smtClean="0"/>
              <a:t>‹Nr.›</a:t>
            </a:fld>
            <a:endParaRPr lang="en-US"/>
          </a:p>
        </p:txBody>
      </p:sp>
      <p:sp>
        <p:nvSpPr>
          <p:cNvPr id="5" name="footer">
            <a:extLst>
              <a:ext uri="{FF2B5EF4-FFF2-40B4-BE49-F238E27FC236}">
                <a16:creationId xmlns:a16="http://schemas.microsoft.com/office/drawing/2014/main" id="{A4534FC4-D037-44B0-B266-D9E820FC1DF2}"/>
              </a:ext>
            </a:extLst>
          </p:cNvPr>
          <p:cNvSpPr>
            <a:spLocks noGrp="1"/>
          </p:cNvSpPr>
          <p:nvPr>
            <p:ph type="ftr" sz="quarter" idx="11"/>
          </p:nvPr>
        </p:nvSpPr>
        <p:spPr bwMode="gray">
          <a:xfrm>
            <a:off x="763200" y="6386400"/>
            <a:ext cx="6998399" cy="180000"/>
          </a:xfrm>
        </p:spPr>
        <p:txBody>
          <a:bodyPr lIns="0" tIns="0" rIns="0" bIns="0"/>
          <a:lstStyle/>
          <a:p>
            <a:endParaRPr lang="en-US"/>
          </a:p>
        </p:txBody>
      </p:sp>
    </p:spTree>
    <p:extLst>
      <p:ext uri="{BB962C8B-B14F-4D97-AF65-F5344CB8AC3E}">
        <p14:creationId xmlns:p14="http://schemas.microsoft.com/office/powerpoint/2010/main" val="3476214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4890" userDrawn="1">
          <p15:clr>
            <a:srgbClr val="FBAE40"/>
          </p15:clr>
        </p15:guide>
        <p15:guide id="2" pos="5069" userDrawn="1">
          <p15:clr>
            <a:srgbClr val="FBAE40"/>
          </p15:clr>
        </p15:guide>
        <p15:guide id="3" orient="horz" pos="644"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foboxes &amp; Picture">
    <p:spTree>
      <p:nvGrpSpPr>
        <p:cNvPr id="1" name=""/>
        <p:cNvGrpSpPr/>
        <p:nvPr/>
      </p:nvGrpSpPr>
      <p:grpSpPr>
        <a:xfrm>
          <a:off x="0" y="0"/>
          <a:ext cx="0" cy="0"/>
          <a:chOff x="0" y="0"/>
          <a:chExt cx="0" cy="0"/>
        </a:xfrm>
      </p:grpSpPr>
      <p:sp>
        <p:nvSpPr>
          <p:cNvPr id="13" name="background grey">
            <a:extLst>
              <a:ext uri="{FF2B5EF4-FFF2-40B4-BE49-F238E27FC236}">
                <a16:creationId xmlns:a16="http://schemas.microsoft.com/office/drawing/2014/main" id="{601226B0-B5A9-49D1-A3DA-8469D6E529BC}"/>
              </a:ext>
            </a:extLst>
          </p:cNvPr>
          <p:cNvSpPr/>
          <p:nvPr userDrawn="1"/>
        </p:nvSpPr>
        <p:spPr bwMode="gray">
          <a:xfrm>
            <a:off x="0" y="1599889"/>
            <a:ext cx="12192000" cy="356833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400"/>
              </a:spcBef>
              <a:spcAft>
                <a:spcPts val="400"/>
              </a:spcAft>
            </a:pPr>
            <a:endParaRPr lang="de-DE" sz="1400"/>
          </a:p>
        </p:txBody>
      </p:sp>
      <p:sp>
        <p:nvSpPr>
          <p:cNvPr id="2" name="title">
            <a:extLst>
              <a:ext uri="{FF2B5EF4-FFF2-40B4-BE49-F238E27FC236}">
                <a16:creationId xmlns:a16="http://schemas.microsoft.com/office/drawing/2014/main" id="{8FFCB50B-5503-4467-8A0F-9FBB8B48B97D}"/>
              </a:ext>
            </a:extLst>
          </p:cNvPr>
          <p:cNvSpPr>
            <a:spLocks noGrp="1"/>
          </p:cNvSpPr>
          <p:nvPr userDrawn="1">
            <p:ph type="title"/>
          </p:nvPr>
        </p:nvSpPr>
        <p:spPr bwMode="gray">
          <a:xfrm>
            <a:off x="525600" y="673200"/>
            <a:ext cx="11138400" cy="288000"/>
          </a:xfrm>
        </p:spPr>
        <p:txBody>
          <a:bodyPr lIns="0" tIns="0" rIns="0" bIns="0"/>
          <a:lstStyle/>
          <a:p>
            <a:r>
              <a:rPr lang="de-DE"/>
              <a:t>Mastertitelformat bearbeiten</a:t>
            </a:r>
            <a:endParaRPr lang="en-US"/>
          </a:p>
        </p:txBody>
      </p:sp>
      <p:sp>
        <p:nvSpPr>
          <p:cNvPr id="4" name="subtitle">
            <a:extLst>
              <a:ext uri="{FF2B5EF4-FFF2-40B4-BE49-F238E27FC236}">
                <a16:creationId xmlns:a16="http://schemas.microsoft.com/office/drawing/2014/main" id="{7086919D-8D03-4875-B9F0-05F0C8564079}"/>
              </a:ext>
            </a:extLst>
          </p:cNvPr>
          <p:cNvSpPr>
            <a:spLocks noGrp="1"/>
          </p:cNvSpPr>
          <p:nvPr userDrawn="1">
            <p:ph type="body" sz="quarter" idx="14" hasCustomPrompt="1"/>
          </p:nvPr>
        </p:nvSpPr>
        <p:spPr bwMode="gray">
          <a:xfrm>
            <a:off x="525599" y="1022400"/>
            <a:ext cx="8882212" cy="504000"/>
          </a:xfrm>
        </p:spPr>
        <p:txBody>
          <a:bodyPr/>
          <a:lstStyle>
            <a:lvl1pPr>
              <a:lnSpc>
                <a:spcPct val="85000"/>
              </a:lnSpc>
              <a:spcBef>
                <a:spcPts val="0"/>
              </a:spcBef>
              <a:spcAft>
                <a:spcPts val="0"/>
              </a:spcAft>
              <a:defRPr sz="2000"/>
            </a:lvl1pPr>
          </a:lstStyle>
          <a:p>
            <a:pPr lvl="0"/>
            <a:r>
              <a:rPr lang="de-DE" err="1"/>
              <a:t>Subtitle</a:t>
            </a:r>
            <a:endParaRPr lang="en-US"/>
          </a:p>
        </p:txBody>
      </p:sp>
      <p:sp>
        <p:nvSpPr>
          <p:cNvPr id="10" name="picture">
            <a:extLst>
              <a:ext uri="{FF2B5EF4-FFF2-40B4-BE49-F238E27FC236}">
                <a16:creationId xmlns:a16="http://schemas.microsoft.com/office/drawing/2014/main" id="{76533136-822A-4672-82A6-5B4464AD390B}"/>
              </a:ext>
            </a:extLst>
          </p:cNvPr>
          <p:cNvSpPr>
            <a:spLocks noGrp="1"/>
          </p:cNvSpPr>
          <p:nvPr userDrawn="1">
            <p:ph type="pic" sz="quarter" idx="18"/>
          </p:nvPr>
        </p:nvSpPr>
        <p:spPr bwMode="gray">
          <a:xfrm>
            <a:off x="0" y="1602000"/>
            <a:ext cx="5647494" cy="5255999"/>
          </a:xfrm>
          <a:pattFill prst="ltUpDiag">
            <a:fgClr>
              <a:schemeClr val="bg1">
                <a:lumMod val="95000"/>
              </a:schemeClr>
            </a:fgClr>
            <a:bgClr>
              <a:schemeClr val="bg1"/>
            </a:bgClr>
          </a:pattFill>
        </p:spPr>
        <p:txBody>
          <a:bodyPr/>
          <a:lstStyle/>
          <a:p>
            <a:endParaRPr lang="en-US"/>
          </a:p>
        </p:txBody>
      </p:sp>
      <p:sp>
        <p:nvSpPr>
          <p:cNvPr id="7" name="text white">
            <a:extLst>
              <a:ext uri="{FF2B5EF4-FFF2-40B4-BE49-F238E27FC236}">
                <a16:creationId xmlns:a16="http://schemas.microsoft.com/office/drawing/2014/main" id="{76947769-F1C5-46D2-A578-B46158BB4453}"/>
              </a:ext>
            </a:extLst>
          </p:cNvPr>
          <p:cNvSpPr>
            <a:spLocks noGrp="1"/>
          </p:cNvSpPr>
          <p:nvPr userDrawn="1">
            <p:ph type="body" sz="quarter" idx="15"/>
          </p:nvPr>
        </p:nvSpPr>
        <p:spPr bwMode="gray">
          <a:xfrm>
            <a:off x="5791492" y="1886400"/>
            <a:ext cx="3616319" cy="4212002"/>
          </a:xfrm>
          <a:solidFill>
            <a:schemeClr val="bg1"/>
          </a:solidFill>
        </p:spPr>
        <p:txBody>
          <a:bodyPr lIns="216000" tIns="288000" rIns="216000" bIns="216000"/>
          <a:lstStyle>
            <a:lvl1pPr>
              <a:spcBef>
                <a:spcPts val="400"/>
              </a:spcBef>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text blue">
            <a:extLst>
              <a:ext uri="{FF2B5EF4-FFF2-40B4-BE49-F238E27FC236}">
                <a16:creationId xmlns:a16="http://schemas.microsoft.com/office/drawing/2014/main" id="{F221FFD9-8744-4B06-8073-6630F4E6F751}"/>
              </a:ext>
            </a:extLst>
          </p:cNvPr>
          <p:cNvSpPr>
            <a:spLocks noGrp="1"/>
          </p:cNvSpPr>
          <p:nvPr userDrawn="1">
            <p:ph type="body" sz="quarter" idx="16"/>
          </p:nvPr>
        </p:nvSpPr>
        <p:spPr bwMode="ltGray">
          <a:xfrm>
            <a:off x="9551810" y="1022400"/>
            <a:ext cx="2115790" cy="1400585"/>
          </a:xfrm>
          <a:solidFill>
            <a:schemeClr val="accent1"/>
          </a:solidFill>
        </p:spPr>
        <p:txBody>
          <a:bodyPr lIns="216000" tIns="216000" rIns="216000" bIns="216000">
            <a:spAutoFit/>
          </a:bodyPr>
          <a:lstStyle>
            <a:lvl1pPr>
              <a:defRPr b="1">
                <a:solidFill>
                  <a:schemeClr val="bg1"/>
                </a:solidFill>
              </a:defRPr>
            </a:lvl1pPr>
            <a:lvl2pPr>
              <a:buClr>
                <a:schemeClr val="bg1"/>
              </a:buClr>
              <a:defRPr>
                <a:solidFill>
                  <a:schemeClr val="bg1"/>
                </a:solidFill>
              </a:defRPr>
            </a:lvl2pPr>
            <a:lvl3pPr>
              <a:buClr>
                <a:schemeClr val="bg1"/>
              </a:buClr>
              <a:defRPr>
                <a:solidFill>
                  <a:schemeClr val="bg1"/>
                </a:solidFill>
              </a:defRPr>
            </a:lvl3pPr>
            <a:lvl4pPr marL="504000" indent="0">
              <a:buNone/>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p:txBody>
      </p:sp>
      <p:sp>
        <p:nvSpPr>
          <p:cNvPr id="6" name="slide number">
            <a:extLst>
              <a:ext uri="{FF2B5EF4-FFF2-40B4-BE49-F238E27FC236}">
                <a16:creationId xmlns:a16="http://schemas.microsoft.com/office/drawing/2014/main" id="{90B54C2D-8235-4852-8EB7-5E05529B2499}"/>
              </a:ext>
            </a:extLst>
          </p:cNvPr>
          <p:cNvSpPr>
            <a:spLocks noGrp="1"/>
          </p:cNvSpPr>
          <p:nvPr userDrawn="1">
            <p:ph type="sldNum" sz="quarter" idx="12"/>
          </p:nvPr>
        </p:nvSpPr>
        <p:spPr bwMode="gray">
          <a:xfrm>
            <a:off x="525600" y="7200000"/>
            <a:ext cx="234000" cy="180000"/>
          </a:xfrm>
        </p:spPr>
        <p:txBody>
          <a:bodyPr lIns="0" tIns="0" rIns="0" bIns="0"/>
          <a:lstStyle/>
          <a:p>
            <a:fld id="{9829449A-3FF3-45CE-9F4F-09BADC0910C6}" type="slidenum">
              <a:rPr lang="en-US" smtClean="0"/>
              <a:t>‹Nr.›</a:t>
            </a:fld>
            <a:endParaRPr lang="en-US"/>
          </a:p>
        </p:txBody>
      </p:sp>
      <p:sp>
        <p:nvSpPr>
          <p:cNvPr id="5" name="footer">
            <a:extLst>
              <a:ext uri="{FF2B5EF4-FFF2-40B4-BE49-F238E27FC236}">
                <a16:creationId xmlns:a16="http://schemas.microsoft.com/office/drawing/2014/main" id="{A4534FC4-D037-44B0-B266-D9E820FC1DF2}"/>
              </a:ext>
            </a:extLst>
          </p:cNvPr>
          <p:cNvSpPr>
            <a:spLocks noGrp="1"/>
          </p:cNvSpPr>
          <p:nvPr userDrawn="1">
            <p:ph type="ftr" sz="quarter" idx="11"/>
          </p:nvPr>
        </p:nvSpPr>
        <p:spPr bwMode="gray">
          <a:xfrm>
            <a:off x="763200" y="7200000"/>
            <a:ext cx="7880400" cy="180000"/>
          </a:xfrm>
        </p:spPr>
        <p:txBody>
          <a:bodyPr lIns="0" tIns="0" rIns="0" bIns="0"/>
          <a:lstStyle/>
          <a:p>
            <a:endParaRPr lang="en-US"/>
          </a:p>
        </p:txBody>
      </p:sp>
    </p:spTree>
    <p:extLst>
      <p:ext uri="{BB962C8B-B14F-4D97-AF65-F5344CB8AC3E}">
        <p14:creationId xmlns:p14="http://schemas.microsoft.com/office/powerpoint/2010/main" val="2846005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644" userDrawn="1">
          <p15:clr>
            <a:srgbClr val="FBAE40"/>
          </p15:clr>
        </p15:guide>
        <p15:guide id="2" pos="3558" userDrawn="1">
          <p15:clr>
            <a:srgbClr val="FBAE40"/>
          </p15:clr>
        </p15:guide>
        <p15:guide id="3" pos="3648" userDrawn="1">
          <p15:clr>
            <a:srgbClr val="FBAE40"/>
          </p15:clr>
        </p15:guide>
        <p15:guide id="4" pos="5927" userDrawn="1">
          <p15:clr>
            <a:srgbClr val="FBAE40"/>
          </p15:clr>
        </p15:guide>
        <p15:guide id="5" pos="6017" userDrawn="1">
          <p15:clr>
            <a:srgbClr val="FBAE40"/>
          </p15:clr>
        </p15:guide>
        <p15:guide id="6" orient="horz" pos="1188"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foboxes &amp; two Pictures">
    <p:spTree>
      <p:nvGrpSpPr>
        <p:cNvPr id="1" name=""/>
        <p:cNvGrpSpPr/>
        <p:nvPr/>
      </p:nvGrpSpPr>
      <p:grpSpPr>
        <a:xfrm>
          <a:off x="0" y="0"/>
          <a:ext cx="0" cy="0"/>
          <a:chOff x="0" y="0"/>
          <a:chExt cx="0" cy="0"/>
        </a:xfrm>
      </p:grpSpPr>
      <p:sp>
        <p:nvSpPr>
          <p:cNvPr id="11" name="background grey">
            <a:extLst>
              <a:ext uri="{FF2B5EF4-FFF2-40B4-BE49-F238E27FC236}">
                <a16:creationId xmlns:a16="http://schemas.microsoft.com/office/drawing/2014/main" id="{67B920F9-FFDD-4A7E-B64D-74D2EEEAED0E}"/>
              </a:ext>
            </a:extLst>
          </p:cNvPr>
          <p:cNvSpPr/>
          <p:nvPr userDrawn="1"/>
        </p:nvSpPr>
        <p:spPr bwMode="gray">
          <a:xfrm>
            <a:off x="0" y="0"/>
            <a:ext cx="12192000" cy="329878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400"/>
              </a:spcBef>
              <a:spcAft>
                <a:spcPts val="400"/>
              </a:spcAft>
            </a:pPr>
            <a:endParaRPr lang="de-DE" sz="1400"/>
          </a:p>
        </p:txBody>
      </p:sp>
      <p:grpSp>
        <p:nvGrpSpPr>
          <p:cNvPr id="84" name="line elements">
            <a:extLst>
              <a:ext uri="{FF2B5EF4-FFF2-40B4-BE49-F238E27FC236}">
                <a16:creationId xmlns:a16="http://schemas.microsoft.com/office/drawing/2014/main" id="{A78B792B-5A3C-4C96-934A-21850054E9FB}"/>
              </a:ext>
            </a:extLst>
          </p:cNvPr>
          <p:cNvGrpSpPr>
            <a:grpSpLocks noChangeAspect="1"/>
          </p:cNvGrpSpPr>
          <p:nvPr userDrawn="1"/>
        </p:nvGrpSpPr>
        <p:grpSpPr bwMode="gray">
          <a:xfrm>
            <a:off x="508288" y="461121"/>
            <a:ext cx="740827" cy="26783"/>
            <a:chOff x="508288" y="461121"/>
            <a:chExt cx="740827" cy="26783"/>
          </a:xfrm>
          <a:solidFill>
            <a:schemeClr val="tx1"/>
          </a:solidFill>
        </p:grpSpPr>
        <p:sp>
          <p:nvSpPr>
            <p:cNvPr id="85" name="line 1">
              <a:extLst>
                <a:ext uri="{FF2B5EF4-FFF2-40B4-BE49-F238E27FC236}">
                  <a16:creationId xmlns:a16="http://schemas.microsoft.com/office/drawing/2014/main" id="{53B03FD7-6E5F-4B3E-9722-CCBA482D44E2}"/>
                </a:ext>
              </a:extLst>
            </p:cNvPr>
            <p:cNvSpPr>
              <a:spLocks/>
            </p:cNvSpPr>
            <p:nvPr/>
          </p:nvSpPr>
          <p:spPr bwMode="gray">
            <a:xfrm rot="2700000">
              <a:off x="617300" y="352116"/>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sp>
          <p:nvSpPr>
            <p:cNvPr id="86" name="line 2">
              <a:extLst>
                <a:ext uri="{FF2B5EF4-FFF2-40B4-BE49-F238E27FC236}">
                  <a16:creationId xmlns:a16="http://schemas.microsoft.com/office/drawing/2014/main" id="{C387BC02-349C-4389-869A-87CC50BECBF7}"/>
                </a:ext>
              </a:extLst>
            </p:cNvPr>
            <p:cNvSpPr>
              <a:spLocks/>
            </p:cNvSpPr>
            <p:nvPr/>
          </p:nvSpPr>
          <p:spPr bwMode="gray">
            <a:xfrm rot="2700000">
              <a:off x="741307" y="352116"/>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sp>
          <p:nvSpPr>
            <p:cNvPr id="87" name="line 3">
              <a:extLst>
                <a:ext uri="{FF2B5EF4-FFF2-40B4-BE49-F238E27FC236}">
                  <a16:creationId xmlns:a16="http://schemas.microsoft.com/office/drawing/2014/main" id="{48DB5E2E-948D-4EFC-AA3F-D8827485D614}"/>
                </a:ext>
              </a:extLst>
            </p:cNvPr>
            <p:cNvSpPr>
              <a:spLocks/>
            </p:cNvSpPr>
            <p:nvPr/>
          </p:nvSpPr>
          <p:spPr bwMode="gray">
            <a:xfrm rot="2700000">
              <a:off x="865314" y="352116"/>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sp>
          <p:nvSpPr>
            <p:cNvPr id="88" name="line 4">
              <a:extLst>
                <a:ext uri="{FF2B5EF4-FFF2-40B4-BE49-F238E27FC236}">
                  <a16:creationId xmlns:a16="http://schemas.microsoft.com/office/drawing/2014/main" id="{A9332B6A-8DEF-4C3A-9327-F8306B7E5438}"/>
                </a:ext>
              </a:extLst>
            </p:cNvPr>
            <p:cNvSpPr>
              <a:spLocks/>
            </p:cNvSpPr>
            <p:nvPr/>
          </p:nvSpPr>
          <p:spPr bwMode="gray">
            <a:xfrm rot="2700000">
              <a:off x="989321" y="352116"/>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sp>
          <p:nvSpPr>
            <p:cNvPr id="89" name="line 5">
              <a:extLst>
                <a:ext uri="{FF2B5EF4-FFF2-40B4-BE49-F238E27FC236}">
                  <a16:creationId xmlns:a16="http://schemas.microsoft.com/office/drawing/2014/main" id="{35AF56B2-2D67-4655-9772-E25B6BC4A8E6}"/>
                </a:ext>
              </a:extLst>
            </p:cNvPr>
            <p:cNvSpPr>
              <a:spLocks/>
            </p:cNvSpPr>
            <p:nvPr/>
          </p:nvSpPr>
          <p:spPr bwMode="gray">
            <a:xfrm rot="2700000">
              <a:off x="1113327" y="352109"/>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grpSp>
      <p:sp>
        <p:nvSpPr>
          <p:cNvPr id="2" name="title">
            <a:extLst>
              <a:ext uri="{FF2B5EF4-FFF2-40B4-BE49-F238E27FC236}">
                <a16:creationId xmlns:a16="http://schemas.microsoft.com/office/drawing/2014/main" id="{8FFCB50B-5503-4467-8A0F-9FBB8B48B97D}"/>
              </a:ext>
            </a:extLst>
          </p:cNvPr>
          <p:cNvSpPr>
            <a:spLocks noGrp="1"/>
          </p:cNvSpPr>
          <p:nvPr userDrawn="1">
            <p:ph type="title"/>
          </p:nvPr>
        </p:nvSpPr>
        <p:spPr bwMode="gray">
          <a:xfrm>
            <a:off x="525600" y="673200"/>
            <a:ext cx="7570800" cy="288000"/>
          </a:xfrm>
        </p:spPr>
        <p:txBody>
          <a:bodyPr lIns="0" tIns="0" rIns="0" bIns="0"/>
          <a:lstStyle/>
          <a:p>
            <a:r>
              <a:rPr lang="de-DE"/>
              <a:t>Mastertitelformat bearbeiten</a:t>
            </a:r>
            <a:endParaRPr lang="en-US"/>
          </a:p>
        </p:txBody>
      </p:sp>
      <p:sp>
        <p:nvSpPr>
          <p:cNvPr id="4" name="subtitle">
            <a:extLst>
              <a:ext uri="{FF2B5EF4-FFF2-40B4-BE49-F238E27FC236}">
                <a16:creationId xmlns:a16="http://schemas.microsoft.com/office/drawing/2014/main" id="{7086919D-8D03-4875-B9F0-05F0C8564079}"/>
              </a:ext>
            </a:extLst>
          </p:cNvPr>
          <p:cNvSpPr>
            <a:spLocks noGrp="1"/>
          </p:cNvSpPr>
          <p:nvPr userDrawn="1">
            <p:ph type="body" sz="quarter" idx="14" hasCustomPrompt="1"/>
          </p:nvPr>
        </p:nvSpPr>
        <p:spPr bwMode="gray">
          <a:xfrm>
            <a:off x="525600" y="1022400"/>
            <a:ext cx="7570800" cy="504000"/>
          </a:xfrm>
        </p:spPr>
        <p:txBody>
          <a:bodyPr/>
          <a:lstStyle>
            <a:lvl1pPr>
              <a:lnSpc>
                <a:spcPct val="85000"/>
              </a:lnSpc>
              <a:spcBef>
                <a:spcPts val="0"/>
              </a:spcBef>
              <a:spcAft>
                <a:spcPts val="0"/>
              </a:spcAft>
              <a:defRPr sz="2000"/>
            </a:lvl1pPr>
          </a:lstStyle>
          <a:p>
            <a:pPr lvl="0"/>
            <a:r>
              <a:rPr lang="de-DE" err="1"/>
              <a:t>Subtitle</a:t>
            </a:r>
            <a:endParaRPr lang="en-US"/>
          </a:p>
        </p:txBody>
      </p:sp>
      <p:sp>
        <p:nvSpPr>
          <p:cNvPr id="10" name="picture 1">
            <a:extLst>
              <a:ext uri="{FF2B5EF4-FFF2-40B4-BE49-F238E27FC236}">
                <a16:creationId xmlns:a16="http://schemas.microsoft.com/office/drawing/2014/main" id="{76533136-822A-4672-82A6-5B4464AD390B}"/>
              </a:ext>
            </a:extLst>
          </p:cNvPr>
          <p:cNvSpPr>
            <a:spLocks noGrp="1"/>
          </p:cNvSpPr>
          <p:nvPr userDrawn="1">
            <p:ph type="pic" sz="quarter" idx="18"/>
          </p:nvPr>
        </p:nvSpPr>
        <p:spPr bwMode="gray">
          <a:xfrm>
            <a:off x="525600" y="1601092"/>
            <a:ext cx="4186800" cy="3591621"/>
          </a:xfrm>
          <a:pattFill prst="ltUpDiag">
            <a:fgClr>
              <a:schemeClr val="bg1">
                <a:lumMod val="95000"/>
              </a:schemeClr>
            </a:fgClr>
            <a:bgClr>
              <a:schemeClr val="bg1"/>
            </a:bgClr>
          </a:pattFill>
        </p:spPr>
        <p:txBody>
          <a:bodyPr/>
          <a:lstStyle/>
          <a:p>
            <a:endParaRPr lang="en-US"/>
          </a:p>
        </p:txBody>
      </p:sp>
      <p:sp>
        <p:nvSpPr>
          <p:cNvPr id="9" name="picture 2">
            <a:extLst>
              <a:ext uri="{FF2B5EF4-FFF2-40B4-BE49-F238E27FC236}">
                <a16:creationId xmlns:a16="http://schemas.microsoft.com/office/drawing/2014/main" id="{0C332C5E-6672-488C-98EF-4F5E858F7E90}"/>
              </a:ext>
            </a:extLst>
          </p:cNvPr>
          <p:cNvSpPr>
            <a:spLocks noGrp="1"/>
          </p:cNvSpPr>
          <p:nvPr>
            <p:ph type="pic" sz="quarter" idx="17"/>
          </p:nvPr>
        </p:nvSpPr>
        <p:spPr bwMode="gray">
          <a:xfrm>
            <a:off x="4856400" y="2370280"/>
            <a:ext cx="3240000" cy="1406265"/>
          </a:xfrm>
          <a:pattFill prst="ltUpDiag">
            <a:fgClr>
              <a:schemeClr val="bg1">
                <a:lumMod val="95000"/>
              </a:schemeClr>
            </a:fgClr>
            <a:bgClr>
              <a:schemeClr val="bg1"/>
            </a:bgClr>
          </a:pattFill>
        </p:spPr>
        <p:txBody>
          <a:bodyPr/>
          <a:lstStyle/>
          <a:p>
            <a:endParaRPr lang="en-US"/>
          </a:p>
        </p:txBody>
      </p:sp>
      <p:sp>
        <p:nvSpPr>
          <p:cNvPr id="7" name="text white">
            <a:extLst>
              <a:ext uri="{FF2B5EF4-FFF2-40B4-BE49-F238E27FC236}">
                <a16:creationId xmlns:a16="http://schemas.microsoft.com/office/drawing/2014/main" id="{76947769-F1C5-46D2-A578-B46158BB4453}"/>
              </a:ext>
            </a:extLst>
          </p:cNvPr>
          <p:cNvSpPr>
            <a:spLocks noGrp="1"/>
          </p:cNvSpPr>
          <p:nvPr userDrawn="1">
            <p:ph type="body" sz="quarter" idx="15"/>
          </p:nvPr>
        </p:nvSpPr>
        <p:spPr bwMode="gray">
          <a:xfrm>
            <a:off x="3346574" y="3456655"/>
            <a:ext cx="4893825" cy="2641746"/>
          </a:xfrm>
          <a:solidFill>
            <a:schemeClr val="bg1"/>
          </a:solidFill>
        </p:spPr>
        <p:txBody>
          <a:bodyPr lIns="432000" tIns="432000" rIns="216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text blue">
            <a:extLst>
              <a:ext uri="{FF2B5EF4-FFF2-40B4-BE49-F238E27FC236}">
                <a16:creationId xmlns:a16="http://schemas.microsoft.com/office/drawing/2014/main" id="{F221FFD9-8744-4B06-8073-6630F4E6F751}"/>
              </a:ext>
            </a:extLst>
          </p:cNvPr>
          <p:cNvSpPr>
            <a:spLocks noGrp="1"/>
          </p:cNvSpPr>
          <p:nvPr userDrawn="1">
            <p:ph type="body" sz="quarter" idx="16"/>
          </p:nvPr>
        </p:nvSpPr>
        <p:spPr bwMode="ltGray">
          <a:xfrm>
            <a:off x="8384400" y="673200"/>
            <a:ext cx="3279600" cy="1800695"/>
          </a:xfrm>
          <a:solidFill>
            <a:schemeClr val="accent1"/>
          </a:solidFill>
        </p:spPr>
        <p:txBody>
          <a:bodyPr lIns="216000" tIns="216000" rIns="216000" bIns="216000">
            <a:spAutoFit/>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slide number">
            <a:extLst>
              <a:ext uri="{FF2B5EF4-FFF2-40B4-BE49-F238E27FC236}">
                <a16:creationId xmlns:a16="http://schemas.microsoft.com/office/drawing/2014/main" id="{90B54C2D-8235-4852-8EB7-5E05529B2499}"/>
              </a:ext>
            </a:extLst>
          </p:cNvPr>
          <p:cNvSpPr>
            <a:spLocks noGrp="1"/>
          </p:cNvSpPr>
          <p:nvPr userDrawn="1">
            <p:ph type="sldNum" sz="quarter" idx="12"/>
          </p:nvPr>
        </p:nvSpPr>
        <p:spPr bwMode="gray"/>
        <p:txBody>
          <a:bodyPr lIns="0" tIns="0" rIns="0" bIns="0"/>
          <a:lstStyle/>
          <a:p>
            <a:fld id="{9829449A-3FF3-45CE-9F4F-09BADC0910C6}" type="slidenum">
              <a:rPr lang="en-US" smtClean="0"/>
              <a:t>‹Nr.›</a:t>
            </a:fld>
            <a:endParaRPr lang="en-US"/>
          </a:p>
        </p:txBody>
      </p:sp>
      <p:sp>
        <p:nvSpPr>
          <p:cNvPr id="5" name="footer">
            <a:extLst>
              <a:ext uri="{FF2B5EF4-FFF2-40B4-BE49-F238E27FC236}">
                <a16:creationId xmlns:a16="http://schemas.microsoft.com/office/drawing/2014/main" id="{A4534FC4-D037-44B0-B266-D9E820FC1DF2}"/>
              </a:ext>
            </a:extLst>
          </p:cNvPr>
          <p:cNvSpPr>
            <a:spLocks noGrp="1"/>
          </p:cNvSpPr>
          <p:nvPr userDrawn="1">
            <p:ph type="ftr" sz="quarter" idx="11"/>
          </p:nvPr>
        </p:nvSpPr>
        <p:spPr bwMode="gray"/>
        <p:txBody>
          <a:bodyPr lIns="0" tIns="0" rIns="0" bIns="0"/>
          <a:lstStyle/>
          <a:p>
            <a:endParaRPr lang="en-US"/>
          </a:p>
        </p:txBody>
      </p:sp>
    </p:spTree>
    <p:extLst>
      <p:ext uri="{BB962C8B-B14F-4D97-AF65-F5344CB8AC3E}">
        <p14:creationId xmlns:p14="http://schemas.microsoft.com/office/powerpoint/2010/main" val="4159217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644" userDrawn="1">
          <p15:clr>
            <a:srgbClr val="FBAE40"/>
          </p15:clr>
        </p15:guide>
        <p15:guide id="2" orient="horz" pos="1493" userDrawn="1">
          <p15:clr>
            <a:srgbClr val="FBAE40"/>
          </p15:clr>
        </p15:guide>
        <p15:guide id="3" orient="horz" pos="3271" userDrawn="1">
          <p15:clr>
            <a:srgbClr val="FBAE40"/>
          </p15:clr>
        </p15:guide>
        <p15:guide id="4" pos="2108" userDrawn="1">
          <p15:clr>
            <a:srgbClr val="FBAE40"/>
          </p15:clr>
        </p15:guide>
        <p15:guide id="5" pos="2969" userDrawn="1">
          <p15:clr>
            <a:srgbClr val="FBAE40"/>
          </p15:clr>
        </p15:guide>
        <p15:guide id="6" pos="3057" userDrawn="1">
          <p15:clr>
            <a:srgbClr val="FBAE40"/>
          </p15:clr>
        </p15:guide>
        <p15:guide id="7" pos="5192" userDrawn="1">
          <p15:clr>
            <a:srgbClr val="FBAE40"/>
          </p15:clr>
        </p15:guide>
        <p15:guide id="8" pos="5102" userDrawn="1">
          <p15:clr>
            <a:srgbClr val="FBAE40"/>
          </p15:clr>
        </p15:guide>
        <p15:guide id="10" orient="horz" pos="2177" userDrawn="1">
          <p15:clr>
            <a:srgbClr val="FBAE40"/>
          </p15:clr>
        </p15:guide>
        <p15:guide id="11" pos="528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fobox &amp; Picture">
    <p:spTree>
      <p:nvGrpSpPr>
        <p:cNvPr id="1" name=""/>
        <p:cNvGrpSpPr/>
        <p:nvPr/>
      </p:nvGrpSpPr>
      <p:grpSpPr>
        <a:xfrm>
          <a:off x="0" y="0"/>
          <a:ext cx="0" cy="0"/>
          <a:chOff x="0" y="0"/>
          <a:chExt cx="0" cy="0"/>
        </a:xfrm>
      </p:grpSpPr>
      <p:sp>
        <p:nvSpPr>
          <p:cNvPr id="11" name="background grey">
            <a:extLst>
              <a:ext uri="{FF2B5EF4-FFF2-40B4-BE49-F238E27FC236}">
                <a16:creationId xmlns:a16="http://schemas.microsoft.com/office/drawing/2014/main" id="{67B920F9-FFDD-4A7E-B64D-74D2EEEAED0E}"/>
              </a:ext>
            </a:extLst>
          </p:cNvPr>
          <p:cNvSpPr/>
          <p:nvPr userDrawn="1"/>
        </p:nvSpPr>
        <p:spPr bwMode="gray">
          <a:xfrm>
            <a:off x="0" y="1786647"/>
            <a:ext cx="12192000" cy="3525572"/>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400"/>
              </a:spcBef>
              <a:spcAft>
                <a:spcPts val="400"/>
              </a:spcAft>
            </a:pPr>
            <a:endParaRPr lang="de-DE" sz="1400"/>
          </a:p>
        </p:txBody>
      </p:sp>
      <p:sp>
        <p:nvSpPr>
          <p:cNvPr id="2" name="title">
            <a:extLst>
              <a:ext uri="{FF2B5EF4-FFF2-40B4-BE49-F238E27FC236}">
                <a16:creationId xmlns:a16="http://schemas.microsoft.com/office/drawing/2014/main" id="{8FFCB50B-5503-4467-8A0F-9FBB8B48B97D}"/>
              </a:ext>
            </a:extLst>
          </p:cNvPr>
          <p:cNvSpPr>
            <a:spLocks noGrp="1"/>
          </p:cNvSpPr>
          <p:nvPr userDrawn="1">
            <p:ph type="title"/>
          </p:nvPr>
        </p:nvSpPr>
        <p:spPr bwMode="gray">
          <a:xfrm>
            <a:off x="525600" y="673200"/>
            <a:ext cx="6770550" cy="288000"/>
          </a:xfrm>
        </p:spPr>
        <p:txBody>
          <a:bodyPr lIns="0" tIns="0" rIns="0" bIns="0"/>
          <a:lstStyle/>
          <a:p>
            <a:r>
              <a:rPr lang="de-DE"/>
              <a:t>Mastertitelformat bearbeiten</a:t>
            </a:r>
            <a:endParaRPr lang="en-US"/>
          </a:p>
        </p:txBody>
      </p:sp>
      <p:sp>
        <p:nvSpPr>
          <p:cNvPr id="4" name="subtitle">
            <a:extLst>
              <a:ext uri="{FF2B5EF4-FFF2-40B4-BE49-F238E27FC236}">
                <a16:creationId xmlns:a16="http://schemas.microsoft.com/office/drawing/2014/main" id="{7086919D-8D03-4875-B9F0-05F0C8564079}"/>
              </a:ext>
            </a:extLst>
          </p:cNvPr>
          <p:cNvSpPr>
            <a:spLocks noGrp="1"/>
          </p:cNvSpPr>
          <p:nvPr userDrawn="1">
            <p:ph type="body" sz="quarter" idx="14" hasCustomPrompt="1"/>
          </p:nvPr>
        </p:nvSpPr>
        <p:spPr bwMode="gray">
          <a:xfrm>
            <a:off x="525600" y="1022400"/>
            <a:ext cx="6770550" cy="504000"/>
          </a:xfrm>
        </p:spPr>
        <p:txBody>
          <a:bodyPr/>
          <a:lstStyle>
            <a:lvl1pPr>
              <a:lnSpc>
                <a:spcPct val="85000"/>
              </a:lnSpc>
              <a:spcBef>
                <a:spcPts val="0"/>
              </a:spcBef>
              <a:spcAft>
                <a:spcPts val="0"/>
              </a:spcAft>
              <a:defRPr sz="2000"/>
            </a:lvl1pPr>
          </a:lstStyle>
          <a:p>
            <a:pPr lvl="0"/>
            <a:r>
              <a:rPr lang="de-DE" err="1"/>
              <a:t>Subtitle</a:t>
            </a:r>
            <a:endParaRPr lang="en-US"/>
          </a:p>
        </p:txBody>
      </p:sp>
      <p:sp>
        <p:nvSpPr>
          <p:cNvPr id="9" name="picture">
            <a:extLst>
              <a:ext uri="{FF2B5EF4-FFF2-40B4-BE49-F238E27FC236}">
                <a16:creationId xmlns:a16="http://schemas.microsoft.com/office/drawing/2014/main" id="{0C332C5E-6672-488C-98EF-4F5E858F7E90}"/>
              </a:ext>
            </a:extLst>
          </p:cNvPr>
          <p:cNvSpPr>
            <a:spLocks noGrp="1"/>
          </p:cNvSpPr>
          <p:nvPr>
            <p:ph type="pic" sz="quarter" idx="17"/>
          </p:nvPr>
        </p:nvSpPr>
        <p:spPr bwMode="gray">
          <a:xfrm>
            <a:off x="7441201" y="673200"/>
            <a:ext cx="4750800" cy="1544400"/>
          </a:xfrm>
          <a:pattFill prst="ltUpDiag">
            <a:fgClr>
              <a:schemeClr val="bg1">
                <a:lumMod val="95000"/>
              </a:schemeClr>
            </a:fgClr>
            <a:bgClr>
              <a:schemeClr val="bg1"/>
            </a:bgClr>
          </a:pattFill>
        </p:spPr>
        <p:txBody>
          <a:bodyPr/>
          <a:lstStyle/>
          <a:p>
            <a:endParaRPr lang="en-US"/>
          </a:p>
        </p:txBody>
      </p:sp>
      <p:sp>
        <p:nvSpPr>
          <p:cNvPr id="7" name="text white">
            <a:extLst>
              <a:ext uri="{FF2B5EF4-FFF2-40B4-BE49-F238E27FC236}">
                <a16:creationId xmlns:a16="http://schemas.microsoft.com/office/drawing/2014/main" id="{76947769-F1C5-46D2-A578-B46158BB4453}"/>
              </a:ext>
            </a:extLst>
          </p:cNvPr>
          <p:cNvSpPr>
            <a:spLocks noGrp="1"/>
          </p:cNvSpPr>
          <p:nvPr userDrawn="1">
            <p:ph type="body" sz="quarter" idx="15"/>
          </p:nvPr>
        </p:nvSpPr>
        <p:spPr bwMode="gray">
          <a:xfrm>
            <a:off x="7296191" y="2073600"/>
            <a:ext cx="4368759" cy="1873398"/>
          </a:xfrm>
          <a:solidFill>
            <a:schemeClr val="bg1"/>
          </a:solidFill>
        </p:spPr>
        <p:txBody>
          <a:bodyPr wrap="square" lIns="216000" tIns="288000" rIns="216000" bIns="216000">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slide number">
            <a:extLst>
              <a:ext uri="{FF2B5EF4-FFF2-40B4-BE49-F238E27FC236}">
                <a16:creationId xmlns:a16="http://schemas.microsoft.com/office/drawing/2014/main" id="{90B54C2D-8235-4852-8EB7-5E05529B2499}"/>
              </a:ext>
            </a:extLst>
          </p:cNvPr>
          <p:cNvSpPr>
            <a:spLocks noGrp="1"/>
          </p:cNvSpPr>
          <p:nvPr userDrawn="1">
            <p:ph type="sldNum" sz="quarter" idx="12"/>
          </p:nvPr>
        </p:nvSpPr>
        <p:spPr bwMode="gray"/>
        <p:txBody>
          <a:bodyPr lIns="0" tIns="0" rIns="0" bIns="0"/>
          <a:lstStyle/>
          <a:p>
            <a:fld id="{9829449A-3FF3-45CE-9F4F-09BADC0910C6}" type="slidenum">
              <a:rPr lang="en-US" smtClean="0"/>
              <a:t>‹Nr.›</a:t>
            </a:fld>
            <a:endParaRPr lang="en-US"/>
          </a:p>
        </p:txBody>
      </p:sp>
      <p:sp>
        <p:nvSpPr>
          <p:cNvPr id="5" name="footer">
            <a:extLst>
              <a:ext uri="{FF2B5EF4-FFF2-40B4-BE49-F238E27FC236}">
                <a16:creationId xmlns:a16="http://schemas.microsoft.com/office/drawing/2014/main" id="{A4534FC4-D037-44B0-B266-D9E820FC1DF2}"/>
              </a:ext>
            </a:extLst>
          </p:cNvPr>
          <p:cNvSpPr>
            <a:spLocks noGrp="1"/>
          </p:cNvSpPr>
          <p:nvPr userDrawn="1">
            <p:ph type="ftr" sz="quarter" idx="11"/>
          </p:nvPr>
        </p:nvSpPr>
        <p:spPr bwMode="gray"/>
        <p:txBody>
          <a:bodyPr lIns="0" tIns="0" rIns="0" bIns="0"/>
          <a:lstStyle/>
          <a:p>
            <a:endParaRPr lang="en-US"/>
          </a:p>
        </p:txBody>
      </p:sp>
    </p:spTree>
    <p:extLst>
      <p:ext uri="{BB962C8B-B14F-4D97-AF65-F5344CB8AC3E}">
        <p14:creationId xmlns:p14="http://schemas.microsoft.com/office/powerpoint/2010/main" val="626997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644" userDrawn="1">
          <p15:clr>
            <a:srgbClr val="FBAE40"/>
          </p15:clr>
        </p15:guide>
        <p15:guide id="2" orient="horz" pos="1305" userDrawn="1">
          <p15:clr>
            <a:srgbClr val="FBAE40"/>
          </p15:clr>
        </p15:guide>
        <p15:guide id="3" pos="4596" userDrawn="1">
          <p15:clr>
            <a:srgbClr val="FBAE40"/>
          </p15:clr>
        </p15:guide>
        <p15:guide id="4" pos="4686" userDrawn="1">
          <p15:clr>
            <a:srgbClr val="FBAE40"/>
          </p15:clr>
        </p15:guide>
        <p15:guide id="5" orient="horz" pos="1398"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Infobox &amp; Picture">
    <p:spTree>
      <p:nvGrpSpPr>
        <p:cNvPr id="1" name=""/>
        <p:cNvGrpSpPr/>
        <p:nvPr/>
      </p:nvGrpSpPr>
      <p:grpSpPr>
        <a:xfrm>
          <a:off x="0" y="0"/>
          <a:ext cx="0" cy="0"/>
          <a:chOff x="0" y="0"/>
          <a:chExt cx="0" cy="0"/>
        </a:xfrm>
      </p:grpSpPr>
      <p:sp>
        <p:nvSpPr>
          <p:cNvPr id="11" name="background grey">
            <a:extLst>
              <a:ext uri="{FF2B5EF4-FFF2-40B4-BE49-F238E27FC236}">
                <a16:creationId xmlns:a16="http://schemas.microsoft.com/office/drawing/2014/main" id="{67B920F9-FFDD-4A7E-B64D-74D2EEEAED0E}"/>
              </a:ext>
            </a:extLst>
          </p:cNvPr>
          <p:cNvSpPr/>
          <p:nvPr userDrawn="1"/>
        </p:nvSpPr>
        <p:spPr bwMode="gray">
          <a:xfrm>
            <a:off x="0" y="1786647"/>
            <a:ext cx="12192000" cy="3525572"/>
          </a:xfrm>
          <a:prstGeom prst="rect">
            <a:avLst/>
          </a:prstGeom>
          <a:solidFill>
            <a:srgbClr val="89E4A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400"/>
              </a:spcBef>
              <a:spcAft>
                <a:spcPts val="400"/>
              </a:spcAft>
            </a:pPr>
            <a:endParaRPr lang="de-DE" sz="1400"/>
          </a:p>
        </p:txBody>
      </p:sp>
      <p:sp>
        <p:nvSpPr>
          <p:cNvPr id="2" name="title">
            <a:extLst>
              <a:ext uri="{FF2B5EF4-FFF2-40B4-BE49-F238E27FC236}">
                <a16:creationId xmlns:a16="http://schemas.microsoft.com/office/drawing/2014/main" id="{8FFCB50B-5503-4467-8A0F-9FBB8B48B97D}"/>
              </a:ext>
            </a:extLst>
          </p:cNvPr>
          <p:cNvSpPr>
            <a:spLocks noGrp="1"/>
          </p:cNvSpPr>
          <p:nvPr userDrawn="1">
            <p:ph type="title"/>
          </p:nvPr>
        </p:nvSpPr>
        <p:spPr bwMode="gray">
          <a:xfrm>
            <a:off x="525600" y="673200"/>
            <a:ext cx="6770550" cy="288000"/>
          </a:xfrm>
        </p:spPr>
        <p:txBody>
          <a:bodyPr lIns="0" tIns="0" rIns="0" bIns="0"/>
          <a:lstStyle/>
          <a:p>
            <a:r>
              <a:rPr lang="de-DE"/>
              <a:t>Mastertitelformat bearbeiten</a:t>
            </a:r>
            <a:endParaRPr lang="en-US"/>
          </a:p>
        </p:txBody>
      </p:sp>
      <p:sp>
        <p:nvSpPr>
          <p:cNvPr id="4" name="subtitle">
            <a:extLst>
              <a:ext uri="{FF2B5EF4-FFF2-40B4-BE49-F238E27FC236}">
                <a16:creationId xmlns:a16="http://schemas.microsoft.com/office/drawing/2014/main" id="{7086919D-8D03-4875-B9F0-05F0C8564079}"/>
              </a:ext>
            </a:extLst>
          </p:cNvPr>
          <p:cNvSpPr>
            <a:spLocks noGrp="1"/>
          </p:cNvSpPr>
          <p:nvPr userDrawn="1">
            <p:ph type="body" sz="quarter" idx="14" hasCustomPrompt="1"/>
          </p:nvPr>
        </p:nvSpPr>
        <p:spPr bwMode="gray">
          <a:xfrm>
            <a:off x="525600" y="1022400"/>
            <a:ext cx="6770550" cy="504000"/>
          </a:xfrm>
        </p:spPr>
        <p:txBody>
          <a:bodyPr/>
          <a:lstStyle>
            <a:lvl1pPr>
              <a:lnSpc>
                <a:spcPct val="85000"/>
              </a:lnSpc>
              <a:spcBef>
                <a:spcPts val="0"/>
              </a:spcBef>
              <a:spcAft>
                <a:spcPts val="0"/>
              </a:spcAft>
              <a:defRPr sz="2000"/>
            </a:lvl1pPr>
          </a:lstStyle>
          <a:p>
            <a:pPr lvl="0"/>
            <a:r>
              <a:rPr lang="de-DE" err="1"/>
              <a:t>Subtitle</a:t>
            </a:r>
            <a:endParaRPr lang="en-US"/>
          </a:p>
        </p:txBody>
      </p:sp>
      <p:sp>
        <p:nvSpPr>
          <p:cNvPr id="9" name="picture">
            <a:extLst>
              <a:ext uri="{FF2B5EF4-FFF2-40B4-BE49-F238E27FC236}">
                <a16:creationId xmlns:a16="http://schemas.microsoft.com/office/drawing/2014/main" id="{0C332C5E-6672-488C-98EF-4F5E858F7E90}"/>
              </a:ext>
            </a:extLst>
          </p:cNvPr>
          <p:cNvSpPr>
            <a:spLocks noGrp="1"/>
          </p:cNvSpPr>
          <p:nvPr>
            <p:ph type="pic" sz="quarter" idx="17"/>
          </p:nvPr>
        </p:nvSpPr>
        <p:spPr bwMode="gray">
          <a:xfrm>
            <a:off x="7441201" y="673200"/>
            <a:ext cx="4750800" cy="1544400"/>
          </a:xfrm>
          <a:pattFill prst="ltUpDiag">
            <a:fgClr>
              <a:schemeClr val="bg1">
                <a:lumMod val="95000"/>
              </a:schemeClr>
            </a:fgClr>
            <a:bgClr>
              <a:schemeClr val="bg1"/>
            </a:bgClr>
          </a:pattFill>
        </p:spPr>
        <p:txBody>
          <a:bodyPr/>
          <a:lstStyle/>
          <a:p>
            <a:endParaRPr lang="en-US"/>
          </a:p>
        </p:txBody>
      </p:sp>
      <p:sp>
        <p:nvSpPr>
          <p:cNvPr id="7" name="text white">
            <a:extLst>
              <a:ext uri="{FF2B5EF4-FFF2-40B4-BE49-F238E27FC236}">
                <a16:creationId xmlns:a16="http://schemas.microsoft.com/office/drawing/2014/main" id="{76947769-F1C5-46D2-A578-B46158BB4453}"/>
              </a:ext>
            </a:extLst>
          </p:cNvPr>
          <p:cNvSpPr>
            <a:spLocks noGrp="1"/>
          </p:cNvSpPr>
          <p:nvPr userDrawn="1">
            <p:ph type="body" sz="quarter" idx="15"/>
          </p:nvPr>
        </p:nvSpPr>
        <p:spPr bwMode="gray">
          <a:xfrm>
            <a:off x="7296191" y="2073600"/>
            <a:ext cx="4368759" cy="1873398"/>
          </a:xfrm>
          <a:solidFill>
            <a:schemeClr val="bg1"/>
          </a:solidFill>
        </p:spPr>
        <p:txBody>
          <a:bodyPr wrap="square" lIns="216000" tIns="288000" rIns="216000" bIns="216000">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slide number">
            <a:extLst>
              <a:ext uri="{FF2B5EF4-FFF2-40B4-BE49-F238E27FC236}">
                <a16:creationId xmlns:a16="http://schemas.microsoft.com/office/drawing/2014/main" id="{90B54C2D-8235-4852-8EB7-5E05529B2499}"/>
              </a:ext>
            </a:extLst>
          </p:cNvPr>
          <p:cNvSpPr>
            <a:spLocks noGrp="1"/>
          </p:cNvSpPr>
          <p:nvPr userDrawn="1">
            <p:ph type="sldNum" sz="quarter" idx="12"/>
          </p:nvPr>
        </p:nvSpPr>
        <p:spPr bwMode="gray"/>
        <p:txBody>
          <a:bodyPr lIns="0" tIns="0" rIns="0" bIns="0"/>
          <a:lstStyle/>
          <a:p>
            <a:fld id="{9829449A-3FF3-45CE-9F4F-09BADC0910C6}" type="slidenum">
              <a:rPr lang="en-US" smtClean="0"/>
              <a:t>‹Nr.›</a:t>
            </a:fld>
            <a:endParaRPr lang="en-US"/>
          </a:p>
        </p:txBody>
      </p:sp>
      <p:sp>
        <p:nvSpPr>
          <p:cNvPr id="5" name="footer">
            <a:extLst>
              <a:ext uri="{FF2B5EF4-FFF2-40B4-BE49-F238E27FC236}">
                <a16:creationId xmlns:a16="http://schemas.microsoft.com/office/drawing/2014/main" id="{A4534FC4-D037-44B0-B266-D9E820FC1DF2}"/>
              </a:ext>
            </a:extLst>
          </p:cNvPr>
          <p:cNvSpPr>
            <a:spLocks noGrp="1"/>
          </p:cNvSpPr>
          <p:nvPr userDrawn="1">
            <p:ph type="ftr" sz="quarter" idx="11"/>
          </p:nvPr>
        </p:nvSpPr>
        <p:spPr bwMode="gray"/>
        <p:txBody>
          <a:bodyPr lIns="0" tIns="0" rIns="0" bIns="0"/>
          <a:lstStyle/>
          <a:p>
            <a:endParaRPr lang="en-US"/>
          </a:p>
        </p:txBody>
      </p:sp>
    </p:spTree>
    <p:extLst>
      <p:ext uri="{BB962C8B-B14F-4D97-AF65-F5344CB8AC3E}">
        <p14:creationId xmlns:p14="http://schemas.microsoft.com/office/powerpoint/2010/main" val="3272707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644" userDrawn="1">
          <p15:clr>
            <a:srgbClr val="FBAE40"/>
          </p15:clr>
        </p15:guide>
        <p15:guide id="2" orient="horz" pos="1305" userDrawn="1">
          <p15:clr>
            <a:srgbClr val="FBAE40"/>
          </p15:clr>
        </p15:guide>
        <p15:guide id="3" pos="4596" userDrawn="1">
          <p15:clr>
            <a:srgbClr val="FBAE40"/>
          </p15:clr>
        </p15:guide>
        <p15:guide id="4" pos="4686" userDrawn="1">
          <p15:clr>
            <a:srgbClr val="FBAE40"/>
          </p15:clr>
        </p15:guide>
        <p15:guide id="5" orient="horz" pos="1398"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27" name="line element blue mask">
            <a:extLst>
              <a:ext uri="{FF2B5EF4-FFF2-40B4-BE49-F238E27FC236}">
                <a16:creationId xmlns:a16="http://schemas.microsoft.com/office/drawing/2014/main" id="{54D166B1-C8ED-4470-902A-68D52C058719}"/>
              </a:ext>
            </a:extLst>
          </p:cNvPr>
          <p:cNvSpPr/>
          <p:nvPr userDrawn="1"/>
        </p:nvSpPr>
        <p:spPr bwMode="gray">
          <a:xfrm>
            <a:off x="406400" y="243401"/>
            <a:ext cx="988200" cy="50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400"/>
              </a:spcBef>
              <a:spcAft>
                <a:spcPts val="400"/>
              </a:spcAft>
            </a:pPr>
            <a:endParaRPr lang="de-DE" sz="1400"/>
          </a:p>
        </p:txBody>
      </p:sp>
      <p:sp>
        <p:nvSpPr>
          <p:cNvPr id="23" name="logo drees&amp;sommer blue mask">
            <a:extLst>
              <a:ext uri="{FF2B5EF4-FFF2-40B4-BE49-F238E27FC236}">
                <a16:creationId xmlns:a16="http://schemas.microsoft.com/office/drawing/2014/main" id="{E20494AC-6547-4123-B4F0-80FEF2AFE0E2}"/>
              </a:ext>
            </a:extLst>
          </p:cNvPr>
          <p:cNvSpPr/>
          <p:nvPr userDrawn="1"/>
        </p:nvSpPr>
        <p:spPr bwMode="gray">
          <a:xfrm>
            <a:off x="10579100" y="6197600"/>
            <a:ext cx="1270000" cy="584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400"/>
              </a:spcBef>
              <a:spcAft>
                <a:spcPts val="400"/>
              </a:spcAft>
            </a:pPr>
            <a:endParaRPr lang="de-DE" sz="1400"/>
          </a:p>
        </p:txBody>
      </p:sp>
      <p:sp>
        <p:nvSpPr>
          <p:cNvPr id="15" name="picture">
            <a:extLst>
              <a:ext uri="{FF2B5EF4-FFF2-40B4-BE49-F238E27FC236}">
                <a16:creationId xmlns:a16="http://schemas.microsoft.com/office/drawing/2014/main" id="{461FE725-5CA4-4CF8-858E-C8E9F0F6001E}"/>
              </a:ext>
            </a:extLst>
          </p:cNvPr>
          <p:cNvSpPr>
            <a:spLocks noGrp="1"/>
          </p:cNvSpPr>
          <p:nvPr>
            <p:ph type="pic" sz="quarter" idx="18"/>
          </p:nvPr>
        </p:nvSpPr>
        <p:spPr bwMode="gray">
          <a:xfrm>
            <a:off x="0" y="1"/>
            <a:ext cx="12192000" cy="6858000"/>
          </a:xfrm>
          <a:custGeom>
            <a:avLst/>
            <a:gdLst>
              <a:gd name="connsiteX0" fmla="*/ 10909343 w 12192000"/>
              <a:gd name="connsiteY0" fmla="*/ 6535878 h 6858000"/>
              <a:gd name="connsiteX1" fmla="*/ 10992168 w 12192000"/>
              <a:gd name="connsiteY1" fmla="*/ 6535878 h 6858000"/>
              <a:gd name="connsiteX2" fmla="*/ 10992168 w 12192000"/>
              <a:gd name="connsiteY2" fmla="*/ 6598744 h 6858000"/>
              <a:gd name="connsiteX3" fmla="*/ 10909343 w 12192000"/>
              <a:gd name="connsiteY3" fmla="*/ 6598744 h 6858000"/>
              <a:gd name="connsiteX4" fmla="*/ 11563256 w 12192000"/>
              <a:gd name="connsiteY4" fmla="*/ 6534689 h 6858000"/>
              <a:gd name="connsiteX5" fmla="*/ 11619215 w 12192000"/>
              <a:gd name="connsiteY5" fmla="*/ 6534689 h 6858000"/>
              <a:gd name="connsiteX6" fmla="*/ 11630409 w 12192000"/>
              <a:gd name="connsiteY6" fmla="*/ 6542785 h 6858000"/>
              <a:gd name="connsiteX7" fmla="*/ 11630409 w 12192000"/>
              <a:gd name="connsiteY7" fmla="*/ 6554454 h 6858000"/>
              <a:gd name="connsiteX8" fmla="*/ 11619215 w 12192000"/>
              <a:gd name="connsiteY8" fmla="*/ 6562549 h 6858000"/>
              <a:gd name="connsiteX9" fmla="*/ 11563256 w 12192000"/>
              <a:gd name="connsiteY9" fmla="*/ 6562549 h 6858000"/>
              <a:gd name="connsiteX10" fmla="*/ 10910306 w 12192000"/>
              <a:gd name="connsiteY10" fmla="*/ 6517317 h 6858000"/>
              <a:gd name="connsiteX11" fmla="*/ 10883590 w 12192000"/>
              <a:gd name="connsiteY11" fmla="*/ 6541121 h 6858000"/>
              <a:gd name="connsiteX12" fmla="*/ 10883590 w 12192000"/>
              <a:gd name="connsiteY12" fmla="*/ 6594222 h 6858000"/>
              <a:gd name="connsiteX13" fmla="*/ 10910306 w 12192000"/>
              <a:gd name="connsiteY13" fmla="*/ 6618041 h 6858000"/>
              <a:gd name="connsiteX14" fmla="*/ 10989730 w 12192000"/>
              <a:gd name="connsiteY14" fmla="*/ 6618041 h 6858000"/>
              <a:gd name="connsiteX15" fmla="*/ 11016446 w 12192000"/>
              <a:gd name="connsiteY15" fmla="*/ 6594222 h 6858000"/>
              <a:gd name="connsiteX16" fmla="*/ 11016446 w 12192000"/>
              <a:gd name="connsiteY16" fmla="*/ 6541121 h 6858000"/>
              <a:gd name="connsiteX17" fmla="*/ 10989730 w 12192000"/>
              <a:gd name="connsiteY17" fmla="*/ 6517317 h 6858000"/>
              <a:gd name="connsiteX18" fmla="*/ 11538985 w 12192000"/>
              <a:gd name="connsiteY18" fmla="*/ 6517310 h 6858000"/>
              <a:gd name="connsiteX19" fmla="*/ 11538985 w 12192000"/>
              <a:gd name="connsiteY19" fmla="*/ 6618034 h 6858000"/>
              <a:gd name="connsiteX20" fmla="*/ 11563263 w 12192000"/>
              <a:gd name="connsiteY20" fmla="*/ 6618034 h 6858000"/>
              <a:gd name="connsiteX21" fmla="*/ 11563263 w 12192000"/>
              <a:gd name="connsiteY21" fmla="*/ 6579928 h 6858000"/>
              <a:gd name="connsiteX22" fmla="*/ 11586360 w 12192000"/>
              <a:gd name="connsiteY22" fmla="*/ 6579928 h 6858000"/>
              <a:gd name="connsiteX23" fmla="*/ 11628506 w 12192000"/>
              <a:gd name="connsiteY23" fmla="*/ 6618034 h 6858000"/>
              <a:gd name="connsiteX24" fmla="*/ 11663753 w 12192000"/>
              <a:gd name="connsiteY24" fmla="*/ 6618034 h 6858000"/>
              <a:gd name="connsiteX25" fmla="*/ 11615897 w 12192000"/>
              <a:gd name="connsiteY25" fmla="*/ 6579928 h 6858000"/>
              <a:gd name="connsiteX26" fmla="*/ 11629710 w 12192000"/>
              <a:gd name="connsiteY26" fmla="*/ 6579928 h 6858000"/>
              <a:gd name="connsiteX27" fmla="*/ 11653280 w 12192000"/>
              <a:gd name="connsiteY27" fmla="*/ 6560638 h 6858000"/>
              <a:gd name="connsiteX28" fmla="*/ 11653280 w 12192000"/>
              <a:gd name="connsiteY28" fmla="*/ 6536834 h 6858000"/>
              <a:gd name="connsiteX29" fmla="*/ 11629710 w 12192000"/>
              <a:gd name="connsiteY29" fmla="*/ 6517310 h 6858000"/>
              <a:gd name="connsiteX30" fmla="*/ 11401645 w 12192000"/>
              <a:gd name="connsiteY30" fmla="*/ 6517310 h 6858000"/>
              <a:gd name="connsiteX31" fmla="*/ 11401645 w 12192000"/>
              <a:gd name="connsiteY31" fmla="*/ 6618034 h 6858000"/>
              <a:gd name="connsiteX32" fmla="*/ 11513119 w 12192000"/>
              <a:gd name="connsiteY32" fmla="*/ 6618034 h 6858000"/>
              <a:gd name="connsiteX33" fmla="*/ 11513119 w 12192000"/>
              <a:gd name="connsiteY33" fmla="*/ 6599218 h 6858000"/>
              <a:gd name="connsiteX34" fmla="*/ 11426909 w 12192000"/>
              <a:gd name="connsiteY34" fmla="*/ 6599218 h 6858000"/>
              <a:gd name="connsiteX35" fmla="*/ 11426909 w 12192000"/>
              <a:gd name="connsiteY35" fmla="*/ 6574451 h 6858000"/>
              <a:gd name="connsiteX36" fmla="*/ 11476458 w 12192000"/>
              <a:gd name="connsiteY36" fmla="*/ 6574451 h 6858000"/>
              <a:gd name="connsiteX37" fmla="*/ 11476458 w 12192000"/>
              <a:gd name="connsiteY37" fmla="*/ 6557072 h 6858000"/>
              <a:gd name="connsiteX38" fmla="*/ 11426909 w 12192000"/>
              <a:gd name="connsiteY38" fmla="*/ 6557072 h 6858000"/>
              <a:gd name="connsiteX39" fmla="*/ 11426909 w 12192000"/>
              <a:gd name="connsiteY39" fmla="*/ 6535178 h 6858000"/>
              <a:gd name="connsiteX40" fmla="*/ 11511908 w 12192000"/>
              <a:gd name="connsiteY40" fmla="*/ 6535178 h 6858000"/>
              <a:gd name="connsiteX41" fmla="*/ 11511908 w 12192000"/>
              <a:gd name="connsiteY41" fmla="*/ 6517310 h 6858000"/>
              <a:gd name="connsiteX42" fmla="*/ 11225454 w 12192000"/>
              <a:gd name="connsiteY42" fmla="*/ 6517310 h 6858000"/>
              <a:gd name="connsiteX43" fmla="*/ 11225454 w 12192000"/>
              <a:gd name="connsiteY43" fmla="*/ 6618034 h 6858000"/>
              <a:gd name="connsiteX44" fmla="*/ 11248423 w 12192000"/>
              <a:gd name="connsiteY44" fmla="*/ 6618034 h 6858000"/>
              <a:gd name="connsiteX45" fmla="*/ 11248423 w 12192000"/>
              <a:gd name="connsiteY45" fmla="*/ 6550413 h 6858000"/>
              <a:gd name="connsiteX46" fmla="*/ 11294805 w 12192000"/>
              <a:gd name="connsiteY46" fmla="*/ 6605891 h 6858000"/>
              <a:gd name="connsiteX47" fmla="*/ 11299665 w 12192000"/>
              <a:gd name="connsiteY47" fmla="*/ 6605891 h 6858000"/>
              <a:gd name="connsiteX48" fmla="*/ 11345558 w 12192000"/>
              <a:gd name="connsiteY48" fmla="*/ 6548736 h 6858000"/>
              <a:gd name="connsiteX49" fmla="*/ 11345558 w 12192000"/>
              <a:gd name="connsiteY49" fmla="*/ 6618034 h 6858000"/>
              <a:gd name="connsiteX50" fmla="*/ 11368873 w 12192000"/>
              <a:gd name="connsiteY50" fmla="*/ 6618034 h 6858000"/>
              <a:gd name="connsiteX51" fmla="*/ 11368873 w 12192000"/>
              <a:gd name="connsiteY51" fmla="*/ 6517310 h 6858000"/>
              <a:gd name="connsiteX52" fmla="*/ 11348725 w 12192000"/>
              <a:gd name="connsiteY52" fmla="*/ 6517310 h 6858000"/>
              <a:gd name="connsiteX53" fmla="*/ 11298687 w 12192000"/>
              <a:gd name="connsiteY53" fmla="*/ 6577069 h 6858000"/>
              <a:gd name="connsiteX54" fmla="*/ 11248423 w 12192000"/>
              <a:gd name="connsiteY54" fmla="*/ 6517310 h 6858000"/>
              <a:gd name="connsiteX55" fmla="*/ 11048135 w 12192000"/>
              <a:gd name="connsiteY55" fmla="*/ 6517310 h 6858000"/>
              <a:gd name="connsiteX56" fmla="*/ 11048135 w 12192000"/>
              <a:gd name="connsiteY56" fmla="*/ 6618034 h 6858000"/>
              <a:gd name="connsiteX57" fmla="*/ 11071096 w 12192000"/>
              <a:gd name="connsiteY57" fmla="*/ 6618034 h 6858000"/>
              <a:gd name="connsiteX58" fmla="*/ 11071096 w 12192000"/>
              <a:gd name="connsiteY58" fmla="*/ 6550413 h 6858000"/>
              <a:gd name="connsiteX59" fmla="*/ 11117478 w 12192000"/>
              <a:gd name="connsiteY59" fmla="*/ 6605891 h 6858000"/>
              <a:gd name="connsiteX60" fmla="*/ 11122331 w 12192000"/>
              <a:gd name="connsiteY60" fmla="*/ 6605891 h 6858000"/>
              <a:gd name="connsiteX61" fmla="*/ 11168239 w 12192000"/>
              <a:gd name="connsiteY61" fmla="*/ 6548736 h 6858000"/>
              <a:gd name="connsiteX62" fmla="*/ 11168239 w 12192000"/>
              <a:gd name="connsiteY62" fmla="*/ 6618034 h 6858000"/>
              <a:gd name="connsiteX63" fmla="*/ 11191554 w 12192000"/>
              <a:gd name="connsiteY63" fmla="*/ 6618034 h 6858000"/>
              <a:gd name="connsiteX64" fmla="*/ 11191554 w 12192000"/>
              <a:gd name="connsiteY64" fmla="*/ 6517310 h 6858000"/>
              <a:gd name="connsiteX65" fmla="*/ 11171399 w 12192000"/>
              <a:gd name="connsiteY65" fmla="*/ 6517310 h 6858000"/>
              <a:gd name="connsiteX66" fmla="*/ 11121368 w 12192000"/>
              <a:gd name="connsiteY66" fmla="*/ 6577069 h 6858000"/>
              <a:gd name="connsiteX67" fmla="*/ 11071096 w 12192000"/>
              <a:gd name="connsiteY67" fmla="*/ 6517310 h 6858000"/>
              <a:gd name="connsiteX68" fmla="*/ 10752277 w 12192000"/>
              <a:gd name="connsiteY68" fmla="*/ 6495161 h 6858000"/>
              <a:gd name="connsiteX69" fmla="*/ 10721799 w 12192000"/>
              <a:gd name="connsiteY69" fmla="*/ 6524217 h 6858000"/>
              <a:gd name="connsiteX70" fmla="*/ 10721799 w 12192000"/>
              <a:gd name="connsiteY70" fmla="*/ 6537774 h 6858000"/>
              <a:gd name="connsiteX71" fmla="*/ 10752277 w 12192000"/>
              <a:gd name="connsiteY71" fmla="*/ 6566829 h 6858000"/>
              <a:gd name="connsiteX72" fmla="*/ 10828955 w 12192000"/>
              <a:gd name="connsiteY72" fmla="*/ 6566829 h 6858000"/>
              <a:gd name="connsiteX73" fmla="*/ 10828955 w 12192000"/>
              <a:gd name="connsiteY73" fmla="*/ 6594929 h 6858000"/>
              <a:gd name="connsiteX74" fmla="*/ 10742052 w 12192000"/>
              <a:gd name="connsiteY74" fmla="*/ 6594929 h 6858000"/>
              <a:gd name="connsiteX75" fmla="*/ 10742052 w 12192000"/>
              <a:gd name="connsiteY75" fmla="*/ 6581703 h 6858000"/>
              <a:gd name="connsiteX76" fmla="*/ 10716796 w 12192000"/>
              <a:gd name="connsiteY76" fmla="*/ 6586947 h 6858000"/>
              <a:gd name="connsiteX77" fmla="*/ 10716796 w 12192000"/>
              <a:gd name="connsiteY77" fmla="*/ 6588978 h 6858000"/>
              <a:gd name="connsiteX78" fmla="*/ 10747514 w 12192000"/>
              <a:gd name="connsiteY78" fmla="*/ 6618026 h 6858000"/>
              <a:gd name="connsiteX79" fmla="*/ 10823486 w 12192000"/>
              <a:gd name="connsiteY79" fmla="*/ 6618026 h 6858000"/>
              <a:gd name="connsiteX80" fmla="*/ 10854204 w 12192000"/>
              <a:gd name="connsiteY80" fmla="*/ 6588978 h 6858000"/>
              <a:gd name="connsiteX81" fmla="*/ 10854204 w 12192000"/>
              <a:gd name="connsiteY81" fmla="*/ 6572073 h 6858000"/>
              <a:gd name="connsiteX82" fmla="*/ 10823486 w 12192000"/>
              <a:gd name="connsiteY82" fmla="*/ 6543018 h 6858000"/>
              <a:gd name="connsiteX83" fmla="*/ 10746799 w 12192000"/>
              <a:gd name="connsiteY83" fmla="*/ 6543018 h 6858000"/>
              <a:gd name="connsiteX84" fmla="*/ 10746799 w 12192000"/>
              <a:gd name="connsiteY84" fmla="*/ 6516595 h 6858000"/>
              <a:gd name="connsiteX85" fmla="*/ 10827285 w 12192000"/>
              <a:gd name="connsiteY85" fmla="*/ 6516595 h 6858000"/>
              <a:gd name="connsiteX86" fmla="*/ 10827285 w 12192000"/>
              <a:gd name="connsiteY86" fmla="*/ 6529904 h 6858000"/>
              <a:gd name="connsiteX87" fmla="*/ 10852526 w 12192000"/>
              <a:gd name="connsiteY87" fmla="*/ 6523953 h 6858000"/>
              <a:gd name="connsiteX88" fmla="*/ 10852526 w 12192000"/>
              <a:gd name="connsiteY88" fmla="*/ 6522073 h 6858000"/>
              <a:gd name="connsiteX89" fmla="*/ 10822049 w 12192000"/>
              <a:gd name="connsiteY89" fmla="*/ 6495161 h 6858000"/>
              <a:gd name="connsiteX90" fmla="*/ 11554221 w 12192000"/>
              <a:gd name="connsiteY90" fmla="*/ 6392872 h 6858000"/>
              <a:gd name="connsiteX91" fmla="*/ 11591123 w 12192000"/>
              <a:gd name="connsiteY91" fmla="*/ 6423590 h 6858000"/>
              <a:gd name="connsiteX92" fmla="*/ 11579695 w 12192000"/>
              <a:gd name="connsiteY92" fmla="*/ 6433348 h 6858000"/>
              <a:gd name="connsiteX93" fmla="*/ 11522795 w 12192000"/>
              <a:gd name="connsiteY93" fmla="*/ 6433348 h 6858000"/>
              <a:gd name="connsiteX94" fmla="*/ 11522795 w 12192000"/>
              <a:gd name="connsiteY94" fmla="*/ 6433341 h 6858000"/>
              <a:gd name="connsiteX95" fmla="*/ 11522795 w 12192000"/>
              <a:gd name="connsiteY95" fmla="*/ 6412395 h 6858000"/>
              <a:gd name="connsiteX96" fmla="*/ 10923532 w 12192000"/>
              <a:gd name="connsiteY96" fmla="*/ 6371438 h 6858000"/>
              <a:gd name="connsiteX97" fmla="*/ 10979491 w 12192000"/>
              <a:gd name="connsiteY97" fmla="*/ 6371438 h 6858000"/>
              <a:gd name="connsiteX98" fmla="*/ 10990685 w 12192000"/>
              <a:gd name="connsiteY98" fmla="*/ 6379533 h 6858000"/>
              <a:gd name="connsiteX99" fmla="*/ 10990685 w 12192000"/>
              <a:gd name="connsiteY99" fmla="*/ 6391202 h 6858000"/>
              <a:gd name="connsiteX100" fmla="*/ 10979491 w 12192000"/>
              <a:gd name="connsiteY100" fmla="*/ 6399297 h 6858000"/>
              <a:gd name="connsiteX101" fmla="*/ 10923532 w 12192000"/>
              <a:gd name="connsiteY101" fmla="*/ 6399297 h 6858000"/>
              <a:gd name="connsiteX102" fmla="*/ 11349305 w 12192000"/>
              <a:gd name="connsiteY102" fmla="*/ 6354059 h 6858000"/>
              <a:gd name="connsiteX103" fmla="*/ 11322868 w 12192000"/>
              <a:gd name="connsiteY103" fmla="*/ 6377878 h 6858000"/>
              <a:gd name="connsiteX104" fmla="*/ 11322868 w 12192000"/>
              <a:gd name="connsiteY104" fmla="*/ 6389073 h 6858000"/>
              <a:gd name="connsiteX105" fmla="*/ 11349305 w 12192000"/>
              <a:gd name="connsiteY105" fmla="*/ 6412877 h 6858000"/>
              <a:gd name="connsiteX106" fmla="*/ 11414541 w 12192000"/>
              <a:gd name="connsiteY106" fmla="*/ 6412877 h 6858000"/>
              <a:gd name="connsiteX107" fmla="*/ 11414541 w 12192000"/>
              <a:gd name="connsiteY107" fmla="*/ 6435982 h 6858000"/>
              <a:gd name="connsiteX108" fmla="*/ 11340480 w 12192000"/>
              <a:gd name="connsiteY108" fmla="*/ 6435982 h 6858000"/>
              <a:gd name="connsiteX109" fmla="*/ 11340480 w 12192000"/>
              <a:gd name="connsiteY109" fmla="*/ 6425374 h 6858000"/>
              <a:gd name="connsiteX110" fmla="*/ 11318587 w 12192000"/>
              <a:gd name="connsiteY110" fmla="*/ 6429429 h 6858000"/>
              <a:gd name="connsiteX111" fmla="*/ 11318587 w 12192000"/>
              <a:gd name="connsiteY111" fmla="*/ 6430979 h 6858000"/>
              <a:gd name="connsiteX112" fmla="*/ 11345009 w 12192000"/>
              <a:gd name="connsiteY112" fmla="*/ 6454783 h 6858000"/>
              <a:gd name="connsiteX113" fmla="*/ 11410501 w 12192000"/>
              <a:gd name="connsiteY113" fmla="*/ 6454783 h 6858000"/>
              <a:gd name="connsiteX114" fmla="*/ 11436690 w 12192000"/>
              <a:gd name="connsiteY114" fmla="*/ 6430979 h 6858000"/>
              <a:gd name="connsiteX115" fmla="*/ 11436690 w 12192000"/>
              <a:gd name="connsiteY115" fmla="*/ 6417165 h 6858000"/>
              <a:gd name="connsiteX116" fmla="*/ 11410501 w 12192000"/>
              <a:gd name="connsiteY116" fmla="*/ 6393361 h 6858000"/>
              <a:gd name="connsiteX117" fmla="*/ 11345009 w 12192000"/>
              <a:gd name="connsiteY117" fmla="*/ 6393361 h 6858000"/>
              <a:gd name="connsiteX118" fmla="*/ 11345009 w 12192000"/>
              <a:gd name="connsiteY118" fmla="*/ 6372153 h 6858000"/>
              <a:gd name="connsiteX119" fmla="*/ 11414300 w 12192000"/>
              <a:gd name="connsiteY119" fmla="*/ 6372153 h 6858000"/>
              <a:gd name="connsiteX120" fmla="*/ 11414300 w 12192000"/>
              <a:gd name="connsiteY120" fmla="*/ 6381564 h 6858000"/>
              <a:gd name="connsiteX121" fmla="*/ 11435486 w 12192000"/>
              <a:gd name="connsiteY121" fmla="*/ 6377050 h 6858000"/>
              <a:gd name="connsiteX122" fmla="*/ 11435486 w 12192000"/>
              <a:gd name="connsiteY122" fmla="*/ 6375967 h 6858000"/>
              <a:gd name="connsiteX123" fmla="*/ 11409064 w 12192000"/>
              <a:gd name="connsiteY123" fmla="*/ 6354059 h 6858000"/>
              <a:gd name="connsiteX124" fmla="*/ 11184971 w 12192000"/>
              <a:gd name="connsiteY124" fmla="*/ 6354059 h 6858000"/>
              <a:gd name="connsiteX125" fmla="*/ 11184971 w 12192000"/>
              <a:gd name="connsiteY125" fmla="*/ 6454775 h 6858000"/>
              <a:gd name="connsiteX126" fmla="*/ 11294264 w 12192000"/>
              <a:gd name="connsiteY126" fmla="*/ 6454775 h 6858000"/>
              <a:gd name="connsiteX127" fmla="*/ 11294264 w 12192000"/>
              <a:gd name="connsiteY127" fmla="*/ 6435966 h 6858000"/>
              <a:gd name="connsiteX128" fmla="*/ 11209738 w 12192000"/>
              <a:gd name="connsiteY128" fmla="*/ 6435966 h 6858000"/>
              <a:gd name="connsiteX129" fmla="*/ 11209738 w 12192000"/>
              <a:gd name="connsiteY129" fmla="*/ 6411199 h 6858000"/>
              <a:gd name="connsiteX130" fmla="*/ 11258310 w 12192000"/>
              <a:gd name="connsiteY130" fmla="*/ 6411199 h 6858000"/>
              <a:gd name="connsiteX131" fmla="*/ 11258310 w 12192000"/>
              <a:gd name="connsiteY131" fmla="*/ 6393820 h 6858000"/>
              <a:gd name="connsiteX132" fmla="*/ 11209738 w 12192000"/>
              <a:gd name="connsiteY132" fmla="*/ 6393820 h 6858000"/>
              <a:gd name="connsiteX133" fmla="*/ 11209738 w 12192000"/>
              <a:gd name="connsiteY133" fmla="*/ 6371912 h 6858000"/>
              <a:gd name="connsiteX134" fmla="*/ 11293083 w 12192000"/>
              <a:gd name="connsiteY134" fmla="*/ 6371912 h 6858000"/>
              <a:gd name="connsiteX135" fmla="*/ 11293083 w 12192000"/>
              <a:gd name="connsiteY135" fmla="*/ 6354059 h 6858000"/>
              <a:gd name="connsiteX136" fmla="*/ 11047262 w 12192000"/>
              <a:gd name="connsiteY136" fmla="*/ 6354059 h 6858000"/>
              <a:gd name="connsiteX137" fmla="*/ 11047262 w 12192000"/>
              <a:gd name="connsiteY137" fmla="*/ 6454775 h 6858000"/>
              <a:gd name="connsiteX138" fmla="*/ 11156555 w 12192000"/>
              <a:gd name="connsiteY138" fmla="*/ 6454775 h 6858000"/>
              <a:gd name="connsiteX139" fmla="*/ 11156555 w 12192000"/>
              <a:gd name="connsiteY139" fmla="*/ 6435966 h 6858000"/>
              <a:gd name="connsiteX140" fmla="*/ 11072029 w 12192000"/>
              <a:gd name="connsiteY140" fmla="*/ 6435966 h 6858000"/>
              <a:gd name="connsiteX141" fmla="*/ 11072029 w 12192000"/>
              <a:gd name="connsiteY141" fmla="*/ 6411199 h 6858000"/>
              <a:gd name="connsiteX142" fmla="*/ 11120601 w 12192000"/>
              <a:gd name="connsiteY142" fmla="*/ 6411199 h 6858000"/>
              <a:gd name="connsiteX143" fmla="*/ 11120601 w 12192000"/>
              <a:gd name="connsiteY143" fmla="*/ 6393820 h 6858000"/>
              <a:gd name="connsiteX144" fmla="*/ 11072029 w 12192000"/>
              <a:gd name="connsiteY144" fmla="*/ 6393820 h 6858000"/>
              <a:gd name="connsiteX145" fmla="*/ 11072029 w 12192000"/>
              <a:gd name="connsiteY145" fmla="*/ 6371912 h 6858000"/>
              <a:gd name="connsiteX146" fmla="*/ 11155374 w 12192000"/>
              <a:gd name="connsiteY146" fmla="*/ 6371912 h 6858000"/>
              <a:gd name="connsiteX147" fmla="*/ 11155374 w 12192000"/>
              <a:gd name="connsiteY147" fmla="*/ 6354059 h 6858000"/>
              <a:gd name="connsiteX148" fmla="*/ 10899246 w 12192000"/>
              <a:gd name="connsiteY148" fmla="*/ 6354059 h 6858000"/>
              <a:gd name="connsiteX149" fmla="*/ 10899246 w 12192000"/>
              <a:gd name="connsiteY149" fmla="*/ 6454775 h 6858000"/>
              <a:gd name="connsiteX150" fmla="*/ 10923539 w 12192000"/>
              <a:gd name="connsiteY150" fmla="*/ 6454775 h 6858000"/>
              <a:gd name="connsiteX151" fmla="*/ 10923539 w 12192000"/>
              <a:gd name="connsiteY151" fmla="*/ 6416669 h 6858000"/>
              <a:gd name="connsiteX152" fmla="*/ 10946636 w 12192000"/>
              <a:gd name="connsiteY152" fmla="*/ 6416669 h 6858000"/>
              <a:gd name="connsiteX153" fmla="*/ 10988782 w 12192000"/>
              <a:gd name="connsiteY153" fmla="*/ 6454775 h 6858000"/>
              <a:gd name="connsiteX154" fmla="*/ 11024029 w 12192000"/>
              <a:gd name="connsiteY154" fmla="*/ 6454775 h 6858000"/>
              <a:gd name="connsiteX155" fmla="*/ 10976158 w 12192000"/>
              <a:gd name="connsiteY155" fmla="*/ 6416669 h 6858000"/>
              <a:gd name="connsiteX156" fmla="*/ 10989971 w 12192000"/>
              <a:gd name="connsiteY156" fmla="*/ 6416669 h 6858000"/>
              <a:gd name="connsiteX157" fmla="*/ 11013549 w 12192000"/>
              <a:gd name="connsiteY157" fmla="*/ 6397394 h 6858000"/>
              <a:gd name="connsiteX158" fmla="*/ 11013549 w 12192000"/>
              <a:gd name="connsiteY158" fmla="*/ 6373582 h 6858000"/>
              <a:gd name="connsiteX159" fmla="*/ 10989971 w 12192000"/>
              <a:gd name="connsiteY159" fmla="*/ 6354059 h 6858000"/>
              <a:gd name="connsiteX160" fmla="*/ 10749425 w 12192000"/>
              <a:gd name="connsiteY160" fmla="*/ 6353818 h 6858000"/>
              <a:gd name="connsiteX161" fmla="*/ 10800140 w 12192000"/>
              <a:gd name="connsiteY161" fmla="*/ 6353818 h 6858000"/>
              <a:gd name="connsiteX162" fmla="*/ 10840624 w 12192000"/>
              <a:gd name="connsiteY162" fmla="*/ 6392157 h 6858000"/>
              <a:gd name="connsiteX163" fmla="*/ 10786327 w 12192000"/>
              <a:gd name="connsiteY163" fmla="*/ 6431685 h 6858000"/>
              <a:gd name="connsiteX164" fmla="*/ 10749425 w 12192000"/>
              <a:gd name="connsiteY164" fmla="*/ 6431685 h 6858000"/>
              <a:gd name="connsiteX165" fmla="*/ 11558990 w 12192000"/>
              <a:gd name="connsiteY165" fmla="*/ 6331910 h 6858000"/>
              <a:gd name="connsiteX166" fmla="*/ 11528513 w 12192000"/>
              <a:gd name="connsiteY166" fmla="*/ 6354292 h 6858000"/>
              <a:gd name="connsiteX167" fmla="*/ 11528513 w 12192000"/>
              <a:gd name="connsiteY167" fmla="*/ 6361191 h 6858000"/>
              <a:gd name="connsiteX168" fmla="*/ 11538993 w 12192000"/>
              <a:gd name="connsiteY168" fmla="*/ 6379766 h 6858000"/>
              <a:gd name="connsiteX169" fmla="*/ 11513978 w 12192000"/>
              <a:gd name="connsiteY169" fmla="*/ 6394775 h 6858000"/>
              <a:gd name="connsiteX170" fmla="*/ 11498743 w 12192000"/>
              <a:gd name="connsiteY170" fmla="*/ 6417632 h 6858000"/>
              <a:gd name="connsiteX171" fmla="*/ 11498743 w 12192000"/>
              <a:gd name="connsiteY171" fmla="*/ 6425727 h 6858000"/>
              <a:gd name="connsiteX172" fmla="*/ 11529454 w 12192000"/>
              <a:gd name="connsiteY172" fmla="*/ 6454775 h 6858000"/>
              <a:gd name="connsiteX173" fmla="*/ 11573270 w 12192000"/>
              <a:gd name="connsiteY173" fmla="*/ 6454775 h 6858000"/>
              <a:gd name="connsiteX174" fmla="*/ 11596367 w 12192000"/>
              <a:gd name="connsiteY174" fmla="*/ 6447387 h 6858000"/>
              <a:gd name="connsiteX175" fmla="*/ 11607321 w 12192000"/>
              <a:gd name="connsiteY175" fmla="*/ 6437629 h 6858000"/>
              <a:gd name="connsiteX176" fmla="*/ 11627559 w 12192000"/>
              <a:gd name="connsiteY176" fmla="*/ 6454775 h 6858000"/>
              <a:gd name="connsiteX177" fmla="*/ 11664950 w 12192000"/>
              <a:gd name="connsiteY177" fmla="*/ 6454775 h 6858000"/>
              <a:gd name="connsiteX178" fmla="*/ 11626137 w 12192000"/>
              <a:gd name="connsiteY178" fmla="*/ 6422146 h 6858000"/>
              <a:gd name="connsiteX179" fmla="*/ 11654470 w 12192000"/>
              <a:gd name="connsiteY179" fmla="*/ 6398582 h 6858000"/>
              <a:gd name="connsiteX180" fmla="*/ 11638272 w 12192000"/>
              <a:gd name="connsiteY180" fmla="*/ 6384536 h 6858000"/>
              <a:gd name="connsiteX181" fmla="*/ 11609698 w 12192000"/>
              <a:gd name="connsiteY181" fmla="*/ 6408340 h 6858000"/>
              <a:gd name="connsiteX182" fmla="*/ 11551836 w 12192000"/>
              <a:gd name="connsiteY182" fmla="*/ 6360243 h 6858000"/>
              <a:gd name="connsiteX183" fmla="*/ 11551836 w 12192000"/>
              <a:gd name="connsiteY183" fmla="*/ 6351433 h 6858000"/>
              <a:gd name="connsiteX184" fmla="*/ 11592086 w 12192000"/>
              <a:gd name="connsiteY184" fmla="*/ 6351433 h 6858000"/>
              <a:gd name="connsiteX185" fmla="*/ 11592086 w 12192000"/>
              <a:gd name="connsiteY185" fmla="*/ 6367872 h 6858000"/>
              <a:gd name="connsiteX186" fmla="*/ 11614220 w 12192000"/>
              <a:gd name="connsiteY186" fmla="*/ 6364065 h 6858000"/>
              <a:gd name="connsiteX187" fmla="*/ 11614220 w 12192000"/>
              <a:gd name="connsiteY187" fmla="*/ 6356677 h 6858000"/>
              <a:gd name="connsiteX188" fmla="*/ 11583742 w 12192000"/>
              <a:gd name="connsiteY188" fmla="*/ 6331910 h 6858000"/>
              <a:gd name="connsiteX189" fmla="*/ 10720851 w 12192000"/>
              <a:gd name="connsiteY189" fmla="*/ 6331910 h 6858000"/>
              <a:gd name="connsiteX190" fmla="*/ 10720851 w 12192000"/>
              <a:gd name="connsiteY190" fmla="*/ 6454775 h 6858000"/>
              <a:gd name="connsiteX191" fmla="*/ 10792527 w 12192000"/>
              <a:gd name="connsiteY191" fmla="*/ 6454775 h 6858000"/>
              <a:gd name="connsiteX192" fmla="*/ 10843009 w 12192000"/>
              <a:gd name="connsiteY192" fmla="*/ 6445258 h 6858000"/>
              <a:gd name="connsiteX193" fmla="*/ 10870146 w 12192000"/>
              <a:gd name="connsiteY193" fmla="*/ 6392631 h 6858000"/>
              <a:gd name="connsiteX194" fmla="*/ 10799900 w 12192000"/>
              <a:gd name="connsiteY194" fmla="*/ 6331910 h 6858000"/>
              <a:gd name="connsiteX195" fmla="*/ 1079793 w 12192000"/>
              <a:gd name="connsiteY195" fmla="*/ 378499 h 6858000"/>
              <a:gd name="connsiteX196" fmla="*/ 906693 w 12192000"/>
              <a:gd name="connsiteY196" fmla="*/ 551598 h 6858000"/>
              <a:gd name="connsiteX197" fmla="*/ 925627 w 12192000"/>
              <a:gd name="connsiteY197" fmla="*/ 570532 h 6858000"/>
              <a:gd name="connsiteX198" fmla="*/ 1098726 w 12192000"/>
              <a:gd name="connsiteY198" fmla="*/ 397432 h 6858000"/>
              <a:gd name="connsiteX199" fmla="*/ 955785 w 12192000"/>
              <a:gd name="connsiteY199" fmla="*/ 378499 h 6858000"/>
              <a:gd name="connsiteX200" fmla="*/ 782685 w 12192000"/>
              <a:gd name="connsiteY200" fmla="*/ 551598 h 6858000"/>
              <a:gd name="connsiteX201" fmla="*/ 801619 w 12192000"/>
              <a:gd name="connsiteY201" fmla="*/ 570532 h 6858000"/>
              <a:gd name="connsiteX202" fmla="*/ 974718 w 12192000"/>
              <a:gd name="connsiteY202" fmla="*/ 397432 h 6858000"/>
              <a:gd name="connsiteX203" fmla="*/ 831778 w 12192000"/>
              <a:gd name="connsiteY203" fmla="*/ 378499 h 6858000"/>
              <a:gd name="connsiteX204" fmla="*/ 658678 w 12192000"/>
              <a:gd name="connsiteY204" fmla="*/ 551598 h 6858000"/>
              <a:gd name="connsiteX205" fmla="*/ 677612 w 12192000"/>
              <a:gd name="connsiteY205" fmla="*/ 570532 h 6858000"/>
              <a:gd name="connsiteX206" fmla="*/ 850712 w 12192000"/>
              <a:gd name="connsiteY206" fmla="*/ 397432 h 6858000"/>
              <a:gd name="connsiteX207" fmla="*/ 707771 w 12192000"/>
              <a:gd name="connsiteY207" fmla="*/ 378499 h 6858000"/>
              <a:gd name="connsiteX208" fmla="*/ 534672 w 12192000"/>
              <a:gd name="connsiteY208" fmla="*/ 551598 h 6858000"/>
              <a:gd name="connsiteX209" fmla="*/ 553605 w 12192000"/>
              <a:gd name="connsiteY209" fmla="*/ 570532 h 6858000"/>
              <a:gd name="connsiteX210" fmla="*/ 726705 w 12192000"/>
              <a:gd name="connsiteY210" fmla="*/ 397432 h 6858000"/>
              <a:gd name="connsiteX211" fmla="*/ 1203798 w 12192000"/>
              <a:gd name="connsiteY211" fmla="*/ 378492 h 6858000"/>
              <a:gd name="connsiteX212" fmla="*/ 1030699 w 12192000"/>
              <a:gd name="connsiteY212" fmla="*/ 551591 h 6858000"/>
              <a:gd name="connsiteX213" fmla="*/ 1049632 w 12192000"/>
              <a:gd name="connsiteY213" fmla="*/ 570525 h 6858000"/>
              <a:gd name="connsiteX214" fmla="*/ 1222732 w 12192000"/>
              <a:gd name="connsiteY214" fmla="*/ 397425 h 6858000"/>
              <a:gd name="connsiteX215" fmla="*/ 0 w 12192000"/>
              <a:gd name="connsiteY215" fmla="*/ 0 h 6858000"/>
              <a:gd name="connsiteX216" fmla="*/ 12192000 w 12192000"/>
              <a:gd name="connsiteY216" fmla="*/ 0 h 6858000"/>
              <a:gd name="connsiteX217" fmla="*/ 12192000 w 12192000"/>
              <a:gd name="connsiteY217" fmla="*/ 6858000 h 6858000"/>
              <a:gd name="connsiteX218" fmla="*/ 0 w 12192000"/>
              <a:gd name="connsiteY2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Lst>
            <a:rect l="l" t="t" r="r" b="b"/>
            <a:pathLst>
              <a:path w="12192000" h="6858000">
                <a:moveTo>
                  <a:pt x="10909343" y="6535878"/>
                </a:moveTo>
                <a:lnTo>
                  <a:pt x="10992168" y="6535878"/>
                </a:lnTo>
                <a:lnTo>
                  <a:pt x="10992168" y="6598744"/>
                </a:lnTo>
                <a:lnTo>
                  <a:pt x="10909343" y="6598744"/>
                </a:lnTo>
                <a:close/>
                <a:moveTo>
                  <a:pt x="11563256" y="6534689"/>
                </a:moveTo>
                <a:lnTo>
                  <a:pt x="11619215" y="6534689"/>
                </a:lnTo>
                <a:cubicBezTo>
                  <a:pt x="11626587" y="6534689"/>
                  <a:pt x="11630409" y="6536126"/>
                  <a:pt x="11630409" y="6542785"/>
                </a:cubicBezTo>
                <a:lnTo>
                  <a:pt x="11630409" y="6554454"/>
                </a:lnTo>
                <a:cubicBezTo>
                  <a:pt x="11630409" y="6561127"/>
                  <a:pt x="11626587" y="6562549"/>
                  <a:pt x="11619215" y="6562549"/>
                </a:cubicBezTo>
                <a:lnTo>
                  <a:pt x="11563256" y="6562549"/>
                </a:lnTo>
                <a:close/>
                <a:moveTo>
                  <a:pt x="10910306" y="6517317"/>
                </a:moveTo>
                <a:cubicBezTo>
                  <a:pt x="10890158" y="6517317"/>
                  <a:pt x="10883590" y="6521831"/>
                  <a:pt x="10883590" y="6541121"/>
                </a:cubicBezTo>
                <a:lnTo>
                  <a:pt x="10883590" y="6594222"/>
                </a:lnTo>
                <a:cubicBezTo>
                  <a:pt x="10883590" y="6613271"/>
                  <a:pt x="10889902" y="6618041"/>
                  <a:pt x="10910306" y="6618041"/>
                </a:cubicBezTo>
                <a:lnTo>
                  <a:pt x="10989730" y="6618041"/>
                </a:lnTo>
                <a:cubicBezTo>
                  <a:pt x="11009886" y="6618041"/>
                  <a:pt x="11016446" y="6613271"/>
                  <a:pt x="11016446" y="6594222"/>
                </a:cubicBezTo>
                <a:lnTo>
                  <a:pt x="11016446" y="6541121"/>
                </a:lnTo>
                <a:cubicBezTo>
                  <a:pt x="11016446" y="6521831"/>
                  <a:pt x="11009878" y="6517317"/>
                  <a:pt x="10989730" y="6517317"/>
                </a:cubicBezTo>
                <a:close/>
                <a:moveTo>
                  <a:pt x="11538985" y="6517310"/>
                </a:moveTo>
                <a:lnTo>
                  <a:pt x="11538985" y="6618034"/>
                </a:lnTo>
                <a:lnTo>
                  <a:pt x="11563263" y="6618034"/>
                </a:lnTo>
                <a:lnTo>
                  <a:pt x="11563263" y="6579928"/>
                </a:lnTo>
                <a:lnTo>
                  <a:pt x="11586360" y="6579928"/>
                </a:lnTo>
                <a:lnTo>
                  <a:pt x="11628506" y="6618034"/>
                </a:lnTo>
                <a:lnTo>
                  <a:pt x="11663753" y="6618034"/>
                </a:lnTo>
                <a:lnTo>
                  <a:pt x="11615897" y="6579928"/>
                </a:lnTo>
                <a:lnTo>
                  <a:pt x="11629710" y="6579928"/>
                </a:lnTo>
                <a:cubicBezTo>
                  <a:pt x="11645892" y="6579928"/>
                  <a:pt x="11653280" y="6574451"/>
                  <a:pt x="11653280" y="6560638"/>
                </a:cubicBezTo>
                <a:lnTo>
                  <a:pt x="11653280" y="6536834"/>
                </a:lnTo>
                <a:cubicBezTo>
                  <a:pt x="11653280" y="6522787"/>
                  <a:pt x="11645892" y="6517310"/>
                  <a:pt x="11629710" y="6517310"/>
                </a:cubicBezTo>
                <a:close/>
                <a:moveTo>
                  <a:pt x="11401645" y="6517310"/>
                </a:moveTo>
                <a:lnTo>
                  <a:pt x="11401645" y="6618034"/>
                </a:lnTo>
                <a:lnTo>
                  <a:pt x="11513119" y="6618034"/>
                </a:lnTo>
                <a:lnTo>
                  <a:pt x="11513119" y="6599218"/>
                </a:lnTo>
                <a:lnTo>
                  <a:pt x="11426909" y="6599218"/>
                </a:lnTo>
                <a:lnTo>
                  <a:pt x="11426909" y="6574451"/>
                </a:lnTo>
                <a:lnTo>
                  <a:pt x="11476458" y="6574451"/>
                </a:lnTo>
                <a:lnTo>
                  <a:pt x="11476458" y="6557072"/>
                </a:lnTo>
                <a:lnTo>
                  <a:pt x="11426909" y="6557072"/>
                </a:lnTo>
                <a:lnTo>
                  <a:pt x="11426909" y="6535178"/>
                </a:lnTo>
                <a:lnTo>
                  <a:pt x="11511908" y="6535178"/>
                </a:lnTo>
                <a:lnTo>
                  <a:pt x="11511908" y="6517310"/>
                </a:lnTo>
                <a:close/>
                <a:moveTo>
                  <a:pt x="11225454" y="6517310"/>
                </a:moveTo>
                <a:lnTo>
                  <a:pt x="11225454" y="6618034"/>
                </a:lnTo>
                <a:lnTo>
                  <a:pt x="11248423" y="6618034"/>
                </a:lnTo>
                <a:lnTo>
                  <a:pt x="11248423" y="6550413"/>
                </a:lnTo>
                <a:lnTo>
                  <a:pt x="11294805" y="6605891"/>
                </a:lnTo>
                <a:lnTo>
                  <a:pt x="11299665" y="6605891"/>
                </a:lnTo>
                <a:lnTo>
                  <a:pt x="11345558" y="6548736"/>
                </a:lnTo>
                <a:lnTo>
                  <a:pt x="11345558" y="6618034"/>
                </a:lnTo>
                <a:lnTo>
                  <a:pt x="11368873" y="6618034"/>
                </a:lnTo>
                <a:lnTo>
                  <a:pt x="11368873" y="6517310"/>
                </a:lnTo>
                <a:lnTo>
                  <a:pt x="11348725" y="6517310"/>
                </a:lnTo>
                <a:lnTo>
                  <a:pt x="11298687" y="6577069"/>
                </a:lnTo>
                <a:lnTo>
                  <a:pt x="11248423" y="6517310"/>
                </a:lnTo>
                <a:close/>
                <a:moveTo>
                  <a:pt x="11048135" y="6517310"/>
                </a:moveTo>
                <a:lnTo>
                  <a:pt x="11048135" y="6618034"/>
                </a:lnTo>
                <a:lnTo>
                  <a:pt x="11071096" y="6618034"/>
                </a:lnTo>
                <a:lnTo>
                  <a:pt x="11071096" y="6550413"/>
                </a:lnTo>
                <a:lnTo>
                  <a:pt x="11117478" y="6605891"/>
                </a:lnTo>
                <a:lnTo>
                  <a:pt x="11122331" y="6605891"/>
                </a:lnTo>
                <a:lnTo>
                  <a:pt x="11168239" y="6548736"/>
                </a:lnTo>
                <a:lnTo>
                  <a:pt x="11168239" y="6618034"/>
                </a:lnTo>
                <a:lnTo>
                  <a:pt x="11191554" y="6618034"/>
                </a:lnTo>
                <a:lnTo>
                  <a:pt x="11191554" y="6517310"/>
                </a:lnTo>
                <a:lnTo>
                  <a:pt x="11171399" y="6517310"/>
                </a:lnTo>
                <a:lnTo>
                  <a:pt x="11121368" y="6577069"/>
                </a:lnTo>
                <a:lnTo>
                  <a:pt x="11071096" y="6517310"/>
                </a:lnTo>
                <a:close/>
                <a:moveTo>
                  <a:pt x="10752277" y="6495161"/>
                </a:moveTo>
                <a:cubicBezTo>
                  <a:pt x="10729180" y="6495161"/>
                  <a:pt x="10721799" y="6501112"/>
                  <a:pt x="10721799" y="6524217"/>
                </a:cubicBezTo>
                <a:lnTo>
                  <a:pt x="10721799" y="6537774"/>
                </a:lnTo>
                <a:cubicBezTo>
                  <a:pt x="10721799" y="6560878"/>
                  <a:pt x="10729187" y="6566829"/>
                  <a:pt x="10752277" y="6566829"/>
                </a:cubicBezTo>
                <a:lnTo>
                  <a:pt x="10828955" y="6566829"/>
                </a:lnTo>
                <a:lnTo>
                  <a:pt x="10828955" y="6594929"/>
                </a:lnTo>
                <a:lnTo>
                  <a:pt x="10742052" y="6594929"/>
                </a:lnTo>
                <a:lnTo>
                  <a:pt x="10742052" y="6581703"/>
                </a:lnTo>
                <a:lnTo>
                  <a:pt x="10716796" y="6586947"/>
                </a:lnTo>
                <a:lnTo>
                  <a:pt x="10716796" y="6588978"/>
                </a:lnTo>
                <a:cubicBezTo>
                  <a:pt x="10716796" y="6612075"/>
                  <a:pt x="10724417" y="6618026"/>
                  <a:pt x="10747514" y="6618026"/>
                </a:cubicBezTo>
                <a:lnTo>
                  <a:pt x="10823486" y="6618026"/>
                </a:lnTo>
                <a:cubicBezTo>
                  <a:pt x="10846583" y="6618026"/>
                  <a:pt x="10854204" y="6612075"/>
                  <a:pt x="10854204" y="6588978"/>
                </a:cubicBezTo>
                <a:lnTo>
                  <a:pt x="10854204" y="6572073"/>
                </a:lnTo>
                <a:cubicBezTo>
                  <a:pt x="10854204" y="6548969"/>
                  <a:pt x="10846583" y="6543018"/>
                  <a:pt x="10823486" y="6543018"/>
                </a:cubicBezTo>
                <a:lnTo>
                  <a:pt x="10746799" y="6543018"/>
                </a:lnTo>
                <a:lnTo>
                  <a:pt x="10746799" y="6516595"/>
                </a:lnTo>
                <a:lnTo>
                  <a:pt x="10827285" y="6516595"/>
                </a:lnTo>
                <a:lnTo>
                  <a:pt x="10827285" y="6529904"/>
                </a:lnTo>
                <a:lnTo>
                  <a:pt x="10852526" y="6523953"/>
                </a:lnTo>
                <a:lnTo>
                  <a:pt x="10852526" y="6522073"/>
                </a:lnTo>
                <a:cubicBezTo>
                  <a:pt x="10852526" y="6500871"/>
                  <a:pt x="10843957" y="6495161"/>
                  <a:pt x="10822049" y="6495161"/>
                </a:cubicBezTo>
                <a:close/>
                <a:moveTo>
                  <a:pt x="11554221" y="6392872"/>
                </a:moveTo>
                <a:lnTo>
                  <a:pt x="11591123" y="6423590"/>
                </a:lnTo>
                <a:lnTo>
                  <a:pt x="11579695" y="6433348"/>
                </a:lnTo>
                <a:lnTo>
                  <a:pt x="11522795" y="6433348"/>
                </a:lnTo>
                <a:lnTo>
                  <a:pt x="11522795" y="6433341"/>
                </a:lnTo>
                <a:lnTo>
                  <a:pt x="11522795" y="6412395"/>
                </a:lnTo>
                <a:close/>
                <a:moveTo>
                  <a:pt x="10923532" y="6371438"/>
                </a:moveTo>
                <a:lnTo>
                  <a:pt x="10979491" y="6371438"/>
                </a:lnTo>
                <a:cubicBezTo>
                  <a:pt x="10986864" y="6371438"/>
                  <a:pt x="10990685" y="6372875"/>
                  <a:pt x="10990685" y="6379533"/>
                </a:cubicBezTo>
                <a:lnTo>
                  <a:pt x="10990685" y="6391202"/>
                </a:lnTo>
                <a:cubicBezTo>
                  <a:pt x="10990685" y="6397875"/>
                  <a:pt x="10986864" y="6399297"/>
                  <a:pt x="10979491" y="6399297"/>
                </a:cubicBezTo>
                <a:lnTo>
                  <a:pt x="10923532" y="6399297"/>
                </a:lnTo>
                <a:close/>
                <a:moveTo>
                  <a:pt x="11349305" y="6354059"/>
                </a:moveTo>
                <a:cubicBezTo>
                  <a:pt x="11329541" y="6354059"/>
                  <a:pt x="11322868" y="6358829"/>
                  <a:pt x="11322868" y="6377878"/>
                </a:cubicBezTo>
                <a:lnTo>
                  <a:pt x="11322868" y="6389073"/>
                </a:lnTo>
                <a:cubicBezTo>
                  <a:pt x="11322868" y="6408122"/>
                  <a:pt x="11329541" y="6412877"/>
                  <a:pt x="11349305" y="6412877"/>
                </a:cubicBezTo>
                <a:lnTo>
                  <a:pt x="11414541" y="6412877"/>
                </a:lnTo>
                <a:lnTo>
                  <a:pt x="11414541" y="6435982"/>
                </a:lnTo>
                <a:lnTo>
                  <a:pt x="11340480" y="6435982"/>
                </a:lnTo>
                <a:lnTo>
                  <a:pt x="11340480" y="6425374"/>
                </a:lnTo>
                <a:lnTo>
                  <a:pt x="11318587" y="6429429"/>
                </a:lnTo>
                <a:lnTo>
                  <a:pt x="11318587" y="6430979"/>
                </a:lnTo>
                <a:cubicBezTo>
                  <a:pt x="11318587" y="6449795"/>
                  <a:pt x="11325012" y="6454783"/>
                  <a:pt x="11345009" y="6454783"/>
                </a:cubicBezTo>
                <a:lnTo>
                  <a:pt x="11410501" y="6454783"/>
                </a:lnTo>
                <a:cubicBezTo>
                  <a:pt x="11430498" y="6454783"/>
                  <a:pt x="11436690" y="6449795"/>
                  <a:pt x="11436690" y="6430979"/>
                </a:cubicBezTo>
                <a:lnTo>
                  <a:pt x="11436690" y="6417165"/>
                </a:lnTo>
                <a:cubicBezTo>
                  <a:pt x="11436690" y="6398116"/>
                  <a:pt x="11430506" y="6393361"/>
                  <a:pt x="11410501" y="6393361"/>
                </a:cubicBezTo>
                <a:lnTo>
                  <a:pt x="11345009" y="6393361"/>
                </a:lnTo>
                <a:lnTo>
                  <a:pt x="11345009" y="6372153"/>
                </a:lnTo>
                <a:lnTo>
                  <a:pt x="11414300" y="6372153"/>
                </a:lnTo>
                <a:lnTo>
                  <a:pt x="11414300" y="6381564"/>
                </a:lnTo>
                <a:lnTo>
                  <a:pt x="11435486" y="6377050"/>
                </a:lnTo>
                <a:lnTo>
                  <a:pt x="11435486" y="6375967"/>
                </a:lnTo>
                <a:cubicBezTo>
                  <a:pt x="11435486" y="6358355"/>
                  <a:pt x="11427639" y="6354059"/>
                  <a:pt x="11409064" y="6354059"/>
                </a:cubicBezTo>
                <a:close/>
                <a:moveTo>
                  <a:pt x="11184971" y="6354059"/>
                </a:moveTo>
                <a:lnTo>
                  <a:pt x="11184971" y="6454775"/>
                </a:lnTo>
                <a:lnTo>
                  <a:pt x="11294264" y="6454775"/>
                </a:lnTo>
                <a:lnTo>
                  <a:pt x="11294264" y="6435966"/>
                </a:lnTo>
                <a:lnTo>
                  <a:pt x="11209738" y="6435966"/>
                </a:lnTo>
                <a:lnTo>
                  <a:pt x="11209738" y="6411199"/>
                </a:lnTo>
                <a:lnTo>
                  <a:pt x="11258310" y="6411199"/>
                </a:lnTo>
                <a:lnTo>
                  <a:pt x="11258310" y="6393820"/>
                </a:lnTo>
                <a:lnTo>
                  <a:pt x="11209738" y="6393820"/>
                </a:lnTo>
                <a:lnTo>
                  <a:pt x="11209738" y="6371912"/>
                </a:lnTo>
                <a:lnTo>
                  <a:pt x="11293083" y="6371912"/>
                </a:lnTo>
                <a:lnTo>
                  <a:pt x="11293083" y="6354059"/>
                </a:lnTo>
                <a:close/>
                <a:moveTo>
                  <a:pt x="11047262" y="6354059"/>
                </a:moveTo>
                <a:lnTo>
                  <a:pt x="11047262" y="6454775"/>
                </a:lnTo>
                <a:lnTo>
                  <a:pt x="11156555" y="6454775"/>
                </a:lnTo>
                <a:lnTo>
                  <a:pt x="11156555" y="6435966"/>
                </a:lnTo>
                <a:lnTo>
                  <a:pt x="11072029" y="6435966"/>
                </a:lnTo>
                <a:lnTo>
                  <a:pt x="11072029" y="6411199"/>
                </a:lnTo>
                <a:lnTo>
                  <a:pt x="11120601" y="6411199"/>
                </a:lnTo>
                <a:lnTo>
                  <a:pt x="11120601" y="6393820"/>
                </a:lnTo>
                <a:lnTo>
                  <a:pt x="11072029" y="6393820"/>
                </a:lnTo>
                <a:lnTo>
                  <a:pt x="11072029" y="6371912"/>
                </a:lnTo>
                <a:lnTo>
                  <a:pt x="11155374" y="6371912"/>
                </a:lnTo>
                <a:lnTo>
                  <a:pt x="11155374" y="6354059"/>
                </a:lnTo>
                <a:close/>
                <a:moveTo>
                  <a:pt x="10899246" y="6354059"/>
                </a:moveTo>
                <a:lnTo>
                  <a:pt x="10899246" y="6454775"/>
                </a:lnTo>
                <a:lnTo>
                  <a:pt x="10923539" y="6454775"/>
                </a:lnTo>
                <a:lnTo>
                  <a:pt x="10923539" y="6416669"/>
                </a:lnTo>
                <a:lnTo>
                  <a:pt x="10946636" y="6416669"/>
                </a:lnTo>
                <a:lnTo>
                  <a:pt x="10988782" y="6454775"/>
                </a:lnTo>
                <a:lnTo>
                  <a:pt x="11024029" y="6454775"/>
                </a:lnTo>
                <a:lnTo>
                  <a:pt x="10976158" y="6416669"/>
                </a:lnTo>
                <a:lnTo>
                  <a:pt x="10989971" y="6416669"/>
                </a:lnTo>
                <a:cubicBezTo>
                  <a:pt x="11006169" y="6416669"/>
                  <a:pt x="11013549" y="6411192"/>
                  <a:pt x="11013549" y="6397394"/>
                </a:cubicBezTo>
                <a:lnTo>
                  <a:pt x="11013549" y="6373582"/>
                </a:lnTo>
                <a:cubicBezTo>
                  <a:pt x="11013549" y="6359536"/>
                  <a:pt x="11006161" y="6354059"/>
                  <a:pt x="10989971" y="6354059"/>
                </a:cubicBezTo>
                <a:close/>
                <a:moveTo>
                  <a:pt x="10749425" y="6353818"/>
                </a:moveTo>
                <a:lnTo>
                  <a:pt x="10800140" y="6353818"/>
                </a:lnTo>
                <a:cubicBezTo>
                  <a:pt x="10827052" y="6353818"/>
                  <a:pt x="10840624" y="6367157"/>
                  <a:pt x="10840624" y="6392157"/>
                </a:cubicBezTo>
                <a:cubicBezTo>
                  <a:pt x="10840624" y="6422635"/>
                  <a:pt x="10822523" y="6431685"/>
                  <a:pt x="10786327" y="6431685"/>
                </a:cubicBezTo>
                <a:lnTo>
                  <a:pt x="10749425" y="6431685"/>
                </a:lnTo>
                <a:close/>
                <a:moveTo>
                  <a:pt x="11558990" y="6331910"/>
                </a:moveTo>
                <a:cubicBezTo>
                  <a:pt x="11538030" y="6331910"/>
                  <a:pt x="11528513" y="6336680"/>
                  <a:pt x="11528513" y="6354292"/>
                </a:cubicBezTo>
                <a:lnTo>
                  <a:pt x="11528513" y="6361191"/>
                </a:lnTo>
                <a:cubicBezTo>
                  <a:pt x="11528513" y="6368338"/>
                  <a:pt x="11531846" y="6373815"/>
                  <a:pt x="11538993" y="6379766"/>
                </a:cubicBezTo>
                <a:lnTo>
                  <a:pt x="11513978" y="6394775"/>
                </a:lnTo>
                <a:cubicBezTo>
                  <a:pt x="11503272" y="6401201"/>
                  <a:pt x="11498743" y="6405007"/>
                  <a:pt x="11498743" y="6417632"/>
                </a:cubicBezTo>
                <a:lnTo>
                  <a:pt x="11498743" y="6425727"/>
                </a:lnTo>
                <a:cubicBezTo>
                  <a:pt x="11498743" y="6448824"/>
                  <a:pt x="11506364" y="6454775"/>
                  <a:pt x="11529454" y="6454775"/>
                </a:cubicBezTo>
                <a:lnTo>
                  <a:pt x="11573270" y="6454775"/>
                </a:lnTo>
                <a:cubicBezTo>
                  <a:pt x="11583502" y="6454775"/>
                  <a:pt x="11588505" y="6454301"/>
                  <a:pt x="11596367" y="6447387"/>
                </a:cubicBezTo>
                <a:lnTo>
                  <a:pt x="11607321" y="6437629"/>
                </a:lnTo>
                <a:lnTo>
                  <a:pt x="11627559" y="6454775"/>
                </a:lnTo>
                <a:lnTo>
                  <a:pt x="11664950" y="6454775"/>
                </a:lnTo>
                <a:lnTo>
                  <a:pt x="11626137" y="6422146"/>
                </a:lnTo>
                <a:lnTo>
                  <a:pt x="11654470" y="6398582"/>
                </a:lnTo>
                <a:lnTo>
                  <a:pt x="11638272" y="6384536"/>
                </a:lnTo>
                <a:lnTo>
                  <a:pt x="11609698" y="6408340"/>
                </a:lnTo>
                <a:lnTo>
                  <a:pt x="11551836" y="6360243"/>
                </a:lnTo>
                <a:lnTo>
                  <a:pt x="11551836" y="6351433"/>
                </a:lnTo>
                <a:lnTo>
                  <a:pt x="11592086" y="6351433"/>
                </a:lnTo>
                <a:lnTo>
                  <a:pt x="11592086" y="6367872"/>
                </a:lnTo>
                <a:lnTo>
                  <a:pt x="11614220" y="6364065"/>
                </a:lnTo>
                <a:lnTo>
                  <a:pt x="11614220" y="6356677"/>
                </a:lnTo>
                <a:cubicBezTo>
                  <a:pt x="11614220" y="6336680"/>
                  <a:pt x="11605884" y="6331910"/>
                  <a:pt x="11583742" y="6331910"/>
                </a:cubicBezTo>
                <a:close/>
                <a:moveTo>
                  <a:pt x="10720851" y="6331910"/>
                </a:moveTo>
                <a:lnTo>
                  <a:pt x="10720851" y="6454775"/>
                </a:lnTo>
                <a:lnTo>
                  <a:pt x="10792527" y="6454775"/>
                </a:lnTo>
                <a:cubicBezTo>
                  <a:pt x="10814420" y="6454775"/>
                  <a:pt x="10831092" y="6452631"/>
                  <a:pt x="10843009" y="6445258"/>
                </a:cubicBezTo>
                <a:cubicBezTo>
                  <a:pt x="10860155" y="6434778"/>
                  <a:pt x="10870146" y="6415728"/>
                  <a:pt x="10870146" y="6392631"/>
                </a:cubicBezTo>
                <a:cubicBezTo>
                  <a:pt x="10870146" y="6354533"/>
                  <a:pt x="10845868" y="6331910"/>
                  <a:pt x="10799900" y="6331910"/>
                </a:cubicBezTo>
                <a:close/>
                <a:moveTo>
                  <a:pt x="1079793" y="378499"/>
                </a:moveTo>
                <a:lnTo>
                  <a:pt x="906693" y="551598"/>
                </a:lnTo>
                <a:lnTo>
                  <a:pt x="925627" y="570532"/>
                </a:lnTo>
                <a:lnTo>
                  <a:pt x="1098726" y="397432"/>
                </a:lnTo>
                <a:close/>
                <a:moveTo>
                  <a:pt x="955785" y="378499"/>
                </a:moveTo>
                <a:lnTo>
                  <a:pt x="782685" y="551598"/>
                </a:lnTo>
                <a:lnTo>
                  <a:pt x="801619" y="570532"/>
                </a:lnTo>
                <a:lnTo>
                  <a:pt x="974718" y="397432"/>
                </a:lnTo>
                <a:close/>
                <a:moveTo>
                  <a:pt x="831778" y="378499"/>
                </a:moveTo>
                <a:lnTo>
                  <a:pt x="658678" y="551598"/>
                </a:lnTo>
                <a:lnTo>
                  <a:pt x="677612" y="570532"/>
                </a:lnTo>
                <a:lnTo>
                  <a:pt x="850712" y="397432"/>
                </a:lnTo>
                <a:close/>
                <a:moveTo>
                  <a:pt x="707771" y="378499"/>
                </a:moveTo>
                <a:lnTo>
                  <a:pt x="534672" y="551598"/>
                </a:lnTo>
                <a:lnTo>
                  <a:pt x="553605" y="570532"/>
                </a:lnTo>
                <a:lnTo>
                  <a:pt x="726705" y="397432"/>
                </a:lnTo>
                <a:close/>
                <a:moveTo>
                  <a:pt x="1203798" y="378492"/>
                </a:moveTo>
                <a:lnTo>
                  <a:pt x="1030699" y="551591"/>
                </a:lnTo>
                <a:lnTo>
                  <a:pt x="1049632" y="570525"/>
                </a:lnTo>
                <a:lnTo>
                  <a:pt x="1222732" y="397425"/>
                </a:lnTo>
                <a:close/>
                <a:moveTo>
                  <a:pt x="0" y="0"/>
                </a:moveTo>
                <a:lnTo>
                  <a:pt x="12192000" y="0"/>
                </a:lnTo>
                <a:lnTo>
                  <a:pt x="12192000" y="6858000"/>
                </a:lnTo>
                <a:lnTo>
                  <a:pt x="0" y="6858000"/>
                </a:lnTo>
                <a:close/>
              </a:path>
            </a:pathLst>
          </a:custGeom>
          <a:pattFill prst="ltUpDiag">
            <a:fgClr>
              <a:schemeClr val="bg1">
                <a:lumMod val="95000"/>
              </a:schemeClr>
            </a:fgClr>
            <a:bgClr>
              <a:schemeClr val="bg1"/>
            </a:bgClr>
          </a:pattFill>
        </p:spPr>
        <p:txBody>
          <a:bodyPr wrap="square">
            <a:noAutofit/>
          </a:bodyPr>
          <a:lstStyle/>
          <a:p>
            <a:endParaRPr lang="en-US"/>
          </a:p>
        </p:txBody>
      </p:sp>
      <p:sp>
        <p:nvSpPr>
          <p:cNvPr id="2" name="title">
            <a:extLst>
              <a:ext uri="{FF2B5EF4-FFF2-40B4-BE49-F238E27FC236}">
                <a16:creationId xmlns:a16="http://schemas.microsoft.com/office/drawing/2014/main" id="{8FFCB50B-5503-4467-8A0F-9FBB8B48B97D}"/>
              </a:ext>
            </a:extLst>
          </p:cNvPr>
          <p:cNvSpPr>
            <a:spLocks noGrp="1"/>
          </p:cNvSpPr>
          <p:nvPr>
            <p:ph type="title"/>
          </p:nvPr>
        </p:nvSpPr>
        <p:spPr bwMode="gray"/>
        <p:txBody>
          <a:bodyPr lIns="0" tIns="0" rIns="0" bIns="0"/>
          <a:lstStyle/>
          <a:p>
            <a:r>
              <a:rPr lang="de-DE"/>
              <a:t>Mastertitelformat bearbeiten</a:t>
            </a:r>
            <a:endParaRPr lang="en-US"/>
          </a:p>
        </p:txBody>
      </p:sp>
      <p:sp>
        <p:nvSpPr>
          <p:cNvPr id="4" name="subtitle">
            <a:extLst>
              <a:ext uri="{FF2B5EF4-FFF2-40B4-BE49-F238E27FC236}">
                <a16:creationId xmlns:a16="http://schemas.microsoft.com/office/drawing/2014/main" id="{7086919D-8D03-4875-B9F0-05F0C8564079}"/>
              </a:ext>
            </a:extLst>
          </p:cNvPr>
          <p:cNvSpPr>
            <a:spLocks noGrp="1"/>
          </p:cNvSpPr>
          <p:nvPr>
            <p:ph type="body" sz="quarter" idx="14" hasCustomPrompt="1"/>
          </p:nvPr>
        </p:nvSpPr>
        <p:spPr bwMode="gray">
          <a:xfrm>
            <a:off x="525600" y="1022400"/>
            <a:ext cx="11138400" cy="504000"/>
          </a:xfrm>
        </p:spPr>
        <p:txBody>
          <a:bodyPr/>
          <a:lstStyle>
            <a:lvl1pPr>
              <a:lnSpc>
                <a:spcPct val="85000"/>
              </a:lnSpc>
              <a:spcBef>
                <a:spcPts val="0"/>
              </a:spcBef>
              <a:spcAft>
                <a:spcPts val="0"/>
              </a:spcAft>
              <a:defRPr sz="2000"/>
            </a:lvl1pPr>
          </a:lstStyle>
          <a:p>
            <a:pPr lvl="0"/>
            <a:r>
              <a:rPr lang="de-DE" err="1"/>
              <a:t>Subtitle</a:t>
            </a:r>
            <a:endParaRPr lang="en-US"/>
          </a:p>
        </p:txBody>
      </p:sp>
      <p:sp>
        <p:nvSpPr>
          <p:cNvPr id="11" name="line elements white">
            <a:extLst>
              <a:ext uri="{FF2B5EF4-FFF2-40B4-BE49-F238E27FC236}">
                <a16:creationId xmlns:a16="http://schemas.microsoft.com/office/drawing/2014/main" id="{CA10DE32-55CF-4E42-974F-4C265B4F0013}"/>
              </a:ext>
            </a:extLst>
          </p:cNvPr>
          <p:cNvSpPr>
            <a:spLocks noGrp="1"/>
          </p:cNvSpPr>
          <p:nvPr>
            <p:ph type="media" sz="quarter" idx="21"/>
          </p:nvPr>
        </p:nvSpPr>
        <p:spPr bwMode="gray">
          <a:xfrm>
            <a:off x="535123" y="380081"/>
            <a:ext cx="687600" cy="190800"/>
          </a:xfrm>
          <a: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a:blipFill>
        </p:spPr>
        <p:txBody>
          <a:bodyPr/>
          <a:lstStyle>
            <a:lvl1pPr>
              <a:defRPr sz="100">
                <a:solidFill>
                  <a:schemeClr val="bg1"/>
                </a:solidFill>
              </a:defRPr>
            </a:lvl1pPr>
          </a:lstStyle>
          <a:p>
            <a:endParaRPr lang="de-DE"/>
          </a:p>
        </p:txBody>
      </p:sp>
      <p:sp>
        <p:nvSpPr>
          <p:cNvPr id="25" name="logo drees&amp;sommer white">
            <a:extLst>
              <a:ext uri="{FF2B5EF4-FFF2-40B4-BE49-F238E27FC236}">
                <a16:creationId xmlns:a16="http://schemas.microsoft.com/office/drawing/2014/main" id="{BBD52182-BB05-4B63-AA99-000774620C1E}"/>
              </a:ext>
            </a:extLst>
          </p:cNvPr>
          <p:cNvSpPr>
            <a:spLocks noGrp="1"/>
          </p:cNvSpPr>
          <p:nvPr>
            <p:ph type="media" sz="quarter" idx="20"/>
          </p:nvPr>
        </p:nvSpPr>
        <p:spPr bwMode="gray">
          <a:xfrm>
            <a:off x="10716797" y="6330042"/>
            <a:ext cx="946800" cy="288000"/>
          </a:xfrm>
          <a:blipFill>
            <a:blip r:embed="rId4" cstate="print">
              <a:extLst>
                <a:ext uri="{28A0092B-C50C-407E-A947-70E740481C1C}">
                  <a14:useLocalDpi xmlns:a14="http://schemas.microsoft.com/office/drawing/2010/main"/>
                </a:ext>
              </a:extLst>
            </a:blip>
            <a:stretch>
              <a:fillRect/>
            </a:stretch>
          </a:blipFill>
          <a:ln w="15875" cap="flat">
            <a:noFill/>
            <a:prstDash val="lgDash"/>
          </a:ln>
        </p:spPr>
        <p:txBody>
          <a:bodyPr/>
          <a:lstStyle>
            <a:lvl1pPr>
              <a:defRPr sz="100">
                <a:solidFill>
                  <a:schemeClr val="bg1"/>
                </a:solidFill>
              </a:defRPr>
            </a:lvl1pPr>
          </a:lstStyle>
          <a:p>
            <a:endParaRPr lang="de-DE"/>
          </a:p>
        </p:txBody>
      </p:sp>
      <p:sp>
        <p:nvSpPr>
          <p:cNvPr id="19" name="info">
            <a:extLst>
              <a:ext uri="{FF2B5EF4-FFF2-40B4-BE49-F238E27FC236}">
                <a16:creationId xmlns:a16="http://schemas.microsoft.com/office/drawing/2014/main" id="{F41D21D2-B095-4C34-9EA0-50C925B227FB}"/>
              </a:ext>
            </a:extLst>
          </p:cNvPr>
          <p:cNvSpPr/>
          <p:nvPr userDrawn="1"/>
        </p:nvSpPr>
        <p:spPr bwMode="gray">
          <a:xfrm flipH="1">
            <a:off x="12247320" y="6288645"/>
            <a:ext cx="1579616" cy="370793"/>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36000" rtlCol="0" anchor="ctr">
            <a:spAutoFit/>
          </a:bodyPr>
          <a:lstStyle/>
          <a:p>
            <a:pPr algn="ctr">
              <a:lnSpc>
                <a:spcPct val="80000"/>
              </a:lnSpc>
              <a:spcBef>
                <a:spcPts val="400"/>
              </a:spcBef>
              <a:spcAft>
                <a:spcPts val="400"/>
              </a:spcAft>
            </a:pPr>
            <a:r>
              <a:rPr lang="en-US" sz="1050">
                <a:solidFill>
                  <a:schemeClr val="bg1"/>
                </a:solidFill>
              </a:rPr>
              <a:t>delete the white logo </a:t>
            </a:r>
            <a:br>
              <a:rPr lang="en-US" sz="1050">
                <a:solidFill>
                  <a:schemeClr val="bg1"/>
                </a:solidFill>
              </a:rPr>
            </a:br>
            <a:r>
              <a:rPr lang="en-US" sz="1050">
                <a:solidFill>
                  <a:schemeClr val="bg1"/>
                </a:solidFill>
              </a:rPr>
              <a:t>to get the BLUE LOGO</a:t>
            </a:r>
            <a:endParaRPr lang="de-DE" sz="1050">
              <a:solidFill>
                <a:schemeClr val="bg1"/>
              </a:solidFill>
            </a:endParaRPr>
          </a:p>
        </p:txBody>
      </p:sp>
      <p:sp>
        <p:nvSpPr>
          <p:cNvPr id="6" name="slide number">
            <a:extLst>
              <a:ext uri="{FF2B5EF4-FFF2-40B4-BE49-F238E27FC236}">
                <a16:creationId xmlns:a16="http://schemas.microsoft.com/office/drawing/2014/main" id="{90B54C2D-8235-4852-8EB7-5E05529B2499}"/>
              </a:ext>
            </a:extLst>
          </p:cNvPr>
          <p:cNvSpPr>
            <a:spLocks noGrp="1"/>
          </p:cNvSpPr>
          <p:nvPr>
            <p:ph type="sldNum" sz="quarter" idx="12"/>
          </p:nvPr>
        </p:nvSpPr>
        <p:spPr bwMode="gray">
          <a:xfrm>
            <a:off x="525600" y="7200000"/>
            <a:ext cx="234000" cy="180000"/>
          </a:xfrm>
        </p:spPr>
        <p:txBody>
          <a:bodyPr lIns="0" tIns="0" rIns="0" bIns="0"/>
          <a:lstStyle/>
          <a:p>
            <a:fld id="{9829449A-3FF3-45CE-9F4F-09BADC0910C6}" type="slidenum">
              <a:rPr lang="en-US" smtClean="0"/>
              <a:t>‹Nr.›</a:t>
            </a:fld>
            <a:endParaRPr lang="en-US"/>
          </a:p>
        </p:txBody>
      </p:sp>
      <p:sp>
        <p:nvSpPr>
          <p:cNvPr id="5" name="footer">
            <a:extLst>
              <a:ext uri="{FF2B5EF4-FFF2-40B4-BE49-F238E27FC236}">
                <a16:creationId xmlns:a16="http://schemas.microsoft.com/office/drawing/2014/main" id="{A4534FC4-D037-44B0-B266-D9E820FC1DF2}"/>
              </a:ext>
            </a:extLst>
          </p:cNvPr>
          <p:cNvSpPr>
            <a:spLocks noGrp="1"/>
          </p:cNvSpPr>
          <p:nvPr>
            <p:ph type="ftr" sz="quarter" idx="11"/>
          </p:nvPr>
        </p:nvSpPr>
        <p:spPr bwMode="gray">
          <a:xfrm>
            <a:off x="763200" y="7200000"/>
            <a:ext cx="7880400" cy="180000"/>
          </a:xfrm>
        </p:spPr>
        <p:txBody>
          <a:bodyPr lIns="0" tIns="0" rIns="0" bIns="0"/>
          <a:lstStyle/>
          <a:p>
            <a:endParaRPr lang="en-US"/>
          </a:p>
        </p:txBody>
      </p:sp>
      <p:sp>
        <p:nvSpPr>
          <p:cNvPr id="13" name="info">
            <a:extLst>
              <a:ext uri="{FF2B5EF4-FFF2-40B4-BE49-F238E27FC236}">
                <a16:creationId xmlns:a16="http://schemas.microsoft.com/office/drawing/2014/main" id="{FC1BB2CD-AFC9-4C3C-85BC-4BF57BD31D56}"/>
              </a:ext>
            </a:extLst>
          </p:cNvPr>
          <p:cNvSpPr/>
          <p:nvPr userDrawn="1"/>
        </p:nvSpPr>
        <p:spPr bwMode="gray">
          <a:xfrm>
            <a:off x="-1623860" y="221667"/>
            <a:ext cx="1579616" cy="500059"/>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36000" rtlCol="0" anchor="ctr">
            <a:spAutoFit/>
          </a:bodyPr>
          <a:lstStyle/>
          <a:p>
            <a:pPr algn="ctr">
              <a:lnSpc>
                <a:spcPct val="80000"/>
              </a:lnSpc>
              <a:spcBef>
                <a:spcPts val="400"/>
              </a:spcBef>
              <a:spcAft>
                <a:spcPts val="400"/>
              </a:spcAft>
            </a:pPr>
            <a:r>
              <a:rPr lang="en-US" sz="1050">
                <a:solidFill>
                  <a:schemeClr val="bg1"/>
                </a:solidFill>
              </a:rPr>
              <a:t>delete the white line elements to get the GREY LINE ELEMENTS</a:t>
            </a:r>
            <a:endParaRPr lang="de-DE" sz="1050">
              <a:solidFill>
                <a:schemeClr val="bg1"/>
              </a:solidFill>
            </a:endParaRPr>
          </a:p>
        </p:txBody>
      </p:sp>
    </p:spTree>
    <p:extLst>
      <p:ext uri="{BB962C8B-B14F-4D97-AF65-F5344CB8AC3E}">
        <p14:creationId xmlns:p14="http://schemas.microsoft.com/office/powerpoint/2010/main" val="469789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644"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ull Picture &amp; Text left">
    <p:spTree>
      <p:nvGrpSpPr>
        <p:cNvPr id="1" name=""/>
        <p:cNvGrpSpPr/>
        <p:nvPr/>
      </p:nvGrpSpPr>
      <p:grpSpPr>
        <a:xfrm>
          <a:off x="0" y="0"/>
          <a:ext cx="0" cy="0"/>
          <a:chOff x="0" y="0"/>
          <a:chExt cx="0" cy="0"/>
        </a:xfrm>
      </p:grpSpPr>
      <p:sp>
        <p:nvSpPr>
          <p:cNvPr id="9" name="logo drees&amp;sommer blue mask">
            <a:extLst>
              <a:ext uri="{FF2B5EF4-FFF2-40B4-BE49-F238E27FC236}">
                <a16:creationId xmlns:a16="http://schemas.microsoft.com/office/drawing/2014/main" id="{33304AC1-9FC7-4CD1-B187-4B9B909554D9}"/>
              </a:ext>
            </a:extLst>
          </p:cNvPr>
          <p:cNvSpPr/>
          <p:nvPr userDrawn="1"/>
        </p:nvSpPr>
        <p:spPr bwMode="gray">
          <a:xfrm>
            <a:off x="10579100" y="6197600"/>
            <a:ext cx="1270000" cy="584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400"/>
              </a:spcBef>
              <a:spcAft>
                <a:spcPts val="400"/>
              </a:spcAft>
            </a:pPr>
            <a:endParaRPr lang="de-DE" sz="1400"/>
          </a:p>
        </p:txBody>
      </p:sp>
      <p:sp>
        <p:nvSpPr>
          <p:cNvPr id="63" name="picture">
            <a:extLst>
              <a:ext uri="{FF2B5EF4-FFF2-40B4-BE49-F238E27FC236}">
                <a16:creationId xmlns:a16="http://schemas.microsoft.com/office/drawing/2014/main" id="{0AB119A3-268C-47E5-B9D2-1180769BCC96}"/>
              </a:ext>
            </a:extLst>
          </p:cNvPr>
          <p:cNvSpPr>
            <a:spLocks noGrp="1"/>
          </p:cNvSpPr>
          <p:nvPr>
            <p:ph type="pic" sz="quarter" idx="18"/>
          </p:nvPr>
        </p:nvSpPr>
        <p:spPr bwMode="gray">
          <a:xfrm>
            <a:off x="0" y="1"/>
            <a:ext cx="12192000" cy="6858000"/>
          </a:xfrm>
          <a:custGeom>
            <a:avLst/>
            <a:gdLst>
              <a:gd name="connsiteX0" fmla="*/ 10909343 w 12192000"/>
              <a:gd name="connsiteY0" fmla="*/ 6535878 h 6858000"/>
              <a:gd name="connsiteX1" fmla="*/ 10992168 w 12192000"/>
              <a:gd name="connsiteY1" fmla="*/ 6535878 h 6858000"/>
              <a:gd name="connsiteX2" fmla="*/ 10992168 w 12192000"/>
              <a:gd name="connsiteY2" fmla="*/ 6598744 h 6858000"/>
              <a:gd name="connsiteX3" fmla="*/ 10909343 w 12192000"/>
              <a:gd name="connsiteY3" fmla="*/ 6598744 h 6858000"/>
              <a:gd name="connsiteX4" fmla="*/ 11563256 w 12192000"/>
              <a:gd name="connsiteY4" fmla="*/ 6534689 h 6858000"/>
              <a:gd name="connsiteX5" fmla="*/ 11619215 w 12192000"/>
              <a:gd name="connsiteY5" fmla="*/ 6534689 h 6858000"/>
              <a:gd name="connsiteX6" fmla="*/ 11630409 w 12192000"/>
              <a:gd name="connsiteY6" fmla="*/ 6542785 h 6858000"/>
              <a:gd name="connsiteX7" fmla="*/ 11630409 w 12192000"/>
              <a:gd name="connsiteY7" fmla="*/ 6554454 h 6858000"/>
              <a:gd name="connsiteX8" fmla="*/ 11619215 w 12192000"/>
              <a:gd name="connsiteY8" fmla="*/ 6562549 h 6858000"/>
              <a:gd name="connsiteX9" fmla="*/ 11563256 w 12192000"/>
              <a:gd name="connsiteY9" fmla="*/ 6562549 h 6858000"/>
              <a:gd name="connsiteX10" fmla="*/ 10910306 w 12192000"/>
              <a:gd name="connsiteY10" fmla="*/ 6517317 h 6858000"/>
              <a:gd name="connsiteX11" fmla="*/ 10883590 w 12192000"/>
              <a:gd name="connsiteY11" fmla="*/ 6541121 h 6858000"/>
              <a:gd name="connsiteX12" fmla="*/ 10883590 w 12192000"/>
              <a:gd name="connsiteY12" fmla="*/ 6594222 h 6858000"/>
              <a:gd name="connsiteX13" fmla="*/ 10910306 w 12192000"/>
              <a:gd name="connsiteY13" fmla="*/ 6618041 h 6858000"/>
              <a:gd name="connsiteX14" fmla="*/ 10989730 w 12192000"/>
              <a:gd name="connsiteY14" fmla="*/ 6618041 h 6858000"/>
              <a:gd name="connsiteX15" fmla="*/ 11016446 w 12192000"/>
              <a:gd name="connsiteY15" fmla="*/ 6594222 h 6858000"/>
              <a:gd name="connsiteX16" fmla="*/ 11016446 w 12192000"/>
              <a:gd name="connsiteY16" fmla="*/ 6541121 h 6858000"/>
              <a:gd name="connsiteX17" fmla="*/ 10989730 w 12192000"/>
              <a:gd name="connsiteY17" fmla="*/ 6517317 h 6858000"/>
              <a:gd name="connsiteX18" fmla="*/ 11538985 w 12192000"/>
              <a:gd name="connsiteY18" fmla="*/ 6517310 h 6858000"/>
              <a:gd name="connsiteX19" fmla="*/ 11538985 w 12192000"/>
              <a:gd name="connsiteY19" fmla="*/ 6618034 h 6858000"/>
              <a:gd name="connsiteX20" fmla="*/ 11563263 w 12192000"/>
              <a:gd name="connsiteY20" fmla="*/ 6618034 h 6858000"/>
              <a:gd name="connsiteX21" fmla="*/ 11563263 w 12192000"/>
              <a:gd name="connsiteY21" fmla="*/ 6579928 h 6858000"/>
              <a:gd name="connsiteX22" fmla="*/ 11586360 w 12192000"/>
              <a:gd name="connsiteY22" fmla="*/ 6579928 h 6858000"/>
              <a:gd name="connsiteX23" fmla="*/ 11628506 w 12192000"/>
              <a:gd name="connsiteY23" fmla="*/ 6618034 h 6858000"/>
              <a:gd name="connsiteX24" fmla="*/ 11663753 w 12192000"/>
              <a:gd name="connsiteY24" fmla="*/ 6618034 h 6858000"/>
              <a:gd name="connsiteX25" fmla="*/ 11615897 w 12192000"/>
              <a:gd name="connsiteY25" fmla="*/ 6579928 h 6858000"/>
              <a:gd name="connsiteX26" fmla="*/ 11629710 w 12192000"/>
              <a:gd name="connsiteY26" fmla="*/ 6579928 h 6858000"/>
              <a:gd name="connsiteX27" fmla="*/ 11653280 w 12192000"/>
              <a:gd name="connsiteY27" fmla="*/ 6560638 h 6858000"/>
              <a:gd name="connsiteX28" fmla="*/ 11653280 w 12192000"/>
              <a:gd name="connsiteY28" fmla="*/ 6536834 h 6858000"/>
              <a:gd name="connsiteX29" fmla="*/ 11629710 w 12192000"/>
              <a:gd name="connsiteY29" fmla="*/ 6517310 h 6858000"/>
              <a:gd name="connsiteX30" fmla="*/ 11401645 w 12192000"/>
              <a:gd name="connsiteY30" fmla="*/ 6517310 h 6858000"/>
              <a:gd name="connsiteX31" fmla="*/ 11401645 w 12192000"/>
              <a:gd name="connsiteY31" fmla="*/ 6618034 h 6858000"/>
              <a:gd name="connsiteX32" fmla="*/ 11513119 w 12192000"/>
              <a:gd name="connsiteY32" fmla="*/ 6618034 h 6858000"/>
              <a:gd name="connsiteX33" fmla="*/ 11513119 w 12192000"/>
              <a:gd name="connsiteY33" fmla="*/ 6599218 h 6858000"/>
              <a:gd name="connsiteX34" fmla="*/ 11426909 w 12192000"/>
              <a:gd name="connsiteY34" fmla="*/ 6599218 h 6858000"/>
              <a:gd name="connsiteX35" fmla="*/ 11426909 w 12192000"/>
              <a:gd name="connsiteY35" fmla="*/ 6574451 h 6858000"/>
              <a:gd name="connsiteX36" fmla="*/ 11476458 w 12192000"/>
              <a:gd name="connsiteY36" fmla="*/ 6574451 h 6858000"/>
              <a:gd name="connsiteX37" fmla="*/ 11476458 w 12192000"/>
              <a:gd name="connsiteY37" fmla="*/ 6557072 h 6858000"/>
              <a:gd name="connsiteX38" fmla="*/ 11426909 w 12192000"/>
              <a:gd name="connsiteY38" fmla="*/ 6557072 h 6858000"/>
              <a:gd name="connsiteX39" fmla="*/ 11426909 w 12192000"/>
              <a:gd name="connsiteY39" fmla="*/ 6535178 h 6858000"/>
              <a:gd name="connsiteX40" fmla="*/ 11511908 w 12192000"/>
              <a:gd name="connsiteY40" fmla="*/ 6535178 h 6858000"/>
              <a:gd name="connsiteX41" fmla="*/ 11511908 w 12192000"/>
              <a:gd name="connsiteY41" fmla="*/ 6517310 h 6858000"/>
              <a:gd name="connsiteX42" fmla="*/ 11225454 w 12192000"/>
              <a:gd name="connsiteY42" fmla="*/ 6517310 h 6858000"/>
              <a:gd name="connsiteX43" fmla="*/ 11225454 w 12192000"/>
              <a:gd name="connsiteY43" fmla="*/ 6618034 h 6858000"/>
              <a:gd name="connsiteX44" fmla="*/ 11248423 w 12192000"/>
              <a:gd name="connsiteY44" fmla="*/ 6618034 h 6858000"/>
              <a:gd name="connsiteX45" fmla="*/ 11248423 w 12192000"/>
              <a:gd name="connsiteY45" fmla="*/ 6550413 h 6858000"/>
              <a:gd name="connsiteX46" fmla="*/ 11294805 w 12192000"/>
              <a:gd name="connsiteY46" fmla="*/ 6605891 h 6858000"/>
              <a:gd name="connsiteX47" fmla="*/ 11299665 w 12192000"/>
              <a:gd name="connsiteY47" fmla="*/ 6605891 h 6858000"/>
              <a:gd name="connsiteX48" fmla="*/ 11345558 w 12192000"/>
              <a:gd name="connsiteY48" fmla="*/ 6548736 h 6858000"/>
              <a:gd name="connsiteX49" fmla="*/ 11345558 w 12192000"/>
              <a:gd name="connsiteY49" fmla="*/ 6618034 h 6858000"/>
              <a:gd name="connsiteX50" fmla="*/ 11368873 w 12192000"/>
              <a:gd name="connsiteY50" fmla="*/ 6618034 h 6858000"/>
              <a:gd name="connsiteX51" fmla="*/ 11368873 w 12192000"/>
              <a:gd name="connsiteY51" fmla="*/ 6517310 h 6858000"/>
              <a:gd name="connsiteX52" fmla="*/ 11348725 w 12192000"/>
              <a:gd name="connsiteY52" fmla="*/ 6517310 h 6858000"/>
              <a:gd name="connsiteX53" fmla="*/ 11298687 w 12192000"/>
              <a:gd name="connsiteY53" fmla="*/ 6577069 h 6858000"/>
              <a:gd name="connsiteX54" fmla="*/ 11248423 w 12192000"/>
              <a:gd name="connsiteY54" fmla="*/ 6517310 h 6858000"/>
              <a:gd name="connsiteX55" fmla="*/ 11048135 w 12192000"/>
              <a:gd name="connsiteY55" fmla="*/ 6517310 h 6858000"/>
              <a:gd name="connsiteX56" fmla="*/ 11048135 w 12192000"/>
              <a:gd name="connsiteY56" fmla="*/ 6618034 h 6858000"/>
              <a:gd name="connsiteX57" fmla="*/ 11071096 w 12192000"/>
              <a:gd name="connsiteY57" fmla="*/ 6618034 h 6858000"/>
              <a:gd name="connsiteX58" fmla="*/ 11071096 w 12192000"/>
              <a:gd name="connsiteY58" fmla="*/ 6550413 h 6858000"/>
              <a:gd name="connsiteX59" fmla="*/ 11117478 w 12192000"/>
              <a:gd name="connsiteY59" fmla="*/ 6605891 h 6858000"/>
              <a:gd name="connsiteX60" fmla="*/ 11122331 w 12192000"/>
              <a:gd name="connsiteY60" fmla="*/ 6605891 h 6858000"/>
              <a:gd name="connsiteX61" fmla="*/ 11168239 w 12192000"/>
              <a:gd name="connsiteY61" fmla="*/ 6548736 h 6858000"/>
              <a:gd name="connsiteX62" fmla="*/ 11168239 w 12192000"/>
              <a:gd name="connsiteY62" fmla="*/ 6618034 h 6858000"/>
              <a:gd name="connsiteX63" fmla="*/ 11191554 w 12192000"/>
              <a:gd name="connsiteY63" fmla="*/ 6618034 h 6858000"/>
              <a:gd name="connsiteX64" fmla="*/ 11191554 w 12192000"/>
              <a:gd name="connsiteY64" fmla="*/ 6517310 h 6858000"/>
              <a:gd name="connsiteX65" fmla="*/ 11171399 w 12192000"/>
              <a:gd name="connsiteY65" fmla="*/ 6517310 h 6858000"/>
              <a:gd name="connsiteX66" fmla="*/ 11121368 w 12192000"/>
              <a:gd name="connsiteY66" fmla="*/ 6577069 h 6858000"/>
              <a:gd name="connsiteX67" fmla="*/ 11071096 w 12192000"/>
              <a:gd name="connsiteY67" fmla="*/ 6517310 h 6858000"/>
              <a:gd name="connsiteX68" fmla="*/ 10752277 w 12192000"/>
              <a:gd name="connsiteY68" fmla="*/ 6495161 h 6858000"/>
              <a:gd name="connsiteX69" fmla="*/ 10721799 w 12192000"/>
              <a:gd name="connsiteY69" fmla="*/ 6524217 h 6858000"/>
              <a:gd name="connsiteX70" fmla="*/ 10721799 w 12192000"/>
              <a:gd name="connsiteY70" fmla="*/ 6537774 h 6858000"/>
              <a:gd name="connsiteX71" fmla="*/ 10752277 w 12192000"/>
              <a:gd name="connsiteY71" fmla="*/ 6566829 h 6858000"/>
              <a:gd name="connsiteX72" fmla="*/ 10828955 w 12192000"/>
              <a:gd name="connsiteY72" fmla="*/ 6566829 h 6858000"/>
              <a:gd name="connsiteX73" fmla="*/ 10828955 w 12192000"/>
              <a:gd name="connsiteY73" fmla="*/ 6594929 h 6858000"/>
              <a:gd name="connsiteX74" fmla="*/ 10742052 w 12192000"/>
              <a:gd name="connsiteY74" fmla="*/ 6594929 h 6858000"/>
              <a:gd name="connsiteX75" fmla="*/ 10742052 w 12192000"/>
              <a:gd name="connsiteY75" fmla="*/ 6581703 h 6858000"/>
              <a:gd name="connsiteX76" fmla="*/ 10716796 w 12192000"/>
              <a:gd name="connsiteY76" fmla="*/ 6586947 h 6858000"/>
              <a:gd name="connsiteX77" fmla="*/ 10716796 w 12192000"/>
              <a:gd name="connsiteY77" fmla="*/ 6588978 h 6858000"/>
              <a:gd name="connsiteX78" fmla="*/ 10747514 w 12192000"/>
              <a:gd name="connsiteY78" fmla="*/ 6618026 h 6858000"/>
              <a:gd name="connsiteX79" fmla="*/ 10823486 w 12192000"/>
              <a:gd name="connsiteY79" fmla="*/ 6618026 h 6858000"/>
              <a:gd name="connsiteX80" fmla="*/ 10854204 w 12192000"/>
              <a:gd name="connsiteY80" fmla="*/ 6588978 h 6858000"/>
              <a:gd name="connsiteX81" fmla="*/ 10854204 w 12192000"/>
              <a:gd name="connsiteY81" fmla="*/ 6572073 h 6858000"/>
              <a:gd name="connsiteX82" fmla="*/ 10823486 w 12192000"/>
              <a:gd name="connsiteY82" fmla="*/ 6543018 h 6858000"/>
              <a:gd name="connsiteX83" fmla="*/ 10746799 w 12192000"/>
              <a:gd name="connsiteY83" fmla="*/ 6543018 h 6858000"/>
              <a:gd name="connsiteX84" fmla="*/ 10746799 w 12192000"/>
              <a:gd name="connsiteY84" fmla="*/ 6516595 h 6858000"/>
              <a:gd name="connsiteX85" fmla="*/ 10827285 w 12192000"/>
              <a:gd name="connsiteY85" fmla="*/ 6516595 h 6858000"/>
              <a:gd name="connsiteX86" fmla="*/ 10827285 w 12192000"/>
              <a:gd name="connsiteY86" fmla="*/ 6529904 h 6858000"/>
              <a:gd name="connsiteX87" fmla="*/ 10852526 w 12192000"/>
              <a:gd name="connsiteY87" fmla="*/ 6523953 h 6858000"/>
              <a:gd name="connsiteX88" fmla="*/ 10852526 w 12192000"/>
              <a:gd name="connsiteY88" fmla="*/ 6522073 h 6858000"/>
              <a:gd name="connsiteX89" fmla="*/ 10822049 w 12192000"/>
              <a:gd name="connsiteY89" fmla="*/ 6495161 h 6858000"/>
              <a:gd name="connsiteX90" fmla="*/ 11554221 w 12192000"/>
              <a:gd name="connsiteY90" fmla="*/ 6392872 h 6858000"/>
              <a:gd name="connsiteX91" fmla="*/ 11591123 w 12192000"/>
              <a:gd name="connsiteY91" fmla="*/ 6423590 h 6858000"/>
              <a:gd name="connsiteX92" fmla="*/ 11579695 w 12192000"/>
              <a:gd name="connsiteY92" fmla="*/ 6433348 h 6858000"/>
              <a:gd name="connsiteX93" fmla="*/ 11522795 w 12192000"/>
              <a:gd name="connsiteY93" fmla="*/ 6433348 h 6858000"/>
              <a:gd name="connsiteX94" fmla="*/ 11522795 w 12192000"/>
              <a:gd name="connsiteY94" fmla="*/ 6433341 h 6858000"/>
              <a:gd name="connsiteX95" fmla="*/ 11522795 w 12192000"/>
              <a:gd name="connsiteY95" fmla="*/ 6412395 h 6858000"/>
              <a:gd name="connsiteX96" fmla="*/ 10923532 w 12192000"/>
              <a:gd name="connsiteY96" fmla="*/ 6371438 h 6858000"/>
              <a:gd name="connsiteX97" fmla="*/ 10979491 w 12192000"/>
              <a:gd name="connsiteY97" fmla="*/ 6371438 h 6858000"/>
              <a:gd name="connsiteX98" fmla="*/ 10990685 w 12192000"/>
              <a:gd name="connsiteY98" fmla="*/ 6379533 h 6858000"/>
              <a:gd name="connsiteX99" fmla="*/ 10990685 w 12192000"/>
              <a:gd name="connsiteY99" fmla="*/ 6391202 h 6858000"/>
              <a:gd name="connsiteX100" fmla="*/ 10979491 w 12192000"/>
              <a:gd name="connsiteY100" fmla="*/ 6399297 h 6858000"/>
              <a:gd name="connsiteX101" fmla="*/ 10923532 w 12192000"/>
              <a:gd name="connsiteY101" fmla="*/ 6399297 h 6858000"/>
              <a:gd name="connsiteX102" fmla="*/ 11349305 w 12192000"/>
              <a:gd name="connsiteY102" fmla="*/ 6354059 h 6858000"/>
              <a:gd name="connsiteX103" fmla="*/ 11322868 w 12192000"/>
              <a:gd name="connsiteY103" fmla="*/ 6377878 h 6858000"/>
              <a:gd name="connsiteX104" fmla="*/ 11322868 w 12192000"/>
              <a:gd name="connsiteY104" fmla="*/ 6389073 h 6858000"/>
              <a:gd name="connsiteX105" fmla="*/ 11349305 w 12192000"/>
              <a:gd name="connsiteY105" fmla="*/ 6412877 h 6858000"/>
              <a:gd name="connsiteX106" fmla="*/ 11414541 w 12192000"/>
              <a:gd name="connsiteY106" fmla="*/ 6412877 h 6858000"/>
              <a:gd name="connsiteX107" fmla="*/ 11414541 w 12192000"/>
              <a:gd name="connsiteY107" fmla="*/ 6435982 h 6858000"/>
              <a:gd name="connsiteX108" fmla="*/ 11340480 w 12192000"/>
              <a:gd name="connsiteY108" fmla="*/ 6435982 h 6858000"/>
              <a:gd name="connsiteX109" fmla="*/ 11340480 w 12192000"/>
              <a:gd name="connsiteY109" fmla="*/ 6425374 h 6858000"/>
              <a:gd name="connsiteX110" fmla="*/ 11318587 w 12192000"/>
              <a:gd name="connsiteY110" fmla="*/ 6429429 h 6858000"/>
              <a:gd name="connsiteX111" fmla="*/ 11318587 w 12192000"/>
              <a:gd name="connsiteY111" fmla="*/ 6430979 h 6858000"/>
              <a:gd name="connsiteX112" fmla="*/ 11345009 w 12192000"/>
              <a:gd name="connsiteY112" fmla="*/ 6454783 h 6858000"/>
              <a:gd name="connsiteX113" fmla="*/ 11410501 w 12192000"/>
              <a:gd name="connsiteY113" fmla="*/ 6454783 h 6858000"/>
              <a:gd name="connsiteX114" fmla="*/ 11436690 w 12192000"/>
              <a:gd name="connsiteY114" fmla="*/ 6430979 h 6858000"/>
              <a:gd name="connsiteX115" fmla="*/ 11436690 w 12192000"/>
              <a:gd name="connsiteY115" fmla="*/ 6417165 h 6858000"/>
              <a:gd name="connsiteX116" fmla="*/ 11410501 w 12192000"/>
              <a:gd name="connsiteY116" fmla="*/ 6393361 h 6858000"/>
              <a:gd name="connsiteX117" fmla="*/ 11345009 w 12192000"/>
              <a:gd name="connsiteY117" fmla="*/ 6393361 h 6858000"/>
              <a:gd name="connsiteX118" fmla="*/ 11345009 w 12192000"/>
              <a:gd name="connsiteY118" fmla="*/ 6372153 h 6858000"/>
              <a:gd name="connsiteX119" fmla="*/ 11414300 w 12192000"/>
              <a:gd name="connsiteY119" fmla="*/ 6372153 h 6858000"/>
              <a:gd name="connsiteX120" fmla="*/ 11414300 w 12192000"/>
              <a:gd name="connsiteY120" fmla="*/ 6381564 h 6858000"/>
              <a:gd name="connsiteX121" fmla="*/ 11435486 w 12192000"/>
              <a:gd name="connsiteY121" fmla="*/ 6377050 h 6858000"/>
              <a:gd name="connsiteX122" fmla="*/ 11435486 w 12192000"/>
              <a:gd name="connsiteY122" fmla="*/ 6375967 h 6858000"/>
              <a:gd name="connsiteX123" fmla="*/ 11409064 w 12192000"/>
              <a:gd name="connsiteY123" fmla="*/ 6354059 h 6858000"/>
              <a:gd name="connsiteX124" fmla="*/ 11184971 w 12192000"/>
              <a:gd name="connsiteY124" fmla="*/ 6354059 h 6858000"/>
              <a:gd name="connsiteX125" fmla="*/ 11184971 w 12192000"/>
              <a:gd name="connsiteY125" fmla="*/ 6454775 h 6858000"/>
              <a:gd name="connsiteX126" fmla="*/ 11294264 w 12192000"/>
              <a:gd name="connsiteY126" fmla="*/ 6454775 h 6858000"/>
              <a:gd name="connsiteX127" fmla="*/ 11294264 w 12192000"/>
              <a:gd name="connsiteY127" fmla="*/ 6435966 h 6858000"/>
              <a:gd name="connsiteX128" fmla="*/ 11209738 w 12192000"/>
              <a:gd name="connsiteY128" fmla="*/ 6435966 h 6858000"/>
              <a:gd name="connsiteX129" fmla="*/ 11209738 w 12192000"/>
              <a:gd name="connsiteY129" fmla="*/ 6411199 h 6858000"/>
              <a:gd name="connsiteX130" fmla="*/ 11258310 w 12192000"/>
              <a:gd name="connsiteY130" fmla="*/ 6411199 h 6858000"/>
              <a:gd name="connsiteX131" fmla="*/ 11258310 w 12192000"/>
              <a:gd name="connsiteY131" fmla="*/ 6393820 h 6858000"/>
              <a:gd name="connsiteX132" fmla="*/ 11209738 w 12192000"/>
              <a:gd name="connsiteY132" fmla="*/ 6393820 h 6858000"/>
              <a:gd name="connsiteX133" fmla="*/ 11209738 w 12192000"/>
              <a:gd name="connsiteY133" fmla="*/ 6371912 h 6858000"/>
              <a:gd name="connsiteX134" fmla="*/ 11293083 w 12192000"/>
              <a:gd name="connsiteY134" fmla="*/ 6371912 h 6858000"/>
              <a:gd name="connsiteX135" fmla="*/ 11293083 w 12192000"/>
              <a:gd name="connsiteY135" fmla="*/ 6354059 h 6858000"/>
              <a:gd name="connsiteX136" fmla="*/ 11047262 w 12192000"/>
              <a:gd name="connsiteY136" fmla="*/ 6354059 h 6858000"/>
              <a:gd name="connsiteX137" fmla="*/ 11047262 w 12192000"/>
              <a:gd name="connsiteY137" fmla="*/ 6454775 h 6858000"/>
              <a:gd name="connsiteX138" fmla="*/ 11156555 w 12192000"/>
              <a:gd name="connsiteY138" fmla="*/ 6454775 h 6858000"/>
              <a:gd name="connsiteX139" fmla="*/ 11156555 w 12192000"/>
              <a:gd name="connsiteY139" fmla="*/ 6435966 h 6858000"/>
              <a:gd name="connsiteX140" fmla="*/ 11072029 w 12192000"/>
              <a:gd name="connsiteY140" fmla="*/ 6435966 h 6858000"/>
              <a:gd name="connsiteX141" fmla="*/ 11072029 w 12192000"/>
              <a:gd name="connsiteY141" fmla="*/ 6411199 h 6858000"/>
              <a:gd name="connsiteX142" fmla="*/ 11120601 w 12192000"/>
              <a:gd name="connsiteY142" fmla="*/ 6411199 h 6858000"/>
              <a:gd name="connsiteX143" fmla="*/ 11120601 w 12192000"/>
              <a:gd name="connsiteY143" fmla="*/ 6393820 h 6858000"/>
              <a:gd name="connsiteX144" fmla="*/ 11072029 w 12192000"/>
              <a:gd name="connsiteY144" fmla="*/ 6393820 h 6858000"/>
              <a:gd name="connsiteX145" fmla="*/ 11072029 w 12192000"/>
              <a:gd name="connsiteY145" fmla="*/ 6371912 h 6858000"/>
              <a:gd name="connsiteX146" fmla="*/ 11155374 w 12192000"/>
              <a:gd name="connsiteY146" fmla="*/ 6371912 h 6858000"/>
              <a:gd name="connsiteX147" fmla="*/ 11155374 w 12192000"/>
              <a:gd name="connsiteY147" fmla="*/ 6354059 h 6858000"/>
              <a:gd name="connsiteX148" fmla="*/ 10899246 w 12192000"/>
              <a:gd name="connsiteY148" fmla="*/ 6354059 h 6858000"/>
              <a:gd name="connsiteX149" fmla="*/ 10899246 w 12192000"/>
              <a:gd name="connsiteY149" fmla="*/ 6454775 h 6858000"/>
              <a:gd name="connsiteX150" fmla="*/ 10923539 w 12192000"/>
              <a:gd name="connsiteY150" fmla="*/ 6454775 h 6858000"/>
              <a:gd name="connsiteX151" fmla="*/ 10923539 w 12192000"/>
              <a:gd name="connsiteY151" fmla="*/ 6416669 h 6858000"/>
              <a:gd name="connsiteX152" fmla="*/ 10946636 w 12192000"/>
              <a:gd name="connsiteY152" fmla="*/ 6416669 h 6858000"/>
              <a:gd name="connsiteX153" fmla="*/ 10988782 w 12192000"/>
              <a:gd name="connsiteY153" fmla="*/ 6454775 h 6858000"/>
              <a:gd name="connsiteX154" fmla="*/ 11024029 w 12192000"/>
              <a:gd name="connsiteY154" fmla="*/ 6454775 h 6858000"/>
              <a:gd name="connsiteX155" fmla="*/ 10976158 w 12192000"/>
              <a:gd name="connsiteY155" fmla="*/ 6416669 h 6858000"/>
              <a:gd name="connsiteX156" fmla="*/ 10989971 w 12192000"/>
              <a:gd name="connsiteY156" fmla="*/ 6416669 h 6858000"/>
              <a:gd name="connsiteX157" fmla="*/ 11013549 w 12192000"/>
              <a:gd name="connsiteY157" fmla="*/ 6397394 h 6858000"/>
              <a:gd name="connsiteX158" fmla="*/ 11013549 w 12192000"/>
              <a:gd name="connsiteY158" fmla="*/ 6373582 h 6858000"/>
              <a:gd name="connsiteX159" fmla="*/ 10989971 w 12192000"/>
              <a:gd name="connsiteY159" fmla="*/ 6354059 h 6858000"/>
              <a:gd name="connsiteX160" fmla="*/ 10749425 w 12192000"/>
              <a:gd name="connsiteY160" fmla="*/ 6353818 h 6858000"/>
              <a:gd name="connsiteX161" fmla="*/ 10800140 w 12192000"/>
              <a:gd name="connsiteY161" fmla="*/ 6353818 h 6858000"/>
              <a:gd name="connsiteX162" fmla="*/ 10840624 w 12192000"/>
              <a:gd name="connsiteY162" fmla="*/ 6392157 h 6858000"/>
              <a:gd name="connsiteX163" fmla="*/ 10786327 w 12192000"/>
              <a:gd name="connsiteY163" fmla="*/ 6431685 h 6858000"/>
              <a:gd name="connsiteX164" fmla="*/ 10749425 w 12192000"/>
              <a:gd name="connsiteY164" fmla="*/ 6431685 h 6858000"/>
              <a:gd name="connsiteX165" fmla="*/ 11558990 w 12192000"/>
              <a:gd name="connsiteY165" fmla="*/ 6331910 h 6858000"/>
              <a:gd name="connsiteX166" fmla="*/ 11528513 w 12192000"/>
              <a:gd name="connsiteY166" fmla="*/ 6354292 h 6858000"/>
              <a:gd name="connsiteX167" fmla="*/ 11528513 w 12192000"/>
              <a:gd name="connsiteY167" fmla="*/ 6361191 h 6858000"/>
              <a:gd name="connsiteX168" fmla="*/ 11538993 w 12192000"/>
              <a:gd name="connsiteY168" fmla="*/ 6379766 h 6858000"/>
              <a:gd name="connsiteX169" fmla="*/ 11513978 w 12192000"/>
              <a:gd name="connsiteY169" fmla="*/ 6394775 h 6858000"/>
              <a:gd name="connsiteX170" fmla="*/ 11498743 w 12192000"/>
              <a:gd name="connsiteY170" fmla="*/ 6417632 h 6858000"/>
              <a:gd name="connsiteX171" fmla="*/ 11498743 w 12192000"/>
              <a:gd name="connsiteY171" fmla="*/ 6425727 h 6858000"/>
              <a:gd name="connsiteX172" fmla="*/ 11529454 w 12192000"/>
              <a:gd name="connsiteY172" fmla="*/ 6454775 h 6858000"/>
              <a:gd name="connsiteX173" fmla="*/ 11573270 w 12192000"/>
              <a:gd name="connsiteY173" fmla="*/ 6454775 h 6858000"/>
              <a:gd name="connsiteX174" fmla="*/ 11596367 w 12192000"/>
              <a:gd name="connsiteY174" fmla="*/ 6447387 h 6858000"/>
              <a:gd name="connsiteX175" fmla="*/ 11607321 w 12192000"/>
              <a:gd name="connsiteY175" fmla="*/ 6437629 h 6858000"/>
              <a:gd name="connsiteX176" fmla="*/ 11627559 w 12192000"/>
              <a:gd name="connsiteY176" fmla="*/ 6454775 h 6858000"/>
              <a:gd name="connsiteX177" fmla="*/ 11664950 w 12192000"/>
              <a:gd name="connsiteY177" fmla="*/ 6454775 h 6858000"/>
              <a:gd name="connsiteX178" fmla="*/ 11626137 w 12192000"/>
              <a:gd name="connsiteY178" fmla="*/ 6422146 h 6858000"/>
              <a:gd name="connsiteX179" fmla="*/ 11654470 w 12192000"/>
              <a:gd name="connsiteY179" fmla="*/ 6398582 h 6858000"/>
              <a:gd name="connsiteX180" fmla="*/ 11638272 w 12192000"/>
              <a:gd name="connsiteY180" fmla="*/ 6384536 h 6858000"/>
              <a:gd name="connsiteX181" fmla="*/ 11609698 w 12192000"/>
              <a:gd name="connsiteY181" fmla="*/ 6408340 h 6858000"/>
              <a:gd name="connsiteX182" fmla="*/ 11551836 w 12192000"/>
              <a:gd name="connsiteY182" fmla="*/ 6360243 h 6858000"/>
              <a:gd name="connsiteX183" fmla="*/ 11551836 w 12192000"/>
              <a:gd name="connsiteY183" fmla="*/ 6351433 h 6858000"/>
              <a:gd name="connsiteX184" fmla="*/ 11592086 w 12192000"/>
              <a:gd name="connsiteY184" fmla="*/ 6351433 h 6858000"/>
              <a:gd name="connsiteX185" fmla="*/ 11592086 w 12192000"/>
              <a:gd name="connsiteY185" fmla="*/ 6367872 h 6858000"/>
              <a:gd name="connsiteX186" fmla="*/ 11614220 w 12192000"/>
              <a:gd name="connsiteY186" fmla="*/ 6364065 h 6858000"/>
              <a:gd name="connsiteX187" fmla="*/ 11614220 w 12192000"/>
              <a:gd name="connsiteY187" fmla="*/ 6356677 h 6858000"/>
              <a:gd name="connsiteX188" fmla="*/ 11583742 w 12192000"/>
              <a:gd name="connsiteY188" fmla="*/ 6331910 h 6858000"/>
              <a:gd name="connsiteX189" fmla="*/ 10720851 w 12192000"/>
              <a:gd name="connsiteY189" fmla="*/ 6331910 h 6858000"/>
              <a:gd name="connsiteX190" fmla="*/ 10720851 w 12192000"/>
              <a:gd name="connsiteY190" fmla="*/ 6454775 h 6858000"/>
              <a:gd name="connsiteX191" fmla="*/ 10792527 w 12192000"/>
              <a:gd name="connsiteY191" fmla="*/ 6454775 h 6858000"/>
              <a:gd name="connsiteX192" fmla="*/ 10843009 w 12192000"/>
              <a:gd name="connsiteY192" fmla="*/ 6445258 h 6858000"/>
              <a:gd name="connsiteX193" fmla="*/ 10870146 w 12192000"/>
              <a:gd name="connsiteY193" fmla="*/ 6392631 h 6858000"/>
              <a:gd name="connsiteX194" fmla="*/ 10799900 w 12192000"/>
              <a:gd name="connsiteY194" fmla="*/ 6331910 h 6858000"/>
              <a:gd name="connsiteX195" fmla="*/ 0 w 12192000"/>
              <a:gd name="connsiteY195" fmla="*/ 0 h 6858000"/>
              <a:gd name="connsiteX196" fmla="*/ 12192000 w 12192000"/>
              <a:gd name="connsiteY196" fmla="*/ 0 h 6858000"/>
              <a:gd name="connsiteX197" fmla="*/ 12192000 w 12192000"/>
              <a:gd name="connsiteY197" fmla="*/ 6858000 h 6858000"/>
              <a:gd name="connsiteX198" fmla="*/ 0 w 12192000"/>
              <a:gd name="connsiteY19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Lst>
            <a:rect l="l" t="t" r="r" b="b"/>
            <a:pathLst>
              <a:path w="12192000" h="6858000">
                <a:moveTo>
                  <a:pt x="10909343" y="6535878"/>
                </a:moveTo>
                <a:lnTo>
                  <a:pt x="10992168" y="6535878"/>
                </a:lnTo>
                <a:lnTo>
                  <a:pt x="10992168" y="6598744"/>
                </a:lnTo>
                <a:lnTo>
                  <a:pt x="10909343" y="6598744"/>
                </a:lnTo>
                <a:close/>
                <a:moveTo>
                  <a:pt x="11563256" y="6534689"/>
                </a:moveTo>
                <a:lnTo>
                  <a:pt x="11619215" y="6534689"/>
                </a:lnTo>
                <a:cubicBezTo>
                  <a:pt x="11626587" y="6534689"/>
                  <a:pt x="11630409" y="6536126"/>
                  <a:pt x="11630409" y="6542785"/>
                </a:cubicBezTo>
                <a:lnTo>
                  <a:pt x="11630409" y="6554454"/>
                </a:lnTo>
                <a:cubicBezTo>
                  <a:pt x="11630409" y="6561127"/>
                  <a:pt x="11626587" y="6562549"/>
                  <a:pt x="11619215" y="6562549"/>
                </a:cubicBezTo>
                <a:lnTo>
                  <a:pt x="11563256" y="6562549"/>
                </a:lnTo>
                <a:close/>
                <a:moveTo>
                  <a:pt x="10910306" y="6517317"/>
                </a:moveTo>
                <a:cubicBezTo>
                  <a:pt x="10890158" y="6517317"/>
                  <a:pt x="10883590" y="6521831"/>
                  <a:pt x="10883590" y="6541121"/>
                </a:cubicBezTo>
                <a:lnTo>
                  <a:pt x="10883590" y="6594222"/>
                </a:lnTo>
                <a:cubicBezTo>
                  <a:pt x="10883590" y="6613271"/>
                  <a:pt x="10889902" y="6618041"/>
                  <a:pt x="10910306" y="6618041"/>
                </a:cubicBezTo>
                <a:lnTo>
                  <a:pt x="10989730" y="6618041"/>
                </a:lnTo>
                <a:cubicBezTo>
                  <a:pt x="11009886" y="6618041"/>
                  <a:pt x="11016446" y="6613271"/>
                  <a:pt x="11016446" y="6594222"/>
                </a:cubicBezTo>
                <a:lnTo>
                  <a:pt x="11016446" y="6541121"/>
                </a:lnTo>
                <a:cubicBezTo>
                  <a:pt x="11016446" y="6521831"/>
                  <a:pt x="11009878" y="6517317"/>
                  <a:pt x="10989730" y="6517317"/>
                </a:cubicBezTo>
                <a:close/>
                <a:moveTo>
                  <a:pt x="11538985" y="6517310"/>
                </a:moveTo>
                <a:lnTo>
                  <a:pt x="11538985" y="6618034"/>
                </a:lnTo>
                <a:lnTo>
                  <a:pt x="11563263" y="6618034"/>
                </a:lnTo>
                <a:lnTo>
                  <a:pt x="11563263" y="6579928"/>
                </a:lnTo>
                <a:lnTo>
                  <a:pt x="11586360" y="6579928"/>
                </a:lnTo>
                <a:lnTo>
                  <a:pt x="11628506" y="6618034"/>
                </a:lnTo>
                <a:lnTo>
                  <a:pt x="11663753" y="6618034"/>
                </a:lnTo>
                <a:lnTo>
                  <a:pt x="11615897" y="6579928"/>
                </a:lnTo>
                <a:lnTo>
                  <a:pt x="11629710" y="6579928"/>
                </a:lnTo>
                <a:cubicBezTo>
                  <a:pt x="11645892" y="6579928"/>
                  <a:pt x="11653280" y="6574451"/>
                  <a:pt x="11653280" y="6560638"/>
                </a:cubicBezTo>
                <a:lnTo>
                  <a:pt x="11653280" y="6536834"/>
                </a:lnTo>
                <a:cubicBezTo>
                  <a:pt x="11653280" y="6522787"/>
                  <a:pt x="11645892" y="6517310"/>
                  <a:pt x="11629710" y="6517310"/>
                </a:cubicBezTo>
                <a:close/>
                <a:moveTo>
                  <a:pt x="11401645" y="6517310"/>
                </a:moveTo>
                <a:lnTo>
                  <a:pt x="11401645" y="6618034"/>
                </a:lnTo>
                <a:lnTo>
                  <a:pt x="11513119" y="6618034"/>
                </a:lnTo>
                <a:lnTo>
                  <a:pt x="11513119" y="6599218"/>
                </a:lnTo>
                <a:lnTo>
                  <a:pt x="11426909" y="6599218"/>
                </a:lnTo>
                <a:lnTo>
                  <a:pt x="11426909" y="6574451"/>
                </a:lnTo>
                <a:lnTo>
                  <a:pt x="11476458" y="6574451"/>
                </a:lnTo>
                <a:lnTo>
                  <a:pt x="11476458" y="6557072"/>
                </a:lnTo>
                <a:lnTo>
                  <a:pt x="11426909" y="6557072"/>
                </a:lnTo>
                <a:lnTo>
                  <a:pt x="11426909" y="6535178"/>
                </a:lnTo>
                <a:lnTo>
                  <a:pt x="11511908" y="6535178"/>
                </a:lnTo>
                <a:lnTo>
                  <a:pt x="11511908" y="6517310"/>
                </a:lnTo>
                <a:close/>
                <a:moveTo>
                  <a:pt x="11225454" y="6517310"/>
                </a:moveTo>
                <a:lnTo>
                  <a:pt x="11225454" y="6618034"/>
                </a:lnTo>
                <a:lnTo>
                  <a:pt x="11248423" y="6618034"/>
                </a:lnTo>
                <a:lnTo>
                  <a:pt x="11248423" y="6550413"/>
                </a:lnTo>
                <a:lnTo>
                  <a:pt x="11294805" y="6605891"/>
                </a:lnTo>
                <a:lnTo>
                  <a:pt x="11299665" y="6605891"/>
                </a:lnTo>
                <a:lnTo>
                  <a:pt x="11345558" y="6548736"/>
                </a:lnTo>
                <a:lnTo>
                  <a:pt x="11345558" y="6618034"/>
                </a:lnTo>
                <a:lnTo>
                  <a:pt x="11368873" y="6618034"/>
                </a:lnTo>
                <a:lnTo>
                  <a:pt x="11368873" y="6517310"/>
                </a:lnTo>
                <a:lnTo>
                  <a:pt x="11348725" y="6517310"/>
                </a:lnTo>
                <a:lnTo>
                  <a:pt x="11298687" y="6577069"/>
                </a:lnTo>
                <a:lnTo>
                  <a:pt x="11248423" y="6517310"/>
                </a:lnTo>
                <a:close/>
                <a:moveTo>
                  <a:pt x="11048135" y="6517310"/>
                </a:moveTo>
                <a:lnTo>
                  <a:pt x="11048135" y="6618034"/>
                </a:lnTo>
                <a:lnTo>
                  <a:pt x="11071096" y="6618034"/>
                </a:lnTo>
                <a:lnTo>
                  <a:pt x="11071096" y="6550413"/>
                </a:lnTo>
                <a:lnTo>
                  <a:pt x="11117478" y="6605891"/>
                </a:lnTo>
                <a:lnTo>
                  <a:pt x="11122331" y="6605891"/>
                </a:lnTo>
                <a:lnTo>
                  <a:pt x="11168239" y="6548736"/>
                </a:lnTo>
                <a:lnTo>
                  <a:pt x="11168239" y="6618034"/>
                </a:lnTo>
                <a:lnTo>
                  <a:pt x="11191554" y="6618034"/>
                </a:lnTo>
                <a:lnTo>
                  <a:pt x="11191554" y="6517310"/>
                </a:lnTo>
                <a:lnTo>
                  <a:pt x="11171399" y="6517310"/>
                </a:lnTo>
                <a:lnTo>
                  <a:pt x="11121368" y="6577069"/>
                </a:lnTo>
                <a:lnTo>
                  <a:pt x="11071096" y="6517310"/>
                </a:lnTo>
                <a:close/>
                <a:moveTo>
                  <a:pt x="10752277" y="6495161"/>
                </a:moveTo>
                <a:cubicBezTo>
                  <a:pt x="10729180" y="6495161"/>
                  <a:pt x="10721799" y="6501112"/>
                  <a:pt x="10721799" y="6524217"/>
                </a:cubicBezTo>
                <a:lnTo>
                  <a:pt x="10721799" y="6537774"/>
                </a:lnTo>
                <a:cubicBezTo>
                  <a:pt x="10721799" y="6560878"/>
                  <a:pt x="10729187" y="6566829"/>
                  <a:pt x="10752277" y="6566829"/>
                </a:cubicBezTo>
                <a:lnTo>
                  <a:pt x="10828955" y="6566829"/>
                </a:lnTo>
                <a:lnTo>
                  <a:pt x="10828955" y="6594929"/>
                </a:lnTo>
                <a:lnTo>
                  <a:pt x="10742052" y="6594929"/>
                </a:lnTo>
                <a:lnTo>
                  <a:pt x="10742052" y="6581703"/>
                </a:lnTo>
                <a:lnTo>
                  <a:pt x="10716796" y="6586947"/>
                </a:lnTo>
                <a:lnTo>
                  <a:pt x="10716796" y="6588978"/>
                </a:lnTo>
                <a:cubicBezTo>
                  <a:pt x="10716796" y="6612075"/>
                  <a:pt x="10724417" y="6618026"/>
                  <a:pt x="10747514" y="6618026"/>
                </a:cubicBezTo>
                <a:lnTo>
                  <a:pt x="10823486" y="6618026"/>
                </a:lnTo>
                <a:cubicBezTo>
                  <a:pt x="10846583" y="6618026"/>
                  <a:pt x="10854204" y="6612075"/>
                  <a:pt x="10854204" y="6588978"/>
                </a:cubicBezTo>
                <a:lnTo>
                  <a:pt x="10854204" y="6572073"/>
                </a:lnTo>
                <a:cubicBezTo>
                  <a:pt x="10854204" y="6548969"/>
                  <a:pt x="10846583" y="6543018"/>
                  <a:pt x="10823486" y="6543018"/>
                </a:cubicBezTo>
                <a:lnTo>
                  <a:pt x="10746799" y="6543018"/>
                </a:lnTo>
                <a:lnTo>
                  <a:pt x="10746799" y="6516595"/>
                </a:lnTo>
                <a:lnTo>
                  <a:pt x="10827285" y="6516595"/>
                </a:lnTo>
                <a:lnTo>
                  <a:pt x="10827285" y="6529904"/>
                </a:lnTo>
                <a:lnTo>
                  <a:pt x="10852526" y="6523953"/>
                </a:lnTo>
                <a:lnTo>
                  <a:pt x="10852526" y="6522073"/>
                </a:lnTo>
                <a:cubicBezTo>
                  <a:pt x="10852526" y="6500871"/>
                  <a:pt x="10843957" y="6495161"/>
                  <a:pt x="10822049" y="6495161"/>
                </a:cubicBezTo>
                <a:close/>
                <a:moveTo>
                  <a:pt x="11554221" y="6392872"/>
                </a:moveTo>
                <a:lnTo>
                  <a:pt x="11591123" y="6423590"/>
                </a:lnTo>
                <a:lnTo>
                  <a:pt x="11579695" y="6433348"/>
                </a:lnTo>
                <a:lnTo>
                  <a:pt x="11522795" y="6433348"/>
                </a:lnTo>
                <a:lnTo>
                  <a:pt x="11522795" y="6433341"/>
                </a:lnTo>
                <a:lnTo>
                  <a:pt x="11522795" y="6412395"/>
                </a:lnTo>
                <a:close/>
                <a:moveTo>
                  <a:pt x="10923532" y="6371438"/>
                </a:moveTo>
                <a:lnTo>
                  <a:pt x="10979491" y="6371438"/>
                </a:lnTo>
                <a:cubicBezTo>
                  <a:pt x="10986864" y="6371438"/>
                  <a:pt x="10990685" y="6372875"/>
                  <a:pt x="10990685" y="6379533"/>
                </a:cubicBezTo>
                <a:lnTo>
                  <a:pt x="10990685" y="6391202"/>
                </a:lnTo>
                <a:cubicBezTo>
                  <a:pt x="10990685" y="6397875"/>
                  <a:pt x="10986864" y="6399297"/>
                  <a:pt x="10979491" y="6399297"/>
                </a:cubicBezTo>
                <a:lnTo>
                  <a:pt x="10923532" y="6399297"/>
                </a:lnTo>
                <a:close/>
                <a:moveTo>
                  <a:pt x="11349305" y="6354059"/>
                </a:moveTo>
                <a:cubicBezTo>
                  <a:pt x="11329541" y="6354059"/>
                  <a:pt x="11322868" y="6358829"/>
                  <a:pt x="11322868" y="6377878"/>
                </a:cubicBezTo>
                <a:lnTo>
                  <a:pt x="11322868" y="6389073"/>
                </a:lnTo>
                <a:cubicBezTo>
                  <a:pt x="11322868" y="6408122"/>
                  <a:pt x="11329541" y="6412877"/>
                  <a:pt x="11349305" y="6412877"/>
                </a:cubicBezTo>
                <a:lnTo>
                  <a:pt x="11414541" y="6412877"/>
                </a:lnTo>
                <a:lnTo>
                  <a:pt x="11414541" y="6435982"/>
                </a:lnTo>
                <a:lnTo>
                  <a:pt x="11340480" y="6435982"/>
                </a:lnTo>
                <a:lnTo>
                  <a:pt x="11340480" y="6425374"/>
                </a:lnTo>
                <a:lnTo>
                  <a:pt x="11318587" y="6429429"/>
                </a:lnTo>
                <a:lnTo>
                  <a:pt x="11318587" y="6430979"/>
                </a:lnTo>
                <a:cubicBezTo>
                  <a:pt x="11318587" y="6449795"/>
                  <a:pt x="11325012" y="6454783"/>
                  <a:pt x="11345009" y="6454783"/>
                </a:cubicBezTo>
                <a:lnTo>
                  <a:pt x="11410501" y="6454783"/>
                </a:lnTo>
                <a:cubicBezTo>
                  <a:pt x="11430498" y="6454783"/>
                  <a:pt x="11436690" y="6449795"/>
                  <a:pt x="11436690" y="6430979"/>
                </a:cubicBezTo>
                <a:lnTo>
                  <a:pt x="11436690" y="6417165"/>
                </a:lnTo>
                <a:cubicBezTo>
                  <a:pt x="11436690" y="6398116"/>
                  <a:pt x="11430506" y="6393361"/>
                  <a:pt x="11410501" y="6393361"/>
                </a:cubicBezTo>
                <a:lnTo>
                  <a:pt x="11345009" y="6393361"/>
                </a:lnTo>
                <a:lnTo>
                  <a:pt x="11345009" y="6372153"/>
                </a:lnTo>
                <a:lnTo>
                  <a:pt x="11414300" y="6372153"/>
                </a:lnTo>
                <a:lnTo>
                  <a:pt x="11414300" y="6381564"/>
                </a:lnTo>
                <a:lnTo>
                  <a:pt x="11435486" y="6377050"/>
                </a:lnTo>
                <a:lnTo>
                  <a:pt x="11435486" y="6375967"/>
                </a:lnTo>
                <a:cubicBezTo>
                  <a:pt x="11435486" y="6358355"/>
                  <a:pt x="11427639" y="6354059"/>
                  <a:pt x="11409064" y="6354059"/>
                </a:cubicBezTo>
                <a:close/>
                <a:moveTo>
                  <a:pt x="11184971" y="6354059"/>
                </a:moveTo>
                <a:lnTo>
                  <a:pt x="11184971" y="6454775"/>
                </a:lnTo>
                <a:lnTo>
                  <a:pt x="11294264" y="6454775"/>
                </a:lnTo>
                <a:lnTo>
                  <a:pt x="11294264" y="6435966"/>
                </a:lnTo>
                <a:lnTo>
                  <a:pt x="11209738" y="6435966"/>
                </a:lnTo>
                <a:lnTo>
                  <a:pt x="11209738" y="6411199"/>
                </a:lnTo>
                <a:lnTo>
                  <a:pt x="11258310" y="6411199"/>
                </a:lnTo>
                <a:lnTo>
                  <a:pt x="11258310" y="6393820"/>
                </a:lnTo>
                <a:lnTo>
                  <a:pt x="11209738" y="6393820"/>
                </a:lnTo>
                <a:lnTo>
                  <a:pt x="11209738" y="6371912"/>
                </a:lnTo>
                <a:lnTo>
                  <a:pt x="11293083" y="6371912"/>
                </a:lnTo>
                <a:lnTo>
                  <a:pt x="11293083" y="6354059"/>
                </a:lnTo>
                <a:close/>
                <a:moveTo>
                  <a:pt x="11047262" y="6354059"/>
                </a:moveTo>
                <a:lnTo>
                  <a:pt x="11047262" y="6454775"/>
                </a:lnTo>
                <a:lnTo>
                  <a:pt x="11156555" y="6454775"/>
                </a:lnTo>
                <a:lnTo>
                  <a:pt x="11156555" y="6435966"/>
                </a:lnTo>
                <a:lnTo>
                  <a:pt x="11072029" y="6435966"/>
                </a:lnTo>
                <a:lnTo>
                  <a:pt x="11072029" y="6411199"/>
                </a:lnTo>
                <a:lnTo>
                  <a:pt x="11120601" y="6411199"/>
                </a:lnTo>
                <a:lnTo>
                  <a:pt x="11120601" y="6393820"/>
                </a:lnTo>
                <a:lnTo>
                  <a:pt x="11072029" y="6393820"/>
                </a:lnTo>
                <a:lnTo>
                  <a:pt x="11072029" y="6371912"/>
                </a:lnTo>
                <a:lnTo>
                  <a:pt x="11155374" y="6371912"/>
                </a:lnTo>
                <a:lnTo>
                  <a:pt x="11155374" y="6354059"/>
                </a:lnTo>
                <a:close/>
                <a:moveTo>
                  <a:pt x="10899246" y="6354059"/>
                </a:moveTo>
                <a:lnTo>
                  <a:pt x="10899246" y="6454775"/>
                </a:lnTo>
                <a:lnTo>
                  <a:pt x="10923539" y="6454775"/>
                </a:lnTo>
                <a:lnTo>
                  <a:pt x="10923539" y="6416669"/>
                </a:lnTo>
                <a:lnTo>
                  <a:pt x="10946636" y="6416669"/>
                </a:lnTo>
                <a:lnTo>
                  <a:pt x="10988782" y="6454775"/>
                </a:lnTo>
                <a:lnTo>
                  <a:pt x="11024029" y="6454775"/>
                </a:lnTo>
                <a:lnTo>
                  <a:pt x="10976158" y="6416669"/>
                </a:lnTo>
                <a:lnTo>
                  <a:pt x="10989971" y="6416669"/>
                </a:lnTo>
                <a:cubicBezTo>
                  <a:pt x="11006169" y="6416669"/>
                  <a:pt x="11013549" y="6411192"/>
                  <a:pt x="11013549" y="6397394"/>
                </a:cubicBezTo>
                <a:lnTo>
                  <a:pt x="11013549" y="6373582"/>
                </a:lnTo>
                <a:cubicBezTo>
                  <a:pt x="11013549" y="6359536"/>
                  <a:pt x="11006161" y="6354059"/>
                  <a:pt x="10989971" y="6354059"/>
                </a:cubicBezTo>
                <a:close/>
                <a:moveTo>
                  <a:pt x="10749425" y="6353818"/>
                </a:moveTo>
                <a:lnTo>
                  <a:pt x="10800140" y="6353818"/>
                </a:lnTo>
                <a:cubicBezTo>
                  <a:pt x="10827052" y="6353818"/>
                  <a:pt x="10840624" y="6367157"/>
                  <a:pt x="10840624" y="6392157"/>
                </a:cubicBezTo>
                <a:cubicBezTo>
                  <a:pt x="10840624" y="6422635"/>
                  <a:pt x="10822523" y="6431685"/>
                  <a:pt x="10786327" y="6431685"/>
                </a:cubicBezTo>
                <a:lnTo>
                  <a:pt x="10749425" y="6431685"/>
                </a:lnTo>
                <a:close/>
                <a:moveTo>
                  <a:pt x="11558990" y="6331910"/>
                </a:moveTo>
                <a:cubicBezTo>
                  <a:pt x="11538030" y="6331910"/>
                  <a:pt x="11528513" y="6336680"/>
                  <a:pt x="11528513" y="6354292"/>
                </a:cubicBezTo>
                <a:lnTo>
                  <a:pt x="11528513" y="6361191"/>
                </a:lnTo>
                <a:cubicBezTo>
                  <a:pt x="11528513" y="6368338"/>
                  <a:pt x="11531846" y="6373815"/>
                  <a:pt x="11538993" y="6379766"/>
                </a:cubicBezTo>
                <a:lnTo>
                  <a:pt x="11513978" y="6394775"/>
                </a:lnTo>
                <a:cubicBezTo>
                  <a:pt x="11503272" y="6401201"/>
                  <a:pt x="11498743" y="6405007"/>
                  <a:pt x="11498743" y="6417632"/>
                </a:cubicBezTo>
                <a:lnTo>
                  <a:pt x="11498743" y="6425727"/>
                </a:lnTo>
                <a:cubicBezTo>
                  <a:pt x="11498743" y="6448824"/>
                  <a:pt x="11506364" y="6454775"/>
                  <a:pt x="11529454" y="6454775"/>
                </a:cubicBezTo>
                <a:lnTo>
                  <a:pt x="11573270" y="6454775"/>
                </a:lnTo>
                <a:cubicBezTo>
                  <a:pt x="11583502" y="6454775"/>
                  <a:pt x="11588505" y="6454301"/>
                  <a:pt x="11596367" y="6447387"/>
                </a:cubicBezTo>
                <a:lnTo>
                  <a:pt x="11607321" y="6437629"/>
                </a:lnTo>
                <a:lnTo>
                  <a:pt x="11627559" y="6454775"/>
                </a:lnTo>
                <a:lnTo>
                  <a:pt x="11664950" y="6454775"/>
                </a:lnTo>
                <a:lnTo>
                  <a:pt x="11626137" y="6422146"/>
                </a:lnTo>
                <a:lnTo>
                  <a:pt x="11654470" y="6398582"/>
                </a:lnTo>
                <a:lnTo>
                  <a:pt x="11638272" y="6384536"/>
                </a:lnTo>
                <a:lnTo>
                  <a:pt x="11609698" y="6408340"/>
                </a:lnTo>
                <a:lnTo>
                  <a:pt x="11551836" y="6360243"/>
                </a:lnTo>
                <a:lnTo>
                  <a:pt x="11551836" y="6351433"/>
                </a:lnTo>
                <a:lnTo>
                  <a:pt x="11592086" y="6351433"/>
                </a:lnTo>
                <a:lnTo>
                  <a:pt x="11592086" y="6367872"/>
                </a:lnTo>
                <a:lnTo>
                  <a:pt x="11614220" y="6364065"/>
                </a:lnTo>
                <a:lnTo>
                  <a:pt x="11614220" y="6356677"/>
                </a:lnTo>
                <a:cubicBezTo>
                  <a:pt x="11614220" y="6336680"/>
                  <a:pt x="11605884" y="6331910"/>
                  <a:pt x="11583742" y="6331910"/>
                </a:cubicBezTo>
                <a:close/>
                <a:moveTo>
                  <a:pt x="10720851" y="6331910"/>
                </a:moveTo>
                <a:lnTo>
                  <a:pt x="10720851" y="6454775"/>
                </a:lnTo>
                <a:lnTo>
                  <a:pt x="10792527" y="6454775"/>
                </a:lnTo>
                <a:cubicBezTo>
                  <a:pt x="10814420" y="6454775"/>
                  <a:pt x="10831092" y="6452631"/>
                  <a:pt x="10843009" y="6445258"/>
                </a:cubicBezTo>
                <a:cubicBezTo>
                  <a:pt x="10860155" y="6434778"/>
                  <a:pt x="10870146" y="6415728"/>
                  <a:pt x="10870146" y="6392631"/>
                </a:cubicBezTo>
                <a:cubicBezTo>
                  <a:pt x="10870146" y="6354533"/>
                  <a:pt x="10845868" y="6331910"/>
                  <a:pt x="10799900" y="6331910"/>
                </a:cubicBezTo>
                <a:close/>
                <a:moveTo>
                  <a:pt x="0" y="0"/>
                </a:moveTo>
                <a:lnTo>
                  <a:pt x="12192000" y="0"/>
                </a:lnTo>
                <a:lnTo>
                  <a:pt x="12192000" y="6858000"/>
                </a:lnTo>
                <a:lnTo>
                  <a:pt x="0" y="6858000"/>
                </a:lnTo>
                <a:close/>
              </a:path>
            </a:pathLst>
          </a:custGeom>
          <a:pattFill prst="ltUpDiag">
            <a:fgClr>
              <a:schemeClr val="bg1">
                <a:lumMod val="95000"/>
              </a:schemeClr>
            </a:fgClr>
            <a:bgClr>
              <a:schemeClr val="bg1"/>
            </a:bgClr>
          </a:pattFill>
        </p:spPr>
        <p:txBody>
          <a:bodyPr wrap="square">
            <a:noAutofit/>
          </a:bodyPr>
          <a:lstStyle/>
          <a:p>
            <a:endParaRPr lang="en-US"/>
          </a:p>
        </p:txBody>
      </p:sp>
      <p:sp>
        <p:nvSpPr>
          <p:cNvPr id="7" name="text">
            <a:extLst>
              <a:ext uri="{FF2B5EF4-FFF2-40B4-BE49-F238E27FC236}">
                <a16:creationId xmlns:a16="http://schemas.microsoft.com/office/drawing/2014/main" id="{76947769-F1C5-46D2-A578-B46158BB4453}"/>
              </a:ext>
            </a:extLst>
          </p:cNvPr>
          <p:cNvSpPr>
            <a:spLocks noGrp="1"/>
          </p:cNvSpPr>
          <p:nvPr userDrawn="1">
            <p:ph type="body" sz="quarter" idx="15"/>
          </p:nvPr>
        </p:nvSpPr>
        <p:spPr bwMode="gray">
          <a:xfrm>
            <a:off x="525598" y="0"/>
            <a:ext cx="3616801" cy="3472867"/>
          </a:xfrm>
          <a:solidFill>
            <a:schemeClr val="bg1"/>
          </a:solidFill>
        </p:spPr>
        <p:txBody>
          <a:bodyPr wrap="square" lIns="216000" tIns="1602000" rIns="216000" bIns="432000">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le">
            <a:extLst>
              <a:ext uri="{FF2B5EF4-FFF2-40B4-BE49-F238E27FC236}">
                <a16:creationId xmlns:a16="http://schemas.microsoft.com/office/drawing/2014/main" id="{8FFCB50B-5503-4467-8A0F-9FBB8B48B97D}"/>
              </a:ext>
            </a:extLst>
          </p:cNvPr>
          <p:cNvSpPr>
            <a:spLocks noGrp="1"/>
          </p:cNvSpPr>
          <p:nvPr userDrawn="1">
            <p:ph type="title"/>
          </p:nvPr>
        </p:nvSpPr>
        <p:spPr bwMode="gray">
          <a:xfrm>
            <a:off x="525598" y="673200"/>
            <a:ext cx="3616801" cy="864000"/>
          </a:xfrm>
        </p:spPr>
        <p:txBody>
          <a:bodyPr lIns="216000" tIns="0" rIns="216000" bIns="0"/>
          <a:lstStyle/>
          <a:p>
            <a:r>
              <a:rPr lang="de-DE"/>
              <a:t>Mastertitelformat bearbeiten</a:t>
            </a:r>
            <a:endParaRPr lang="en-US"/>
          </a:p>
        </p:txBody>
      </p:sp>
      <p:sp>
        <p:nvSpPr>
          <p:cNvPr id="11" name="logo drees&amp;sommer white">
            <a:extLst>
              <a:ext uri="{FF2B5EF4-FFF2-40B4-BE49-F238E27FC236}">
                <a16:creationId xmlns:a16="http://schemas.microsoft.com/office/drawing/2014/main" id="{1F5AA800-3878-4BB9-9EEB-CA77D23D9567}"/>
              </a:ext>
            </a:extLst>
          </p:cNvPr>
          <p:cNvSpPr>
            <a:spLocks noGrp="1"/>
          </p:cNvSpPr>
          <p:nvPr>
            <p:ph type="media" sz="quarter" idx="19"/>
          </p:nvPr>
        </p:nvSpPr>
        <p:spPr bwMode="gray">
          <a:xfrm>
            <a:off x="10716797" y="6330042"/>
            <a:ext cx="946800" cy="288000"/>
          </a:xfrm>
          <a:blipFill>
            <a:blip r:embed="rId2" cstate="print">
              <a:extLst>
                <a:ext uri="{28A0092B-C50C-407E-A947-70E740481C1C}">
                  <a14:useLocalDpi xmlns:a14="http://schemas.microsoft.com/office/drawing/2010/main"/>
                </a:ext>
              </a:extLst>
            </a:blip>
            <a:stretch>
              <a:fillRect/>
            </a:stretch>
          </a:blipFill>
          <a:ln w="15875" cap="flat">
            <a:noFill/>
            <a:prstDash val="lgDash"/>
          </a:ln>
        </p:spPr>
        <p:txBody>
          <a:bodyPr/>
          <a:lstStyle>
            <a:lvl1pPr>
              <a:defRPr sz="100">
                <a:solidFill>
                  <a:schemeClr val="bg1"/>
                </a:solidFill>
              </a:defRPr>
            </a:lvl1pPr>
          </a:lstStyle>
          <a:p>
            <a:endParaRPr lang="de-DE"/>
          </a:p>
        </p:txBody>
      </p:sp>
      <p:sp>
        <p:nvSpPr>
          <p:cNvPr id="14" name="info">
            <a:extLst>
              <a:ext uri="{FF2B5EF4-FFF2-40B4-BE49-F238E27FC236}">
                <a16:creationId xmlns:a16="http://schemas.microsoft.com/office/drawing/2014/main" id="{4BFC20E1-FE31-4D9F-BF66-21AFD1FD6319}"/>
              </a:ext>
            </a:extLst>
          </p:cNvPr>
          <p:cNvSpPr/>
          <p:nvPr userDrawn="1"/>
        </p:nvSpPr>
        <p:spPr bwMode="gray">
          <a:xfrm flipH="1">
            <a:off x="12247320" y="6288645"/>
            <a:ext cx="1579616" cy="370793"/>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36000" rtlCol="0" anchor="ctr">
            <a:spAutoFit/>
          </a:bodyPr>
          <a:lstStyle/>
          <a:p>
            <a:pPr algn="ctr">
              <a:lnSpc>
                <a:spcPct val="80000"/>
              </a:lnSpc>
              <a:spcBef>
                <a:spcPts val="400"/>
              </a:spcBef>
              <a:spcAft>
                <a:spcPts val="400"/>
              </a:spcAft>
            </a:pPr>
            <a:r>
              <a:rPr lang="en-US" sz="1050">
                <a:solidFill>
                  <a:schemeClr val="bg1"/>
                </a:solidFill>
              </a:rPr>
              <a:t>delete the white logo </a:t>
            </a:r>
            <a:br>
              <a:rPr lang="en-US" sz="1050">
                <a:solidFill>
                  <a:schemeClr val="bg1"/>
                </a:solidFill>
              </a:rPr>
            </a:br>
            <a:r>
              <a:rPr lang="en-US" sz="1050">
                <a:solidFill>
                  <a:schemeClr val="bg1"/>
                </a:solidFill>
              </a:rPr>
              <a:t>to get the BLUE LOGO</a:t>
            </a:r>
            <a:endParaRPr lang="de-DE" sz="1050">
              <a:solidFill>
                <a:schemeClr val="bg1"/>
              </a:solidFill>
            </a:endParaRPr>
          </a:p>
        </p:txBody>
      </p:sp>
      <p:sp>
        <p:nvSpPr>
          <p:cNvPr id="6" name="slide number">
            <a:extLst>
              <a:ext uri="{FF2B5EF4-FFF2-40B4-BE49-F238E27FC236}">
                <a16:creationId xmlns:a16="http://schemas.microsoft.com/office/drawing/2014/main" id="{90B54C2D-8235-4852-8EB7-5E05529B2499}"/>
              </a:ext>
            </a:extLst>
          </p:cNvPr>
          <p:cNvSpPr>
            <a:spLocks noGrp="1"/>
          </p:cNvSpPr>
          <p:nvPr userDrawn="1">
            <p:ph type="sldNum" sz="quarter" idx="12"/>
          </p:nvPr>
        </p:nvSpPr>
        <p:spPr bwMode="gray">
          <a:xfrm>
            <a:off x="525600" y="7200000"/>
            <a:ext cx="234000" cy="180000"/>
          </a:xfrm>
        </p:spPr>
        <p:txBody>
          <a:bodyPr lIns="0" tIns="0" rIns="0" bIns="0"/>
          <a:lstStyle/>
          <a:p>
            <a:fld id="{9829449A-3FF3-45CE-9F4F-09BADC0910C6}" type="slidenum">
              <a:rPr lang="en-US" smtClean="0"/>
              <a:t>‹Nr.›</a:t>
            </a:fld>
            <a:endParaRPr lang="en-US"/>
          </a:p>
        </p:txBody>
      </p:sp>
      <p:sp>
        <p:nvSpPr>
          <p:cNvPr id="5" name="footer">
            <a:extLst>
              <a:ext uri="{FF2B5EF4-FFF2-40B4-BE49-F238E27FC236}">
                <a16:creationId xmlns:a16="http://schemas.microsoft.com/office/drawing/2014/main" id="{A4534FC4-D037-44B0-B266-D9E820FC1DF2}"/>
              </a:ext>
            </a:extLst>
          </p:cNvPr>
          <p:cNvSpPr>
            <a:spLocks noGrp="1"/>
          </p:cNvSpPr>
          <p:nvPr userDrawn="1">
            <p:ph type="ftr" sz="quarter" idx="11"/>
          </p:nvPr>
        </p:nvSpPr>
        <p:spPr bwMode="gray">
          <a:xfrm>
            <a:off x="763200" y="7200000"/>
            <a:ext cx="7880400" cy="180000"/>
          </a:xfrm>
        </p:spPr>
        <p:txBody>
          <a:bodyPr lIns="0" tIns="0" rIns="0" bIns="0"/>
          <a:lstStyle/>
          <a:p>
            <a:endParaRPr lang="en-US"/>
          </a:p>
        </p:txBody>
      </p:sp>
    </p:spTree>
    <p:extLst>
      <p:ext uri="{BB962C8B-B14F-4D97-AF65-F5344CB8AC3E}">
        <p14:creationId xmlns:p14="http://schemas.microsoft.com/office/powerpoint/2010/main" val="2809074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2610"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ull Picture &amp; Text right">
    <p:spTree>
      <p:nvGrpSpPr>
        <p:cNvPr id="1" name=""/>
        <p:cNvGrpSpPr/>
        <p:nvPr/>
      </p:nvGrpSpPr>
      <p:grpSpPr>
        <a:xfrm>
          <a:off x="0" y="0"/>
          <a:ext cx="0" cy="0"/>
          <a:chOff x="0" y="0"/>
          <a:chExt cx="0" cy="0"/>
        </a:xfrm>
      </p:grpSpPr>
      <p:sp>
        <p:nvSpPr>
          <p:cNvPr id="68" name="logo drees&amp;sommer blue mask">
            <a:extLst>
              <a:ext uri="{FF2B5EF4-FFF2-40B4-BE49-F238E27FC236}">
                <a16:creationId xmlns:a16="http://schemas.microsoft.com/office/drawing/2014/main" id="{D9030723-5634-4783-823D-AF507FF94972}"/>
              </a:ext>
            </a:extLst>
          </p:cNvPr>
          <p:cNvSpPr/>
          <p:nvPr userDrawn="1"/>
        </p:nvSpPr>
        <p:spPr bwMode="gray">
          <a:xfrm>
            <a:off x="10579100" y="6197600"/>
            <a:ext cx="1270000" cy="584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400"/>
              </a:spcBef>
              <a:spcAft>
                <a:spcPts val="400"/>
              </a:spcAft>
            </a:pPr>
            <a:endParaRPr lang="de-DE" sz="1400"/>
          </a:p>
        </p:txBody>
      </p:sp>
      <p:sp>
        <p:nvSpPr>
          <p:cNvPr id="63" name="picture">
            <a:extLst>
              <a:ext uri="{FF2B5EF4-FFF2-40B4-BE49-F238E27FC236}">
                <a16:creationId xmlns:a16="http://schemas.microsoft.com/office/drawing/2014/main" id="{FA19F108-87FA-49A1-8D84-551E625B5935}"/>
              </a:ext>
            </a:extLst>
          </p:cNvPr>
          <p:cNvSpPr>
            <a:spLocks noGrp="1"/>
          </p:cNvSpPr>
          <p:nvPr>
            <p:ph type="pic" sz="quarter" idx="18"/>
          </p:nvPr>
        </p:nvSpPr>
        <p:spPr bwMode="gray">
          <a:xfrm>
            <a:off x="0" y="1"/>
            <a:ext cx="12192000" cy="6858000"/>
          </a:xfrm>
          <a:custGeom>
            <a:avLst/>
            <a:gdLst>
              <a:gd name="connsiteX0" fmla="*/ 10909343 w 12192000"/>
              <a:gd name="connsiteY0" fmla="*/ 6535878 h 6858000"/>
              <a:gd name="connsiteX1" fmla="*/ 10992168 w 12192000"/>
              <a:gd name="connsiteY1" fmla="*/ 6535878 h 6858000"/>
              <a:gd name="connsiteX2" fmla="*/ 10992168 w 12192000"/>
              <a:gd name="connsiteY2" fmla="*/ 6598744 h 6858000"/>
              <a:gd name="connsiteX3" fmla="*/ 10909343 w 12192000"/>
              <a:gd name="connsiteY3" fmla="*/ 6598744 h 6858000"/>
              <a:gd name="connsiteX4" fmla="*/ 11563256 w 12192000"/>
              <a:gd name="connsiteY4" fmla="*/ 6534689 h 6858000"/>
              <a:gd name="connsiteX5" fmla="*/ 11619215 w 12192000"/>
              <a:gd name="connsiteY5" fmla="*/ 6534689 h 6858000"/>
              <a:gd name="connsiteX6" fmla="*/ 11630409 w 12192000"/>
              <a:gd name="connsiteY6" fmla="*/ 6542785 h 6858000"/>
              <a:gd name="connsiteX7" fmla="*/ 11630409 w 12192000"/>
              <a:gd name="connsiteY7" fmla="*/ 6554454 h 6858000"/>
              <a:gd name="connsiteX8" fmla="*/ 11619215 w 12192000"/>
              <a:gd name="connsiteY8" fmla="*/ 6562549 h 6858000"/>
              <a:gd name="connsiteX9" fmla="*/ 11563256 w 12192000"/>
              <a:gd name="connsiteY9" fmla="*/ 6562549 h 6858000"/>
              <a:gd name="connsiteX10" fmla="*/ 10910306 w 12192000"/>
              <a:gd name="connsiteY10" fmla="*/ 6517317 h 6858000"/>
              <a:gd name="connsiteX11" fmla="*/ 10883590 w 12192000"/>
              <a:gd name="connsiteY11" fmla="*/ 6541121 h 6858000"/>
              <a:gd name="connsiteX12" fmla="*/ 10883590 w 12192000"/>
              <a:gd name="connsiteY12" fmla="*/ 6594222 h 6858000"/>
              <a:gd name="connsiteX13" fmla="*/ 10910306 w 12192000"/>
              <a:gd name="connsiteY13" fmla="*/ 6618041 h 6858000"/>
              <a:gd name="connsiteX14" fmla="*/ 10989730 w 12192000"/>
              <a:gd name="connsiteY14" fmla="*/ 6618041 h 6858000"/>
              <a:gd name="connsiteX15" fmla="*/ 11016446 w 12192000"/>
              <a:gd name="connsiteY15" fmla="*/ 6594222 h 6858000"/>
              <a:gd name="connsiteX16" fmla="*/ 11016446 w 12192000"/>
              <a:gd name="connsiteY16" fmla="*/ 6541121 h 6858000"/>
              <a:gd name="connsiteX17" fmla="*/ 10989730 w 12192000"/>
              <a:gd name="connsiteY17" fmla="*/ 6517317 h 6858000"/>
              <a:gd name="connsiteX18" fmla="*/ 11538985 w 12192000"/>
              <a:gd name="connsiteY18" fmla="*/ 6517310 h 6858000"/>
              <a:gd name="connsiteX19" fmla="*/ 11538985 w 12192000"/>
              <a:gd name="connsiteY19" fmla="*/ 6618034 h 6858000"/>
              <a:gd name="connsiteX20" fmla="*/ 11563263 w 12192000"/>
              <a:gd name="connsiteY20" fmla="*/ 6618034 h 6858000"/>
              <a:gd name="connsiteX21" fmla="*/ 11563263 w 12192000"/>
              <a:gd name="connsiteY21" fmla="*/ 6579928 h 6858000"/>
              <a:gd name="connsiteX22" fmla="*/ 11586360 w 12192000"/>
              <a:gd name="connsiteY22" fmla="*/ 6579928 h 6858000"/>
              <a:gd name="connsiteX23" fmla="*/ 11628506 w 12192000"/>
              <a:gd name="connsiteY23" fmla="*/ 6618034 h 6858000"/>
              <a:gd name="connsiteX24" fmla="*/ 11663753 w 12192000"/>
              <a:gd name="connsiteY24" fmla="*/ 6618034 h 6858000"/>
              <a:gd name="connsiteX25" fmla="*/ 11615897 w 12192000"/>
              <a:gd name="connsiteY25" fmla="*/ 6579928 h 6858000"/>
              <a:gd name="connsiteX26" fmla="*/ 11629710 w 12192000"/>
              <a:gd name="connsiteY26" fmla="*/ 6579928 h 6858000"/>
              <a:gd name="connsiteX27" fmla="*/ 11653280 w 12192000"/>
              <a:gd name="connsiteY27" fmla="*/ 6560638 h 6858000"/>
              <a:gd name="connsiteX28" fmla="*/ 11653280 w 12192000"/>
              <a:gd name="connsiteY28" fmla="*/ 6536834 h 6858000"/>
              <a:gd name="connsiteX29" fmla="*/ 11629710 w 12192000"/>
              <a:gd name="connsiteY29" fmla="*/ 6517310 h 6858000"/>
              <a:gd name="connsiteX30" fmla="*/ 11401645 w 12192000"/>
              <a:gd name="connsiteY30" fmla="*/ 6517310 h 6858000"/>
              <a:gd name="connsiteX31" fmla="*/ 11401645 w 12192000"/>
              <a:gd name="connsiteY31" fmla="*/ 6618034 h 6858000"/>
              <a:gd name="connsiteX32" fmla="*/ 11513119 w 12192000"/>
              <a:gd name="connsiteY32" fmla="*/ 6618034 h 6858000"/>
              <a:gd name="connsiteX33" fmla="*/ 11513119 w 12192000"/>
              <a:gd name="connsiteY33" fmla="*/ 6599218 h 6858000"/>
              <a:gd name="connsiteX34" fmla="*/ 11426909 w 12192000"/>
              <a:gd name="connsiteY34" fmla="*/ 6599218 h 6858000"/>
              <a:gd name="connsiteX35" fmla="*/ 11426909 w 12192000"/>
              <a:gd name="connsiteY35" fmla="*/ 6574451 h 6858000"/>
              <a:gd name="connsiteX36" fmla="*/ 11476458 w 12192000"/>
              <a:gd name="connsiteY36" fmla="*/ 6574451 h 6858000"/>
              <a:gd name="connsiteX37" fmla="*/ 11476458 w 12192000"/>
              <a:gd name="connsiteY37" fmla="*/ 6557072 h 6858000"/>
              <a:gd name="connsiteX38" fmla="*/ 11426909 w 12192000"/>
              <a:gd name="connsiteY38" fmla="*/ 6557072 h 6858000"/>
              <a:gd name="connsiteX39" fmla="*/ 11426909 w 12192000"/>
              <a:gd name="connsiteY39" fmla="*/ 6535178 h 6858000"/>
              <a:gd name="connsiteX40" fmla="*/ 11511908 w 12192000"/>
              <a:gd name="connsiteY40" fmla="*/ 6535178 h 6858000"/>
              <a:gd name="connsiteX41" fmla="*/ 11511908 w 12192000"/>
              <a:gd name="connsiteY41" fmla="*/ 6517310 h 6858000"/>
              <a:gd name="connsiteX42" fmla="*/ 11225454 w 12192000"/>
              <a:gd name="connsiteY42" fmla="*/ 6517310 h 6858000"/>
              <a:gd name="connsiteX43" fmla="*/ 11225454 w 12192000"/>
              <a:gd name="connsiteY43" fmla="*/ 6618034 h 6858000"/>
              <a:gd name="connsiteX44" fmla="*/ 11248423 w 12192000"/>
              <a:gd name="connsiteY44" fmla="*/ 6618034 h 6858000"/>
              <a:gd name="connsiteX45" fmla="*/ 11248423 w 12192000"/>
              <a:gd name="connsiteY45" fmla="*/ 6550413 h 6858000"/>
              <a:gd name="connsiteX46" fmla="*/ 11294805 w 12192000"/>
              <a:gd name="connsiteY46" fmla="*/ 6605891 h 6858000"/>
              <a:gd name="connsiteX47" fmla="*/ 11299665 w 12192000"/>
              <a:gd name="connsiteY47" fmla="*/ 6605891 h 6858000"/>
              <a:gd name="connsiteX48" fmla="*/ 11345558 w 12192000"/>
              <a:gd name="connsiteY48" fmla="*/ 6548736 h 6858000"/>
              <a:gd name="connsiteX49" fmla="*/ 11345558 w 12192000"/>
              <a:gd name="connsiteY49" fmla="*/ 6618034 h 6858000"/>
              <a:gd name="connsiteX50" fmla="*/ 11368873 w 12192000"/>
              <a:gd name="connsiteY50" fmla="*/ 6618034 h 6858000"/>
              <a:gd name="connsiteX51" fmla="*/ 11368873 w 12192000"/>
              <a:gd name="connsiteY51" fmla="*/ 6517310 h 6858000"/>
              <a:gd name="connsiteX52" fmla="*/ 11348725 w 12192000"/>
              <a:gd name="connsiteY52" fmla="*/ 6517310 h 6858000"/>
              <a:gd name="connsiteX53" fmla="*/ 11298687 w 12192000"/>
              <a:gd name="connsiteY53" fmla="*/ 6577069 h 6858000"/>
              <a:gd name="connsiteX54" fmla="*/ 11248423 w 12192000"/>
              <a:gd name="connsiteY54" fmla="*/ 6517310 h 6858000"/>
              <a:gd name="connsiteX55" fmla="*/ 11048135 w 12192000"/>
              <a:gd name="connsiteY55" fmla="*/ 6517310 h 6858000"/>
              <a:gd name="connsiteX56" fmla="*/ 11048135 w 12192000"/>
              <a:gd name="connsiteY56" fmla="*/ 6618034 h 6858000"/>
              <a:gd name="connsiteX57" fmla="*/ 11071096 w 12192000"/>
              <a:gd name="connsiteY57" fmla="*/ 6618034 h 6858000"/>
              <a:gd name="connsiteX58" fmla="*/ 11071096 w 12192000"/>
              <a:gd name="connsiteY58" fmla="*/ 6550413 h 6858000"/>
              <a:gd name="connsiteX59" fmla="*/ 11117478 w 12192000"/>
              <a:gd name="connsiteY59" fmla="*/ 6605891 h 6858000"/>
              <a:gd name="connsiteX60" fmla="*/ 11122331 w 12192000"/>
              <a:gd name="connsiteY60" fmla="*/ 6605891 h 6858000"/>
              <a:gd name="connsiteX61" fmla="*/ 11168239 w 12192000"/>
              <a:gd name="connsiteY61" fmla="*/ 6548736 h 6858000"/>
              <a:gd name="connsiteX62" fmla="*/ 11168239 w 12192000"/>
              <a:gd name="connsiteY62" fmla="*/ 6618034 h 6858000"/>
              <a:gd name="connsiteX63" fmla="*/ 11191554 w 12192000"/>
              <a:gd name="connsiteY63" fmla="*/ 6618034 h 6858000"/>
              <a:gd name="connsiteX64" fmla="*/ 11191554 w 12192000"/>
              <a:gd name="connsiteY64" fmla="*/ 6517310 h 6858000"/>
              <a:gd name="connsiteX65" fmla="*/ 11171399 w 12192000"/>
              <a:gd name="connsiteY65" fmla="*/ 6517310 h 6858000"/>
              <a:gd name="connsiteX66" fmla="*/ 11121368 w 12192000"/>
              <a:gd name="connsiteY66" fmla="*/ 6577069 h 6858000"/>
              <a:gd name="connsiteX67" fmla="*/ 11071096 w 12192000"/>
              <a:gd name="connsiteY67" fmla="*/ 6517310 h 6858000"/>
              <a:gd name="connsiteX68" fmla="*/ 10752277 w 12192000"/>
              <a:gd name="connsiteY68" fmla="*/ 6495161 h 6858000"/>
              <a:gd name="connsiteX69" fmla="*/ 10721799 w 12192000"/>
              <a:gd name="connsiteY69" fmla="*/ 6524217 h 6858000"/>
              <a:gd name="connsiteX70" fmla="*/ 10721799 w 12192000"/>
              <a:gd name="connsiteY70" fmla="*/ 6537774 h 6858000"/>
              <a:gd name="connsiteX71" fmla="*/ 10752277 w 12192000"/>
              <a:gd name="connsiteY71" fmla="*/ 6566829 h 6858000"/>
              <a:gd name="connsiteX72" fmla="*/ 10828955 w 12192000"/>
              <a:gd name="connsiteY72" fmla="*/ 6566829 h 6858000"/>
              <a:gd name="connsiteX73" fmla="*/ 10828955 w 12192000"/>
              <a:gd name="connsiteY73" fmla="*/ 6594929 h 6858000"/>
              <a:gd name="connsiteX74" fmla="*/ 10742052 w 12192000"/>
              <a:gd name="connsiteY74" fmla="*/ 6594929 h 6858000"/>
              <a:gd name="connsiteX75" fmla="*/ 10742052 w 12192000"/>
              <a:gd name="connsiteY75" fmla="*/ 6581703 h 6858000"/>
              <a:gd name="connsiteX76" fmla="*/ 10716796 w 12192000"/>
              <a:gd name="connsiteY76" fmla="*/ 6586947 h 6858000"/>
              <a:gd name="connsiteX77" fmla="*/ 10716796 w 12192000"/>
              <a:gd name="connsiteY77" fmla="*/ 6588978 h 6858000"/>
              <a:gd name="connsiteX78" fmla="*/ 10747514 w 12192000"/>
              <a:gd name="connsiteY78" fmla="*/ 6618026 h 6858000"/>
              <a:gd name="connsiteX79" fmla="*/ 10823486 w 12192000"/>
              <a:gd name="connsiteY79" fmla="*/ 6618026 h 6858000"/>
              <a:gd name="connsiteX80" fmla="*/ 10854204 w 12192000"/>
              <a:gd name="connsiteY80" fmla="*/ 6588978 h 6858000"/>
              <a:gd name="connsiteX81" fmla="*/ 10854204 w 12192000"/>
              <a:gd name="connsiteY81" fmla="*/ 6572073 h 6858000"/>
              <a:gd name="connsiteX82" fmla="*/ 10823486 w 12192000"/>
              <a:gd name="connsiteY82" fmla="*/ 6543018 h 6858000"/>
              <a:gd name="connsiteX83" fmla="*/ 10746799 w 12192000"/>
              <a:gd name="connsiteY83" fmla="*/ 6543018 h 6858000"/>
              <a:gd name="connsiteX84" fmla="*/ 10746799 w 12192000"/>
              <a:gd name="connsiteY84" fmla="*/ 6516595 h 6858000"/>
              <a:gd name="connsiteX85" fmla="*/ 10827285 w 12192000"/>
              <a:gd name="connsiteY85" fmla="*/ 6516595 h 6858000"/>
              <a:gd name="connsiteX86" fmla="*/ 10827285 w 12192000"/>
              <a:gd name="connsiteY86" fmla="*/ 6529904 h 6858000"/>
              <a:gd name="connsiteX87" fmla="*/ 10852526 w 12192000"/>
              <a:gd name="connsiteY87" fmla="*/ 6523953 h 6858000"/>
              <a:gd name="connsiteX88" fmla="*/ 10852526 w 12192000"/>
              <a:gd name="connsiteY88" fmla="*/ 6522073 h 6858000"/>
              <a:gd name="connsiteX89" fmla="*/ 10822049 w 12192000"/>
              <a:gd name="connsiteY89" fmla="*/ 6495161 h 6858000"/>
              <a:gd name="connsiteX90" fmla="*/ 11554221 w 12192000"/>
              <a:gd name="connsiteY90" fmla="*/ 6392872 h 6858000"/>
              <a:gd name="connsiteX91" fmla="*/ 11591123 w 12192000"/>
              <a:gd name="connsiteY91" fmla="*/ 6423590 h 6858000"/>
              <a:gd name="connsiteX92" fmla="*/ 11579695 w 12192000"/>
              <a:gd name="connsiteY92" fmla="*/ 6433348 h 6858000"/>
              <a:gd name="connsiteX93" fmla="*/ 11522795 w 12192000"/>
              <a:gd name="connsiteY93" fmla="*/ 6433348 h 6858000"/>
              <a:gd name="connsiteX94" fmla="*/ 11522795 w 12192000"/>
              <a:gd name="connsiteY94" fmla="*/ 6433341 h 6858000"/>
              <a:gd name="connsiteX95" fmla="*/ 11522795 w 12192000"/>
              <a:gd name="connsiteY95" fmla="*/ 6412395 h 6858000"/>
              <a:gd name="connsiteX96" fmla="*/ 10923532 w 12192000"/>
              <a:gd name="connsiteY96" fmla="*/ 6371438 h 6858000"/>
              <a:gd name="connsiteX97" fmla="*/ 10979491 w 12192000"/>
              <a:gd name="connsiteY97" fmla="*/ 6371438 h 6858000"/>
              <a:gd name="connsiteX98" fmla="*/ 10990685 w 12192000"/>
              <a:gd name="connsiteY98" fmla="*/ 6379533 h 6858000"/>
              <a:gd name="connsiteX99" fmla="*/ 10990685 w 12192000"/>
              <a:gd name="connsiteY99" fmla="*/ 6391202 h 6858000"/>
              <a:gd name="connsiteX100" fmla="*/ 10979491 w 12192000"/>
              <a:gd name="connsiteY100" fmla="*/ 6399297 h 6858000"/>
              <a:gd name="connsiteX101" fmla="*/ 10923532 w 12192000"/>
              <a:gd name="connsiteY101" fmla="*/ 6399297 h 6858000"/>
              <a:gd name="connsiteX102" fmla="*/ 11349305 w 12192000"/>
              <a:gd name="connsiteY102" fmla="*/ 6354059 h 6858000"/>
              <a:gd name="connsiteX103" fmla="*/ 11322868 w 12192000"/>
              <a:gd name="connsiteY103" fmla="*/ 6377878 h 6858000"/>
              <a:gd name="connsiteX104" fmla="*/ 11322868 w 12192000"/>
              <a:gd name="connsiteY104" fmla="*/ 6389073 h 6858000"/>
              <a:gd name="connsiteX105" fmla="*/ 11349305 w 12192000"/>
              <a:gd name="connsiteY105" fmla="*/ 6412877 h 6858000"/>
              <a:gd name="connsiteX106" fmla="*/ 11414541 w 12192000"/>
              <a:gd name="connsiteY106" fmla="*/ 6412877 h 6858000"/>
              <a:gd name="connsiteX107" fmla="*/ 11414541 w 12192000"/>
              <a:gd name="connsiteY107" fmla="*/ 6435982 h 6858000"/>
              <a:gd name="connsiteX108" fmla="*/ 11340480 w 12192000"/>
              <a:gd name="connsiteY108" fmla="*/ 6435982 h 6858000"/>
              <a:gd name="connsiteX109" fmla="*/ 11340480 w 12192000"/>
              <a:gd name="connsiteY109" fmla="*/ 6425374 h 6858000"/>
              <a:gd name="connsiteX110" fmla="*/ 11318587 w 12192000"/>
              <a:gd name="connsiteY110" fmla="*/ 6429429 h 6858000"/>
              <a:gd name="connsiteX111" fmla="*/ 11318587 w 12192000"/>
              <a:gd name="connsiteY111" fmla="*/ 6430979 h 6858000"/>
              <a:gd name="connsiteX112" fmla="*/ 11345009 w 12192000"/>
              <a:gd name="connsiteY112" fmla="*/ 6454783 h 6858000"/>
              <a:gd name="connsiteX113" fmla="*/ 11410501 w 12192000"/>
              <a:gd name="connsiteY113" fmla="*/ 6454783 h 6858000"/>
              <a:gd name="connsiteX114" fmla="*/ 11436690 w 12192000"/>
              <a:gd name="connsiteY114" fmla="*/ 6430979 h 6858000"/>
              <a:gd name="connsiteX115" fmla="*/ 11436690 w 12192000"/>
              <a:gd name="connsiteY115" fmla="*/ 6417165 h 6858000"/>
              <a:gd name="connsiteX116" fmla="*/ 11410501 w 12192000"/>
              <a:gd name="connsiteY116" fmla="*/ 6393361 h 6858000"/>
              <a:gd name="connsiteX117" fmla="*/ 11345009 w 12192000"/>
              <a:gd name="connsiteY117" fmla="*/ 6393361 h 6858000"/>
              <a:gd name="connsiteX118" fmla="*/ 11345009 w 12192000"/>
              <a:gd name="connsiteY118" fmla="*/ 6372153 h 6858000"/>
              <a:gd name="connsiteX119" fmla="*/ 11414300 w 12192000"/>
              <a:gd name="connsiteY119" fmla="*/ 6372153 h 6858000"/>
              <a:gd name="connsiteX120" fmla="*/ 11414300 w 12192000"/>
              <a:gd name="connsiteY120" fmla="*/ 6381564 h 6858000"/>
              <a:gd name="connsiteX121" fmla="*/ 11435486 w 12192000"/>
              <a:gd name="connsiteY121" fmla="*/ 6377050 h 6858000"/>
              <a:gd name="connsiteX122" fmla="*/ 11435486 w 12192000"/>
              <a:gd name="connsiteY122" fmla="*/ 6375967 h 6858000"/>
              <a:gd name="connsiteX123" fmla="*/ 11409064 w 12192000"/>
              <a:gd name="connsiteY123" fmla="*/ 6354059 h 6858000"/>
              <a:gd name="connsiteX124" fmla="*/ 11184971 w 12192000"/>
              <a:gd name="connsiteY124" fmla="*/ 6354059 h 6858000"/>
              <a:gd name="connsiteX125" fmla="*/ 11184971 w 12192000"/>
              <a:gd name="connsiteY125" fmla="*/ 6454775 h 6858000"/>
              <a:gd name="connsiteX126" fmla="*/ 11294264 w 12192000"/>
              <a:gd name="connsiteY126" fmla="*/ 6454775 h 6858000"/>
              <a:gd name="connsiteX127" fmla="*/ 11294264 w 12192000"/>
              <a:gd name="connsiteY127" fmla="*/ 6435966 h 6858000"/>
              <a:gd name="connsiteX128" fmla="*/ 11209738 w 12192000"/>
              <a:gd name="connsiteY128" fmla="*/ 6435966 h 6858000"/>
              <a:gd name="connsiteX129" fmla="*/ 11209738 w 12192000"/>
              <a:gd name="connsiteY129" fmla="*/ 6411199 h 6858000"/>
              <a:gd name="connsiteX130" fmla="*/ 11258310 w 12192000"/>
              <a:gd name="connsiteY130" fmla="*/ 6411199 h 6858000"/>
              <a:gd name="connsiteX131" fmla="*/ 11258310 w 12192000"/>
              <a:gd name="connsiteY131" fmla="*/ 6393820 h 6858000"/>
              <a:gd name="connsiteX132" fmla="*/ 11209738 w 12192000"/>
              <a:gd name="connsiteY132" fmla="*/ 6393820 h 6858000"/>
              <a:gd name="connsiteX133" fmla="*/ 11209738 w 12192000"/>
              <a:gd name="connsiteY133" fmla="*/ 6371912 h 6858000"/>
              <a:gd name="connsiteX134" fmla="*/ 11293083 w 12192000"/>
              <a:gd name="connsiteY134" fmla="*/ 6371912 h 6858000"/>
              <a:gd name="connsiteX135" fmla="*/ 11293083 w 12192000"/>
              <a:gd name="connsiteY135" fmla="*/ 6354059 h 6858000"/>
              <a:gd name="connsiteX136" fmla="*/ 11047262 w 12192000"/>
              <a:gd name="connsiteY136" fmla="*/ 6354059 h 6858000"/>
              <a:gd name="connsiteX137" fmla="*/ 11047262 w 12192000"/>
              <a:gd name="connsiteY137" fmla="*/ 6454775 h 6858000"/>
              <a:gd name="connsiteX138" fmla="*/ 11156555 w 12192000"/>
              <a:gd name="connsiteY138" fmla="*/ 6454775 h 6858000"/>
              <a:gd name="connsiteX139" fmla="*/ 11156555 w 12192000"/>
              <a:gd name="connsiteY139" fmla="*/ 6435966 h 6858000"/>
              <a:gd name="connsiteX140" fmla="*/ 11072029 w 12192000"/>
              <a:gd name="connsiteY140" fmla="*/ 6435966 h 6858000"/>
              <a:gd name="connsiteX141" fmla="*/ 11072029 w 12192000"/>
              <a:gd name="connsiteY141" fmla="*/ 6411199 h 6858000"/>
              <a:gd name="connsiteX142" fmla="*/ 11120601 w 12192000"/>
              <a:gd name="connsiteY142" fmla="*/ 6411199 h 6858000"/>
              <a:gd name="connsiteX143" fmla="*/ 11120601 w 12192000"/>
              <a:gd name="connsiteY143" fmla="*/ 6393820 h 6858000"/>
              <a:gd name="connsiteX144" fmla="*/ 11072029 w 12192000"/>
              <a:gd name="connsiteY144" fmla="*/ 6393820 h 6858000"/>
              <a:gd name="connsiteX145" fmla="*/ 11072029 w 12192000"/>
              <a:gd name="connsiteY145" fmla="*/ 6371912 h 6858000"/>
              <a:gd name="connsiteX146" fmla="*/ 11155374 w 12192000"/>
              <a:gd name="connsiteY146" fmla="*/ 6371912 h 6858000"/>
              <a:gd name="connsiteX147" fmla="*/ 11155374 w 12192000"/>
              <a:gd name="connsiteY147" fmla="*/ 6354059 h 6858000"/>
              <a:gd name="connsiteX148" fmla="*/ 10899246 w 12192000"/>
              <a:gd name="connsiteY148" fmla="*/ 6354059 h 6858000"/>
              <a:gd name="connsiteX149" fmla="*/ 10899246 w 12192000"/>
              <a:gd name="connsiteY149" fmla="*/ 6454775 h 6858000"/>
              <a:gd name="connsiteX150" fmla="*/ 10923539 w 12192000"/>
              <a:gd name="connsiteY150" fmla="*/ 6454775 h 6858000"/>
              <a:gd name="connsiteX151" fmla="*/ 10923539 w 12192000"/>
              <a:gd name="connsiteY151" fmla="*/ 6416669 h 6858000"/>
              <a:gd name="connsiteX152" fmla="*/ 10946636 w 12192000"/>
              <a:gd name="connsiteY152" fmla="*/ 6416669 h 6858000"/>
              <a:gd name="connsiteX153" fmla="*/ 10988782 w 12192000"/>
              <a:gd name="connsiteY153" fmla="*/ 6454775 h 6858000"/>
              <a:gd name="connsiteX154" fmla="*/ 11024029 w 12192000"/>
              <a:gd name="connsiteY154" fmla="*/ 6454775 h 6858000"/>
              <a:gd name="connsiteX155" fmla="*/ 10976158 w 12192000"/>
              <a:gd name="connsiteY155" fmla="*/ 6416669 h 6858000"/>
              <a:gd name="connsiteX156" fmla="*/ 10989971 w 12192000"/>
              <a:gd name="connsiteY156" fmla="*/ 6416669 h 6858000"/>
              <a:gd name="connsiteX157" fmla="*/ 11013549 w 12192000"/>
              <a:gd name="connsiteY157" fmla="*/ 6397394 h 6858000"/>
              <a:gd name="connsiteX158" fmla="*/ 11013549 w 12192000"/>
              <a:gd name="connsiteY158" fmla="*/ 6373582 h 6858000"/>
              <a:gd name="connsiteX159" fmla="*/ 10989971 w 12192000"/>
              <a:gd name="connsiteY159" fmla="*/ 6354059 h 6858000"/>
              <a:gd name="connsiteX160" fmla="*/ 10749425 w 12192000"/>
              <a:gd name="connsiteY160" fmla="*/ 6353818 h 6858000"/>
              <a:gd name="connsiteX161" fmla="*/ 10800140 w 12192000"/>
              <a:gd name="connsiteY161" fmla="*/ 6353818 h 6858000"/>
              <a:gd name="connsiteX162" fmla="*/ 10840624 w 12192000"/>
              <a:gd name="connsiteY162" fmla="*/ 6392157 h 6858000"/>
              <a:gd name="connsiteX163" fmla="*/ 10786327 w 12192000"/>
              <a:gd name="connsiteY163" fmla="*/ 6431685 h 6858000"/>
              <a:gd name="connsiteX164" fmla="*/ 10749425 w 12192000"/>
              <a:gd name="connsiteY164" fmla="*/ 6431685 h 6858000"/>
              <a:gd name="connsiteX165" fmla="*/ 11558990 w 12192000"/>
              <a:gd name="connsiteY165" fmla="*/ 6331910 h 6858000"/>
              <a:gd name="connsiteX166" fmla="*/ 11528513 w 12192000"/>
              <a:gd name="connsiteY166" fmla="*/ 6354292 h 6858000"/>
              <a:gd name="connsiteX167" fmla="*/ 11528513 w 12192000"/>
              <a:gd name="connsiteY167" fmla="*/ 6361191 h 6858000"/>
              <a:gd name="connsiteX168" fmla="*/ 11538993 w 12192000"/>
              <a:gd name="connsiteY168" fmla="*/ 6379766 h 6858000"/>
              <a:gd name="connsiteX169" fmla="*/ 11513978 w 12192000"/>
              <a:gd name="connsiteY169" fmla="*/ 6394775 h 6858000"/>
              <a:gd name="connsiteX170" fmla="*/ 11498743 w 12192000"/>
              <a:gd name="connsiteY170" fmla="*/ 6417632 h 6858000"/>
              <a:gd name="connsiteX171" fmla="*/ 11498743 w 12192000"/>
              <a:gd name="connsiteY171" fmla="*/ 6425727 h 6858000"/>
              <a:gd name="connsiteX172" fmla="*/ 11529454 w 12192000"/>
              <a:gd name="connsiteY172" fmla="*/ 6454775 h 6858000"/>
              <a:gd name="connsiteX173" fmla="*/ 11573270 w 12192000"/>
              <a:gd name="connsiteY173" fmla="*/ 6454775 h 6858000"/>
              <a:gd name="connsiteX174" fmla="*/ 11596367 w 12192000"/>
              <a:gd name="connsiteY174" fmla="*/ 6447387 h 6858000"/>
              <a:gd name="connsiteX175" fmla="*/ 11607321 w 12192000"/>
              <a:gd name="connsiteY175" fmla="*/ 6437629 h 6858000"/>
              <a:gd name="connsiteX176" fmla="*/ 11627559 w 12192000"/>
              <a:gd name="connsiteY176" fmla="*/ 6454775 h 6858000"/>
              <a:gd name="connsiteX177" fmla="*/ 11664950 w 12192000"/>
              <a:gd name="connsiteY177" fmla="*/ 6454775 h 6858000"/>
              <a:gd name="connsiteX178" fmla="*/ 11626137 w 12192000"/>
              <a:gd name="connsiteY178" fmla="*/ 6422146 h 6858000"/>
              <a:gd name="connsiteX179" fmla="*/ 11654470 w 12192000"/>
              <a:gd name="connsiteY179" fmla="*/ 6398582 h 6858000"/>
              <a:gd name="connsiteX180" fmla="*/ 11638272 w 12192000"/>
              <a:gd name="connsiteY180" fmla="*/ 6384536 h 6858000"/>
              <a:gd name="connsiteX181" fmla="*/ 11609698 w 12192000"/>
              <a:gd name="connsiteY181" fmla="*/ 6408340 h 6858000"/>
              <a:gd name="connsiteX182" fmla="*/ 11551836 w 12192000"/>
              <a:gd name="connsiteY182" fmla="*/ 6360243 h 6858000"/>
              <a:gd name="connsiteX183" fmla="*/ 11551836 w 12192000"/>
              <a:gd name="connsiteY183" fmla="*/ 6351433 h 6858000"/>
              <a:gd name="connsiteX184" fmla="*/ 11592086 w 12192000"/>
              <a:gd name="connsiteY184" fmla="*/ 6351433 h 6858000"/>
              <a:gd name="connsiteX185" fmla="*/ 11592086 w 12192000"/>
              <a:gd name="connsiteY185" fmla="*/ 6367872 h 6858000"/>
              <a:gd name="connsiteX186" fmla="*/ 11614220 w 12192000"/>
              <a:gd name="connsiteY186" fmla="*/ 6364065 h 6858000"/>
              <a:gd name="connsiteX187" fmla="*/ 11614220 w 12192000"/>
              <a:gd name="connsiteY187" fmla="*/ 6356677 h 6858000"/>
              <a:gd name="connsiteX188" fmla="*/ 11583742 w 12192000"/>
              <a:gd name="connsiteY188" fmla="*/ 6331910 h 6858000"/>
              <a:gd name="connsiteX189" fmla="*/ 10720851 w 12192000"/>
              <a:gd name="connsiteY189" fmla="*/ 6331910 h 6858000"/>
              <a:gd name="connsiteX190" fmla="*/ 10720851 w 12192000"/>
              <a:gd name="connsiteY190" fmla="*/ 6454775 h 6858000"/>
              <a:gd name="connsiteX191" fmla="*/ 10792527 w 12192000"/>
              <a:gd name="connsiteY191" fmla="*/ 6454775 h 6858000"/>
              <a:gd name="connsiteX192" fmla="*/ 10843009 w 12192000"/>
              <a:gd name="connsiteY192" fmla="*/ 6445258 h 6858000"/>
              <a:gd name="connsiteX193" fmla="*/ 10870146 w 12192000"/>
              <a:gd name="connsiteY193" fmla="*/ 6392631 h 6858000"/>
              <a:gd name="connsiteX194" fmla="*/ 10799900 w 12192000"/>
              <a:gd name="connsiteY194" fmla="*/ 6331910 h 6858000"/>
              <a:gd name="connsiteX195" fmla="*/ 0 w 12192000"/>
              <a:gd name="connsiteY195" fmla="*/ 0 h 6858000"/>
              <a:gd name="connsiteX196" fmla="*/ 12192000 w 12192000"/>
              <a:gd name="connsiteY196" fmla="*/ 0 h 6858000"/>
              <a:gd name="connsiteX197" fmla="*/ 12192000 w 12192000"/>
              <a:gd name="connsiteY197" fmla="*/ 6858000 h 6858000"/>
              <a:gd name="connsiteX198" fmla="*/ 0 w 12192000"/>
              <a:gd name="connsiteY19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Lst>
            <a:rect l="l" t="t" r="r" b="b"/>
            <a:pathLst>
              <a:path w="12192000" h="6858000">
                <a:moveTo>
                  <a:pt x="10909343" y="6535878"/>
                </a:moveTo>
                <a:lnTo>
                  <a:pt x="10992168" y="6535878"/>
                </a:lnTo>
                <a:lnTo>
                  <a:pt x="10992168" y="6598744"/>
                </a:lnTo>
                <a:lnTo>
                  <a:pt x="10909343" y="6598744"/>
                </a:lnTo>
                <a:close/>
                <a:moveTo>
                  <a:pt x="11563256" y="6534689"/>
                </a:moveTo>
                <a:lnTo>
                  <a:pt x="11619215" y="6534689"/>
                </a:lnTo>
                <a:cubicBezTo>
                  <a:pt x="11626587" y="6534689"/>
                  <a:pt x="11630409" y="6536126"/>
                  <a:pt x="11630409" y="6542785"/>
                </a:cubicBezTo>
                <a:lnTo>
                  <a:pt x="11630409" y="6554454"/>
                </a:lnTo>
                <a:cubicBezTo>
                  <a:pt x="11630409" y="6561127"/>
                  <a:pt x="11626587" y="6562549"/>
                  <a:pt x="11619215" y="6562549"/>
                </a:cubicBezTo>
                <a:lnTo>
                  <a:pt x="11563256" y="6562549"/>
                </a:lnTo>
                <a:close/>
                <a:moveTo>
                  <a:pt x="10910306" y="6517317"/>
                </a:moveTo>
                <a:cubicBezTo>
                  <a:pt x="10890158" y="6517317"/>
                  <a:pt x="10883590" y="6521831"/>
                  <a:pt x="10883590" y="6541121"/>
                </a:cubicBezTo>
                <a:lnTo>
                  <a:pt x="10883590" y="6594222"/>
                </a:lnTo>
                <a:cubicBezTo>
                  <a:pt x="10883590" y="6613271"/>
                  <a:pt x="10889902" y="6618041"/>
                  <a:pt x="10910306" y="6618041"/>
                </a:cubicBezTo>
                <a:lnTo>
                  <a:pt x="10989730" y="6618041"/>
                </a:lnTo>
                <a:cubicBezTo>
                  <a:pt x="11009886" y="6618041"/>
                  <a:pt x="11016446" y="6613271"/>
                  <a:pt x="11016446" y="6594222"/>
                </a:cubicBezTo>
                <a:lnTo>
                  <a:pt x="11016446" y="6541121"/>
                </a:lnTo>
                <a:cubicBezTo>
                  <a:pt x="11016446" y="6521831"/>
                  <a:pt x="11009878" y="6517317"/>
                  <a:pt x="10989730" y="6517317"/>
                </a:cubicBezTo>
                <a:close/>
                <a:moveTo>
                  <a:pt x="11538985" y="6517310"/>
                </a:moveTo>
                <a:lnTo>
                  <a:pt x="11538985" y="6618034"/>
                </a:lnTo>
                <a:lnTo>
                  <a:pt x="11563263" y="6618034"/>
                </a:lnTo>
                <a:lnTo>
                  <a:pt x="11563263" y="6579928"/>
                </a:lnTo>
                <a:lnTo>
                  <a:pt x="11586360" y="6579928"/>
                </a:lnTo>
                <a:lnTo>
                  <a:pt x="11628506" y="6618034"/>
                </a:lnTo>
                <a:lnTo>
                  <a:pt x="11663753" y="6618034"/>
                </a:lnTo>
                <a:lnTo>
                  <a:pt x="11615897" y="6579928"/>
                </a:lnTo>
                <a:lnTo>
                  <a:pt x="11629710" y="6579928"/>
                </a:lnTo>
                <a:cubicBezTo>
                  <a:pt x="11645892" y="6579928"/>
                  <a:pt x="11653280" y="6574451"/>
                  <a:pt x="11653280" y="6560638"/>
                </a:cubicBezTo>
                <a:lnTo>
                  <a:pt x="11653280" y="6536834"/>
                </a:lnTo>
                <a:cubicBezTo>
                  <a:pt x="11653280" y="6522787"/>
                  <a:pt x="11645892" y="6517310"/>
                  <a:pt x="11629710" y="6517310"/>
                </a:cubicBezTo>
                <a:close/>
                <a:moveTo>
                  <a:pt x="11401645" y="6517310"/>
                </a:moveTo>
                <a:lnTo>
                  <a:pt x="11401645" y="6618034"/>
                </a:lnTo>
                <a:lnTo>
                  <a:pt x="11513119" y="6618034"/>
                </a:lnTo>
                <a:lnTo>
                  <a:pt x="11513119" y="6599218"/>
                </a:lnTo>
                <a:lnTo>
                  <a:pt x="11426909" y="6599218"/>
                </a:lnTo>
                <a:lnTo>
                  <a:pt x="11426909" y="6574451"/>
                </a:lnTo>
                <a:lnTo>
                  <a:pt x="11476458" y="6574451"/>
                </a:lnTo>
                <a:lnTo>
                  <a:pt x="11476458" y="6557072"/>
                </a:lnTo>
                <a:lnTo>
                  <a:pt x="11426909" y="6557072"/>
                </a:lnTo>
                <a:lnTo>
                  <a:pt x="11426909" y="6535178"/>
                </a:lnTo>
                <a:lnTo>
                  <a:pt x="11511908" y="6535178"/>
                </a:lnTo>
                <a:lnTo>
                  <a:pt x="11511908" y="6517310"/>
                </a:lnTo>
                <a:close/>
                <a:moveTo>
                  <a:pt x="11225454" y="6517310"/>
                </a:moveTo>
                <a:lnTo>
                  <a:pt x="11225454" y="6618034"/>
                </a:lnTo>
                <a:lnTo>
                  <a:pt x="11248423" y="6618034"/>
                </a:lnTo>
                <a:lnTo>
                  <a:pt x="11248423" y="6550413"/>
                </a:lnTo>
                <a:lnTo>
                  <a:pt x="11294805" y="6605891"/>
                </a:lnTo>
                <a:lnTo>
                  <a:pt x="11299665" y="6605891"/>
                </a:lnTo>
                <a:lnTo>
                  <a:pt x="11345558" y="6548736"/>
                </a:lnTo>
                <a:lnTo>
                  <a:pt x="11345558" y="6618034"/>
                </a:lnTo>
                <a:lnTo>
                  <a:pt x="11368873" y="6618034"/>
                </a:lnTo>
                <a:lnTo>
                  <a:pt x="11368873" y="6517310"/>
                </a:lnTo>
                <a:lnTo>
                  <a:pt x="11348725" y="6517310"/>
                </a:lnTo>
                <a:lnTo>
                  <a:pt x="11298687" y="6577069"/>
                </a:lnTo>
                <a:lnTo>
                  <a:pt x="11248423" y="6517310"/>
                </a:lnTo>
                <a:close/>
                <a:moveTo>
                  <a:pt x="11048135" y="6517310"/>
                </a:moveTo>
                <a:lnTo>
                  <a:pt x="11048135" y="6618034"/>
                </a:lnTo>
                <a:lnTo>
                  <a:pt x="11071096" y="6618034"/>
                </a:lnTo>
                <a:lnTo>
                  <a:pt x="11071096" y="6550413"/>
                </a:lnTo>
                <a:lnTo>
                  <a:pt x="11117478" y="6605891"/>
                </a:lnTo>
                <a:lnTo>
                  <a:pt x="11122331" y="6605891"/>
                </a:lnTo>
                <a:lnTo>
                  <a:pt x="11168239" y="6548736"/>
                </a:lnTo>
                <a:lnTo>
                  <a:pt x="11168239" y="6618034"/>
                </a:lnTo>
                <a:lnTo>
                  <a:pt x="11191554" y="6618034"/>
                </a:lnTo>
                <a:lnTo>
                  <a:pt x="11191554" y="6517310"/>
                </a:lnTo>
                <a:lnTo>
                  <a:pt x="11171399" y="6517310"/>
                </a:lnTo>
                <a:lnTo>
                  <a:pt x="11121368" y="6577069"/>
                </a:lnTo>
                <a:lnTo>
                  <a:pt x="11071096" y="6517310"/>
                </a:lnTo>
                <a:close/>
                <a:moveTo>
                  <a:pt x="10752277" y="6495161"/>
                </a:moveTo>
                <a:cubicBezTo>
                  <a:pt x="10729180" y="6495161"/>
                  <a:pt x="10721799" y="6501112"/>
                  <a:pt x="10721799" y="6524217"/>
                </a:cubicBezTo>
                <a:lnTo>
                  <a:pt x="10721799" y="6537774"/>
                </a:lnTo>
                <a:cubicBezTo>
                  <a:pt x="10721799" y="6560878"/>
                  <a:pt x="10729187" y="6566829"/>
                  <a:pt x="10752277" y="6566829"/>
                </a:cubicBezTo>
                <a:lnTo>
                  <a:pt x="10828955" y="6566829"/>
                </a:lnTo>
                <a:lnTo>
                  <a:pt x="10828955" y="6594929"/>
                </a:lnTo>
                <a:lnTo>
                  <a:pt x="10742052" y="6594929"/>
                </a:lnTo>
                <a:lnTo>
                  <a:pt x="10742052" y="6581703"/>
                </a:lnTo>
                <a:lnTo>
                  <a:pt x="10716796" y="6586947"/>
                </a:lnTo>
                <a:lnTo>
                  <a:pt x="10716796" y="6588978"/>
                </a:lnTo>
                <a:cubicBezTo>
                  <a:pt x="10716796" y="6612075"/>
                  <a:pt x="10724417" y="6618026"/>
                  <a:pt x="10747514" y="6618026"/>
                </a:cubicBezTo>
                <a:lnTo>
                  <a:pt x="10823486" y="6618026"/>
                </a:lnTo>
                <a:cubicBezTo>
                  <a:pt x="10846583" y="6618026"/>
                  <a:pt x="10854204" y="6612075"/>
                  <a:pt x="10854204" y="6588978"/>
                </a:cubicBezTo>
                <a:lnTo>
                  <a:pt x="10854204" y="6572073"/>
                </a:lnTo>
                <a:cubicBezTo>
                  <a:pt x="10854204" y="6548969"/>
                  <a:pt x="10846583" y="6543018"/>
                  <a:pt x="10823486" y="6543018"/>
                </a:cubicBezTo>
                <a:lnTo>
                  <a:pt x="10746799" y="6543018"/>
                </a:lnTo>
                <a:lnTo>
                  <a:pt x="10746799" y="6516595"/>
                </a:lnTo>
                <a:lnTo>
                  <a:pt x="10827285" y="6516595"/>
                </a:lnTo>
                <a:lnTo>
                  <a:pt x="10827285" y="6529904"/>
                </a:lnTo>
                <a:lnTo>
                  <a:pt x="10852526" y="6523953"/>
                </a:lnTo>
                <a:lnTo>
                  <a:pt x="10852526" y="6522073"/>
                </a:lnTo>
                <a:cubicBezTo>
                  <a:pt x="10852526" y="6500871"/>
                  <a:pt x="10843957" y="6495161"/>
                  <a:pt x="10822049" y="6495161"/>
                </a:cubicBezTo>
                <a:close/>
                <a:moveTo>
                  <a:pt x="11554221" y="6392872"/>
                </a:moveTo>
                <a:lnTo>
                  <a:pt x="11591123" y="6423590"/>
                </a:lnTo>
                <a:lnTo>
                  <a:pt x="11579695" y="6433348"/>
                </a:lnTo>
                <a:lnTo>
                  <a:pt x="11522795" y="6433348"/>
                </a:lnTo>
                <a:lnTo>
                  <a:pt x="11522795" y="6433341"/>
                </a:lnTo>
                <a:lnTo>
                  <a:pt x="11522795" y="6412395"/>
                </a:lnTo>
                <a:close/>
                <a:moveTo>
                  <a:pt x="10923532" y="6371438"/>
                </a:moveTo>
                <a:lnTo>
                  <a:pt x="10979491" y="6371438"/>
                </a:lnTo>
                <a:cubicBezTo>
                  <a:pt x="10986864" y="6371438"/>
                  <a:pt x="10990685" y="6372875"/>
                  <a:pt x="10990685" y="6379533"/>
                </a:cubicBezTo>
                <a:lnTo>
                  <a:pt x="10990685" y="6391202"/>
                </a:lnTo>
                <a:cubicBezTo>
                  <a:pt x="10990685" y="6397875"/>
                  <a:pt x="10986864" y="6399297"/>
                  <a:pt x="10979491" y="6399297"/>
                </a:cubicBezTo>
                <a:lnTo>
                  <a:pt x="10923532" y="6399297"/>
                </a:lnTo>
                <a:close/>
                <a:moveTo>
                  <a:pt x="11349305" y="6354059"/>
                </a:moveTo>
                <a:cubicBezTo>
                  <a:pt x="11329541" y="6354059"/>
                  <a:pt x="11322868" y="6358829"/>
                  <a:pt x="11322868" y="6377878"/>
                </a:cubicBezTo>
                <a:lnTo>
                  <a:pt x="11322868" y="6389073"/>
                </a:lnTo>
                <a:cubicBezTo>
                  <a:pt x="11322868" y="6408122"/>
                  <a:pt x="11329541" y="6412877"/>
                  <a:pt x="11349305" y="6412877"/>
                </a:cubicBezTo>
                <a:lnTo>
                  <a:pt x="11414541" y="6412877"/>
                </a:lnTo>
                <a:lnTo>
                  <a:pt x="11414541" y="6435982"/>
                </a:lnTo>
                <a:lnTo>
                  <a:pt x="11340480" y="6435982"/>
                </a:lnTo>
                <a:lnTo>
                  <a:pt x="11340480" y="6425374"/>
                </a:lnTo>
                <a:lnTo>
                  <a:pt x="11318587" y="6429429"/>
                </a:lnTo>
                <a:lnTo>
                  <a:pt x="11318587" y="6430979"/>
                </a:lnTo>
                <a:cubicBezTo>
                  <a:pt x="11318587" y="6449795"/>
                  <a:pt x="11325012" y="6454783"/>
                  <a:pt x="11345009" y="6454783"/>
                </a:cubicBezTo>
                <a:lnTo>
                  <a:pt x="11410501" y="6454783"/>
                </a:lnTo>
                <a:cubicBezTo>
                  <a:pt x="11430498" y="6454783"/>
                  <a:pt x="11436690" y="6449795"/>
                  <a:pt x="11436690" y="6430979"/>
                </a:cubicBezTo>
                <a:lnTo>
                  <a:pt x="11436690" y="6417165"/>
                </a:lnTo>
                <a:cubicBezTo>
                  <a:pt x="11436690" y="6398116"/>
                  <a:pt x="11430506" y="6393361"/>
                  <a:pt x="11410501" y="6393361"/>
                </a:cubicBezTo>
                <a:lnTo>
                  <a:pt x="11345009" y="6393361"/>
                </a:lnTo>
                <a:lnTo>
                  <a:pt x="11345009" y="6372153"/>
                </a:lnTo>
                <a:lnTo>
                  <a:pt x="11414300" y="6372153"/>
                </a:lnTo>
                <a:lnTo>
                  <a:pt x="11414300" y="6381564"/>
                </a:lnTo>
                <a:lnTo>
                  <a:pt x="11435486" y="6377050"/>
                </a:lnTo>
                <a:lnTo>
                  <a:pt x="11435486" y="6375967"/>
                </a:lnTo>
                <a:cubicBezTo>
                  <a:pt x="11435486" y="6358355"/>
                  <a:pt x="11427639" y="6354059"/>
                  <a:pt x="11409064" y="6354059"/>
                </a:cubicBezTo>
                <a:close/>
                <a:moveTo>
                  <a:pt x="11184971" y="6354059"/>
                </a:moveTo>
                <a:lnTo>
                  <a:pt x="11184971" y="6454775"/>
                </a:lnTo>
                <a:lnTo>
                  <a:pt x="11294264" y="6454775"/>
                </a:lnTo>
                <a:lnTo>
                  <a:pt x="11294264" y="6435966"/>
                </a:lnTo>
                <a:lnTo>
                  <a:pt x="11209738" y="6435966"/>
                </a:lnTo>
                <a:lnTo>
                  <a:pt x="11209738" y="6411199"/>
                </a:lnTo>
                <a:lnTo>
                  <a:pt x="11258310" y="6411199"/>
                </a:lnTo>
                <a:lnTo>
                  <a:pt x="11258310" y="6393820"/>
                </a:lnTo>
                <a:lnTo>
                  <a:pt x="11209738" y="6393820"/>
                </a:lnTo>
                <a:lnTo>
                  <a:pt x="11209738" y="6371912"/>
                </a:lnTo>
                <a:lnTo>
                  <a:pt x="11293083" y="6371912"/>
                </a:lnTo>
                <a:lnTo>
                  <a:pt x="11293083" y="6354059"/>
                </a:lnTo>
                <a:close/>
                <a:moveTo>
                  <a:pt x="11047262" y="6354059"/>
                </a:moveTo>
                <a:lnTo>
                  <a:pt x="11047262" y="6454775"/>
                </a:lnTo>
                <a:lnTo>
                  <a:pt x="11156555" y="6454775"/>
                </a:lnTo>
                <a:lnTo>
                  <a:pt x="11156555" y="6435966"/>
                </a:lnTo>
                <a:lnTo>
                  <a:pt x="11072029" y="6435966"/>
                </a:lnTo>
                <a:lnTo>
                  <a:pt x="11072029" y="6411199"/>
                </a:lnTo>
                <a:lnTo>
                  <a:pt x="11120601" y="6411199"/>
                </a:lnTo>
                <a:lnTo>
                  <a:pt x="11120601" y="6393820"/>
                </a:lnTo>
                <a:lnTo>
                  <a:pt x="11072029" y="6393820"/>
                </a:lnTo>
                <a:lnTo>
                  <a:pt x="11072029" y="6371912"/>
                </a:lnTo>
                <a:lnTo>
                  <a:pt x="11155374" y="6371912"/>
                </a:lnTo>
                <a:lnTo>
                  <a:pt x="11155374" y="6354059"/>
                </a:lnTo>
                <a:close/>
                <a:moveTo>
                  <a:pt x="10899246" y="6354059"/>
                </a:moveTo>
                <a:lnTo>
                  <a:pt x="10899246" y="6454775"/>
                </a:lnTo>
                <a:lnTo>
                  <a:pt x="10923539" y="6454775"/>
                </a:lnTo>
                <a:lnTo>
                  <a:pt x="10923539" y="6416669"/>
                </a:lnTo>
                <a:lnTo>
                  <a:pt x="10946636" y="6416669"/>
                </a:lnTo>
                <a:lnTo>
                  <a:pt x="10988782" y="6454775"/>
                </a:lnTo>
                <a:lnTo>
                  <a:pt x="11024029" y="6454775"/>
                </a:lnTo>
                <a:lnTo>
                  <a:pt x="10976158" y="6416669"/>
                </a:lnTo>
                <a:lnTo>
                  <a:pt x="10989971" y="6416669"/>
                </a:lnTo>
                <a:cubicBezTo>
                  <a:pt x="11006169" y="6416669"/>
                  <a:pt x="11013549" y="6411192"/>
                  <a:pt x="11013549" y="6397394"/>
                </a:cubicBezTo>
                <a:lnTo>
                  <a:pt x="11013549" y="6373582"/>
                </a:lnTo>
                <a:cubicBezTo>
                  <a:pt x="11013549" y="6359536"/>
                  <a:pt x="11006161" y="6354059"/>
                  <a:pt x="10989971" y="6354059"/>
                </a:cubicBezTo>
                <a:close/>
                <a:moveTo>
                  <a:pt x="10749425" y="6353818"/>
                </a:moveTo>
                <a:lnTo>
                  <a:pt x="10800140" y="6353818"/>
                </a:lnTo>
                <a:cubicBezTo>
                  <a:pt x="10827052" y="6353818"/>
                  <a:pt x="10840624" y="6367157"/>
                  <a:pt x="10840624" y="6392157"/>
                </a:cubicBezTo>
                <a:cubicBezTo>
                  <a:pt x="10840624" y="6422635"/>
                  <a:pt x="10822523" y="6431685"/>
                  <a:pt x="10786327" y="6431685"/>
                </a:cubicBezTo>
                <a:lnTo>
                  <a:pt x="10749425" y="6431685"/>
                </a:lnTo>
                <a:close/>
                <a:moveTo>
                  <a:pt x="11558990" y="6331910"/>
                </a:moveTo>
                <a:cubicBezTo>
                  <a:pt x="11538030" y="6331910"/>
                  <a:pt x="11528513" y="6336680"/>
                  <a:pt x="11528513" y="6354292"/>
                </a:cubicBezTo>
                <a:lnTo>
                  <a:pt x="11528513" y="6361191"/>
                </a:lnTo>
                <a:cubicBezTo>
                  <a:pt x="11528513" y="6368338"/>
                  <a:pt x="11531846" y="6373815"/>
                  <a:pt x="11538993" y="6379766"/>
                </a:cubicBezTo>
                <a:lnTo>
                  <a:pt x="11513978" y="6394775"/>
                </a:lnTo>
                <a:cubicBezTo>
                  <a:pt x="11503272" y="6401201"/>
                  <a:pt x="11498743" y="6405007"/>
                  <a:pt x="11498743" y="6417632"/>
                </a:cubicBezTo>
                <a:lnTo>
                  <a:pt x="11498743" y="6425727"/>
                </a:lnTo>
                <a:cubicBezTo>
                  <a:pt x="11498743" y="6448824"/>
                  <a:pt x="11506364" y="6454775"/>
                  <a:pt x="11529454" y="6454775"/>
                </a:cubicBezTo>
                <a:lnTo>
                  <a:pt x="11573270" y="6454775"/>
                </a:lnTo>
                <a:cubicBezTo>
                  <a:pt x="11583502" y="6454775"/>
                  <a:pt x="11588505" y="6454301"/>
                  <a:pt x="11596367" y="6447387"/>
                </a:cubicBezTo>
                <a:lnTo>
                  <a:pt x="11607321" y="6437629"/>
                </a:lnTo>
                <a:lnTo>
                  <a:pt x="11627559" y="6454775"/>
                </a:lnTo>
                <a:lnTo>
                  <a:pt x="11664950" y="6454775"/>
                </a:lnTo>
                <a:lnTo>
                  <a:pt x="11626137" y="6422146"/>
                </a:lnTo>
                <a:lnTo>
                  <a:pt x="11654470" y="6398582"/>
                </a:lnTo>
                <a:lnTo>
                  <a:pt x="11638272" y="6384536"/>
                </a:lnTo>
                <a:lnTo>
                  <a:pt x="11609698" y="6408340"/>
                </a:lnTo>
                <a:lnTo>
                  <a:pt x="11551836" y="6360243"/>
                </a:lnTo>
                <a:lnTo>
                  <a:pt x="11551836" y="6351433"/>
                </a:lnTo>
                <a:lnTo>
                  <a:pt x="11592086" y="6351433"/>
                </a:lnTo>
                <a:lnTo>
                  <a:pt x="11592086" y="6367872"/>
                </a:lnTo>
                <a:lnTo>
                  <a:pt x="11614220" y="6364065"/>
                </a:lnTo>
                <a:lnTo>
                  <a:pt x="11614220" y="6356677"/>
                </a:lnTo>
                <a:cubicBezTo>
                  <a:pt x="11614220" y="6336680"/>
                  <a:pt x="11605884" y="6331910"/>
                  <a:pt x="11583742" y="6331910"/>
                </a:cubicBezTo>
                <a:close/>
                <a:moveTo>
                  <a:pt x="10720851" y="6331910"/>
                </a:moveTo>
                <a:lnTo>
                  <a:pt x="10720851" y="6454775"/>
                </a:lnTo>
                <a:lnTo>
                  <a:pt x="10792527" y="6454775"/>
                </a:lnTo>
                <a:cubicBezTo>
                  <a:pt x="10814420" y="6454775"/>
                  <a:pt x="10831092" y="6452631"/>
                  <a:pt x="10843009" y="6445258"/>
                </a:cubicBezTo>
                <a:cubicBezTo>
                  <a:pt x="10860155" y="6434778"/>
                  <a:pt x="10870146" y="6415728"/>
                  <a:pt x="10870146" y="6392631"/>
                </a:cubicBezTo>
                <a:cubicBezTo>
                  <a:pt x="10870146" y="6354533"/>
                  <a:pt x="10845868" y="6331910"/>
                  <a:pt x="10799900" y="6331910"/>
                </a:cubicBezTo>
                <a:close/>
                <a:moveTo>
                  <a:pt x="0" y="0"/>
                </a:moveTo>
                <a:lnTo>
                  <a:pt x="12192000" y="0"/>
                </a:lnTo>
                <a:lnTo>
                  <a:pt x="12192000" y="6858000"/>
                </a:lnTo>
                <a:lnTo>
                  <a:pt x="0" y="6858000"/>
                </a:lnTo>
                <a:close/>
              </a:path>
            </a:pathLst>
          </a:custGeom>
          <a:pattFill prst="ltUpDiag">
            <a:fgClr>
              <a:schemeClr val="bg1">
                <a:lumMod val="95000"/>
              </a:schemeClr>
            </a:fgClr>
            <a:bgClr>
              <a:schemeClr val="bg1"/>
            </a:bgClr>
          </a:pattFill>
        </p:spPr>
        <p:txBody>
          <a:bodyPr wrap="square">
            <a:noAutofit/>
          </a:bodyPr>
          <a:lstStyle/>
          <a:p>
            <a:endParaRPr lang="en-US"/>
          </a:p>
        </p:txBody>
      </p:sp>
      <p:sp>
        <p:nvSpPr>
          <p:cNvPr id="7" name="text">
            <a:extLst>
              <a:ext uri="{FF2B5EF4-FFF2-40B4-BE49-F238E27FC236}">
                <a16:creationId xmlns:a16="http://schemas.microsoft.com/office/drawing/2014/main" id="{76947769-F1C5-46D2-A578-B46158BB4453}"/>
              </a:ext>
            </a:extLst>
          </p:cNvPr>
          <p:cNvSpPr>
            <a:spLocks noGrp="1"/>
          </p:cNvSpPr>
          <p:nvPr userDrawn="1">
            <p:ph type="body" sz="quarter" idx="15"/>
          </p:nvPr>
        </p:nvSpPr>
        <p:spPr bwMode="gray">
          <a:xfrm>
            <a:off x="8049600" y="0"/>
            <a:ext cx="3616800" cy="3472867"/>
          </a:xfrm>
          <a:solidFill>
            <a:schemeClr val="bg1"/>
          </a:solidFill>
        </p:spPr>
        <p:txBody>
          <a:bodyPr wrap="square" lIns="216000" tIns="1602000" rIns="216000" bIns="432000">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le">
            <a:extLst>
              <a:ext uri="{FF2B5EF4-FFF2-40B4-BE49-F238E27FC236}">
                <a16:creationId xmlns:a16="http://schemas.microsoft.com/office/drawing/2014/main" id="{8FFCB50B-5503-4467-8A0F-9FBB8B48B97D}"/>
              </a:ext>
            </a:extLst>
          </p:cNvPr>
          <p:cNvSpPr>
            <a:spLocks noGrp="1"/>
          </p:cNvSpPr>
          <p:nvPr userDrawn="1">
            <p:ph type="title"/>
          </p:nvPr>
        </p:nvSpPr>
        <p:spPr bwMode="gray">
          <a:xfrm>
            <a:off x="8049600" y="673200"/>
            <a:ext cx="3616800" cy="864000"/>
          </a:xfrm>
        </p:spPr>
        <p:txBody>
          <a:bodyPr lIns="216000" tIns="0" rIns="216000" bIns="0"/>
          <a:lstStyle/>
          <a:p>
            <a:r>
              <a:rPr lang="de-DE"/>
              <a:t>Mastertitelformat bearbeiten</a:t>
            </a:r>
            <a:endParaRPr lang="en-US"/>
          </a:p>
        </p:txBody>
      </p:sp>
      <p:sp>
        <p:nvSpPr>
          <p:cNvPr id="70" name="logo drees&amp;sommer white">
            <a:extLst>
              <a:ext uri="{FF2B5EF4-FFF2-40B4-BE49-F238E27FC236}">
                <a16:creationId xmlns:a16="http://schemas.microsoft.com/office/drawing/2014/main" id="{91489C11-500C-4D1E-AF15-60A75D6E0BE0}"/>
              </a:ext>
            </a:extLst>
          </p:cNvPr>
          <p:cNvSpPr>
            <a:spLocks noGrp="1"/>
          </p:cNvSpPr>
          <p:nvPr>
            <p:ph type="media" sz="quarter" idx="19"/>
          </p:nvPr>
        </p:nvSpPr>
        <p:spPr bwMode="gray">
          <a:xfrm>
            <a:off x="10716797" y="6330042"/>
            <a:ext cx="946800" cy="288000"/>
          </a:xfrm>
          <a:blipFill>
            <a:blip r:embed="rId2" cstate="print">
              <a:extLst>
                <a:ext uri="{28A0092B-C50C-407E-A947-70E740481C1C}">
                  <a14:useLocalDpi xmlns:a14="http://schemas.microsoft.com/office/drawing/2010/main"/>
                </a:ext>
              </a:extLst>
            </a:blip>
            <a:stretch>
              <a:fillRect/>
            </a:stretch>
          </a:blipFill>
          <a:ln w="15875" cap="flat">
            <a:noFill/>
            <a:prstDash val="lgDash"/>
          </a:ln>
        </p:spPr>
        <p:txBody>
          <a:bodyPr/>
          <a:lstStyle>
            <a:lvl1pPr>
              <a:defRPr sz="100">
                <a:solidFill>
                  <a:schemeClr val="bg1"/>
                </a:solidFill>
              </a:defRPr>
            </a:lvl1pPr>
          </a:lstStyle>
          <a:p>
            <a:endParaRPr lang="de-DE"/>
          </a:p>
        </p:txBody>
      </p:sp>
      <p:sp>
        <p:nvSpPr>
          <p:cNvPr id="12" name="info">
            <a:extLst>
              <a:ext uri="{FF2B5EF4-FFF2-40B4-BE49-F238E27FC236}">
                <a16:creationId xmlns:a16="http://schemas.microsoft.com/office/drawing/2014/main" id="{FDED0E34-B1F8-4BF9-A7A8-F9D9C266D113}"/>
              </a:ext>
            </a:extLst>
          </p:cNvPr>
          <p:cNvSpPr/>
          <p:nvPr userDrawn="1"/>
        </p:nvSpPr>
        <p:spPr bwMode="gray">
          <a:xfrm flipH="1">
            <a:off x="12247320" y="6288645"/>
            <a:ext cx="1579616" cy="370793"/>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36000" rtlCol="0" anchor="ctr">
            <a:spAutoFit/>
          </a:bodyPr>
          <a:lstStyle/>
          <a:p>
            <a:pPr algn="ctr">
              <a:lnSpc>
                <a:spcPct val="80000"/>
              </a:lnSpc>
              <a:spcBef>
                <a:spcPts val="400"/>
              </a:spcBef>
              <a:spcAft>
                <a:spcPts val="400"/>
              </a:spcAft>
            </a:pPr>
            <a:r>
              <a:rPr lang="en-US" sz="1050">
                <a:solidFill>
                  <a:schemeClr val="bg1"/>
                </a:solidFill>
              </a:rPr>
              <a:t>delete the white logo </a:t>
            </a:r>
            <a:br>
              <a:rPr lang="en-US" sz="1050">
                <a:solidFill>
                  <a:schemeClr val="bg1"/>
                </a:solidFill>
              </a:rPr>
            </a:br>
            <a:r>
              <a:rPr lang="en-US" sz="1050">
                <a:solidFill>
                  <a:schemeClr val="bg1"/>
                </a:solidFill>
              </a:rPr>
              <a:t>to get the BLUE LOGO</a:t>
            </a:r>
            <a:endParaRPr lang="de-DE" sz="1050">
              <a:solidFill>
                <a:schemeClr val="bg1"/>
              </a:solidFill>
            </a:endParaRPr>
          </a:p>
        </p:txBody>
      </p:sp>
      <p:sp>
        <p:nvSpPr>
          <p:cNvPr id="6" name="slide number">
            <a:extLst>
              <a:ext uri="{FF2B5EF4-FFF2-40B4-BE49-F238E27FC236}">
                <a16:creationId xmlns:a16="http://schemas.microsoft.com/office/drawing/2014/main" id="{90B54C2D-8235-4852-8EB7-5E05529B2499}"/>
              </a:ext>
            </a:extLst>
          </p:cNvPr>
          <p:cNvSpPr>
            <a:spLocks noGrp="1"/>
          </p:cNvSpPr>
          <p:nvPr userDrawn="1">
            <p:ph type="sldNum" sz="quarter" idx="12"/>
          </p:nvPr>
        </p:nvSpPr>
        <p:spPr bwMode="gray">
          <a:xfrm>
            <a:off x="525600" y="7200000"/>
            <a:ext cx="234000" cy="180000"/>
          </a:xfrm>
        </p:spPr>
        <p:txBody>
          <a:bodyPr lIns="0" tIns="0" rIns="0" bIns="0"/>
          <a:lstStyle/>
          <a:p>
            <a:fld id="{9829449A-3FF3-45CE-9F4F-09BADC0910C6}" type="slidenum">
              <a:rPr lang="en-US" smtClean="0"/>
              <a:t>‹Nr.›</a:t>
            </a:fld>
            <a:endParaRPr lang="en-US"/>
          </a:p>
        </p:txBody>
      </p:sp>
      <p:sp>
        <p:nvSpPr>
          <p:cNvPr id="5" name="footer">
            <a:extLst>
              <a:ext uri="{FF2B5EF4-FFF2-40B4-BE49-F238E27FC236}">
                <a16:creationId xmlns:a16="http://schemas.microsoft.com/office/drawing/2014/main" id="{A4534FC4-D037-44B0-B266-D9E820FC1DF2}"/>
              </a:ext>
            </a:extLst>
          </p:cNvPr>
          <p:cNvSpPr>
            <a:spLocks noGrp="1"/>
          </p:cNvSpPr>
          <p:nvPr userDrawn="1">
            <p:ph type="ftr" sz="quarter" idx="11"/>
          </p:nvPr>
        </p:nvSpPr>
        <p:spPr bwMode="gray">
          <a:xfrm>
            <a:off x="763200" y="7200000"/>
            <a:ext cx="7880400" cy="180000"/>
          </a:xfrm>
        </p:spPr>
        <p:txBody>
          <a:bodyPr lIns="0" tIns="0" rIns="0" bIns="0"/>
          <a:lstStyle/>
          <a:p>
            <a:endParaRPr lang="en-US"/>
          </a:p>
        </p:txBody>
      </p:sp>
    </p:spTree>
    <p:extLst>
      <p:ext uri="{BB962C8B-B14F-4D97-AF65-F5344CB8AC3E}">
        <p14:creationId xmlns:p14="http://schemas.microsoft.com/office/powerpoint/2010/main" val="3085154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2" pos="5070"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op Reference">
    <p:spTree>
      <p:nvGrpSpPr>
        <p:cNvPr id="1" name=""/>
        <p:cNvGrpSpPr/>
        <p:nvPr/>
      </p:nvGrpSpPr>
      <p:grpSpPr>
        <a:xfrm>
          <a:off x="0" y="0"/>
          <a:ext cx="0" cy="0"/>
          <a:chOff x="0" y="0"/>
          <a:chExt cx="0" cy="0"/>
        </a:xfrm>
      </p:grpSpPr>
      <p:sp>
        <p:nvSpPr>
          <p:cNvPr id="13" name="background grey">
            <a:extLst>
              <a:ext uri="{FF2B5EF4-FFF2-40B4-BE49-F238E27FC236}">
                <a16:creationId xmlns:a16="http://schemas.microsoft.com/office/drawing/2014/main" id="{601226B0-B5A9-49D1-A3DA-8469D6E529BC}"/>
              </a:ext>
            </a:extLst>
          </p:cNvPr>
          <p:cNvSpPr/>
          <p:nvPr userDrawn="1"/>
        </p:nvSpPr>
        <p:spPr bwMode="gray">
          <a:xfrm>
            <a:off x="0" y="0"/>
            <a:ext cx="12192000" cy="6098401"/>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400"/>
              </a:spcBef>
              <a:spcAft>
                <a:spcPts val="400"/>
              </a:spcAft>
            </a:pPr>
            <a:endParaRPr lang="de-DE" sz="1400"/>
          </a:p>
        </p:txBody>
      </p:sp>
      <p:sp>
        <p:nvSpPr>
          <p:cNvPr id="10" name="picture">
            <a:extLst>
              <a:ext uri="{FF2B5EF4-FFF2-40B4-BE49-F238E27FC236}">
                <a16:creationId xmlns:a16="http://schemas.microsoft.com/office/drawing/2014/main" id="{76533136-822A-4672-82A6-5B4464AD390B}"/>
              </a:ext>
            </a:extLst>
          </p:cNvPr>
          <p:cNvSpPr>
            <a:spLocks noGrp="1"/>
          </p:cNvSpPr>
          <p:nvPr userDrawn="1">
            <p:ph type="pic" sz="quarter" idx="18"/>
          </p:nvPr>
        </p:nvSpPr>
        <p:spPr bwMode="gray">
          <a:xfrm>
            <a:off x="0" y="1"/>
            <a:ext cx="7896023" cy="6858000"/>
          </a:xfrm>
          <a:pattFill prst="ltUpDiag">
            <a:fgClr>
              <a:schemeClr val="bg1">
                <a:lumMod val="95000"/>
              </a:schemeClr>
            </a:fgClr>
            <a:bgClr>
              <a:schemeClr val="bg1"/>
            </a:bgClr>
          </a:pattFill>
        </p:spPr>
        <p:txBody>
          <a:bodyPr/>
          <a:lstStyle/>
          <a:p>
            <a:endParaRPr lang="en-US"/>
          </a:p>
        </p:txBody>
      </p:sp>
      <p:sp>
        <p:nvSpPr>
          <p:cNvPr id="7" name="text">
            <a:extLst>
              <a:ext uri="{FF2B5EF4-FFF2-40B4-BE49-F238E27FC236}">
                <a16:creationId xmlns:a16="http://schemas.microsoft.com/office/drawing/2014/main" id="{76947769-F1C5-46D2-A578-B46158BB4453}"/>
              </a:ext>
            </a:extLst>
          </p:cNvPr>
          <p:cNvSpPr>
            <a:spLocks noGrp="1"/>
          </p:cNvSpPr>
          <p:nvPr userDrawn="1">
            <p:ph type="body" sz="quarter" idx="15"/>
          </p:nvPr>
        </p:nvSpPr>
        <p:spPr bwMode="gray">
          <a:xfrm>
            <a:off x="7290798" y="0"/>
            <a:ext cx="4365332" cy="3182054"/>
          </a:xfrm>
          <a:solidFill>
            <a:schemeClr val="bg1"/>
          </a:solidFill>
        </p:spPr>
        <p:txBody>
          <a:bodyPr wrap="square" lIns="216000" tIns="1335600" rIns="216000" bIns="432000">
            <a:spAutoFit/>
          </a:bodyPr>
          <a:lstStyle>
            <a:lvl1pPr>
              <a:spcBef>
                <a:spcPts val="0"/>
              </a:spcBef>
              <a:defRPr>
                <a:solidFill>
                  <a:schemeClr val="tx1"/>
                </a:solidFill>
              </a:defRPr>
            </a:lvl1pPr>
            <a:lvl2pPr marL="0" indent="0">
              <a:spcBef>
                <a:spcPts val="400"/>
              </a:spcBef>
              <a:spcAft>
                <a:spcPts val="0"/>
              </a:spcAft>
              <a:buFontTx/>
              <a:buNone/>
              <a:defRPr b="1">
                <a:solidFill>
                  <a:schemeClr val="tx1"/>
                </a:solidFill>
              </a:defRPr>
            </a:lvl2pPr>
            <a:lvl3pPr marL="216000" indent="-216000">
              <a:buFont typeface="Wingdings" panose="05000000000000000000" pitchFamily="2" charset="2"/>
              <a:buChar char="§"/>
              <a:defRPr>
                <a:solidFill>
                  <a:schemeClr val="tx1"/>
                </a:solidFill>
              </a:defRPr>
            </a:lvl3pPr>
            <a:lvl4pPr marL="432000" indent="-216000">
              <a:buFont typeface="Symbol" panose="05050102010706020507" pitchFamily="18" charset="2"/>
              <a:buChar cha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le">
            <a:extLst>
              <a:ext uri="{FF2B5EF4-FFF2-40B4-BE49-F238E27FC236}">
                <a16:creationId xmlns:a16="http://schemas.microsoft.com/office/drawing/2014/main" id="{8FFCB50B-5503-4467-8A0F-9FBB8B48B97D}"/>
              </a:ext>
            </a:extLst>
          </p:cNvPr>
          <p:cNvSpPr>
            <a:spLocks noGrp="1"/>
          </p:cNvSpPr>
          <p:nvPr userDrawn="1">
            <p:ph type="title"/>
          </p:nvPr>
        </p:nvSpPr>
        <p:spPr bwMode="gray">
          <a:xfrm>
            <a:off x="7290798" y="673200"/>
            <a:ext cx="4365332" cy="518625"/>
          </a:xfrm>
        </p:spPr>
        <p:txBody>
          <a:bodyPr lIns="216000" tIns="0" rIns="216000" bIns="0"/>
          <a:lstStyle>
            <a:lvl1pPr>
              <a:defRPr sz="1800"/>
            </a:lvl1pPr>
          </a:lstStyle>
          <a:p>
            <a:r>
              <a:rPr lang="de-DE"/>
              <a:t>Mastertitelformat bearbeiten</a:t>
            </a:r>
            <a:endParaRPr lang="en-US"/>
          </a:p>
        </p:txBody>
      </p:sp>
      <p:sp>
        <p:nvSpPr>
          <p:cNvPr id="6" name="slide number">
            <a:extLst>
              <a:ext uri="{FF2B5EF4-FFF2-40B4-BE49-F238E27FC236}">
                <a16:creationId xmlns:a16="http://schemas.microsoft.com/office/drawing/2014/main" id="{90B54C2D-8235-4852-8EB7-5E05529B2499}"/>
              </a:ext>
            </a:extLst>
          </p:cNvPr>
          <p:cNvSpPr>
            <a:spLocks noGrp="1"/>
          </p:cNvSpPr>
          <p:nvPr userDrawn="1">
            <p:ph type="sldNum" sz="quarter" idx="12"/>
          </p:nvPr>
        </p:nvSpPr>
        <p:spPr bwMode="gray">
          <a:xfrm>
            <a:off x="525600" y="7200000"/>
            <a:ext cx="234000" cy="180000"/>
          </a:xfrm>
        </p:spPr>
        <p:txBody>
          <a:bodyPr lIns="0" tIns="0" rIns="0" bIns="0"/>
          <a:lstStyle/>
          <a:p>
            <a:fld id="{9829449A-3FF3-45CE-9F4F-09BADC0910C6}" type="slidenum">
              <a:rPr lang="en-US" smtClean="0"/>
              <a:t>‹Nr.›</a:t>
            </a:fld>
            <a:endParaRPr lang="en-US"/>
          </a:p>
        </p:txBody>
      </p:sp>
      <p:sp>
        <p:nvSpPr>
          <p:cNvPr id="5" name="footer">
            <a:extLst>
              <a:ext uri="{FF2B5EF4-FFF2-40B4-BE49-F238E27FC236}">
                <a16:creationId xmlns:a16="http://schemas.microsoft.com/office/drawing/2014/main" id="{A4534FC4-D037-44B0-B266-D9E820FC1DF2}"/>
              </a:ext>
            </a:extLst>
          </p:cNvPr>
          <p:cNvSpPr>
            <a:spLocks noGrp="1"/>
          </p:cNvSpPr>
          <p:nvPr userDrawn="1">
            <p:ph type="ftr" sz="quarter" idx="11"/>
          </p:nvPr>
        </p:nvSpPr>
        <p:spPr bwMode="gray">
          <a:xfrm>
            <a:off x="763200" y="7200000"/>
            <a:ext cx="7880400" cy="180000"/>
          </a:xfrm>
        </p:spPr>
        <p:txBody>
          <a:bodyPr lIns="0" tIns="0" rIns="0" bIns="0"/>
          <a:lstStyle/>
          <a:p>
            <a:endParaRPr lang="en-US"/>
          </a:p>
        </p:txBody>
      </p:sp>
    </p:spTree>
    <p:extLst>
      <p:ext uri="{BB962C8B-B14F-4D97-AF65-F5344CB8AC3E}">
        <p14:creationId xmlns:p14="http://schemas.microsoft.com/office/powerpoint/2010/main" val="522876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4592">
          <p15:clr>
            <a:srgbClr val="FBAE40"/>
          </p15:clr>
        </p15:guide>
        <p15:guide id="2" pos="4974">
          <p15:clr>
            <a:srgbClr val="FBAE40"/>
          </p15:clr>
        </p15:guide>
        <p15:guide id="3" orient="horz" pos="59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Title Slide Blank">
    <p:bg bwMode="gray">
      <p:bgRef idx="1001">
        <a:schemeClr val="bg1"/>
      </p:bgRef>
    </p:bg>
    <p:spTree>
      <p:nvGrpSpPr>
        <p:cNvPr id="1" name=""/>
        <p:cNvGrpSpPr/>
        <p:nvPr/>
      </p:nvGrpSpPr>
      <p:grpSpPr>
        <a:xfrm>
          <a:off x="0" y="0"/>
          <a:ext cx="0" cy="0"/>
          <a:chOff x="0" y="0"/>
          <a:chExt cx="0" cy="0"/>
        </a:xfrm>
      </p:grpSpPr>
      <p:sp>
        <p:nvSpPr>
          <p:cNvPr id="37" name="background blue">
            <a:extLst>
              <a:ext uri="{FF2B5EF4-FFF2-40B4-BE49-F238E27FC236}">
                <a16:creationId xmlns:a16="http://schemas.microsoft.com/office/drawing/2014/main" id="{45AC3CA3-D1CB-4FDF-8FCE-2FA0AE998F6A}"/>
              </a:ext>
            </a:extLst>
          </p:cNvPr>
          <p:cNvSpPr/>
          <p:nvPr userDrawn="1"/>
        </p:nvSpPr>
        <p:spPr bwMode="ltGray">
          <a:xfrm>
            <a:off x="10140000" y="0"/>
            <a:ext cx="2052000" cy="6857998"/>
          </a:xfrm>
          <a:prstGeom prst="rect">
            <a:avLst/>
          </a:prstGeom>
          <a:solidFill>
            <a:srgbClr val="89E4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72000" rIns="72000" bIns="72000" numCol="1" spcCol="0" rtlCol="0" fromWordArt="0" anchor="ctr" anchorCtr="0" forceAA="0" compatLnSpc="1">
            <a:prstTxWarp prst="textNoShape">
              <a:avLst/>
            </a:prstTxWarp>
            <a:noAutofit/>
          </a:bodyPr>
          <a:lstStyle/>
          <a:p>
            <a:pPr rtl="0" eaLnBrk="1" fontAlgn="auto" hangingPunct="1">
              <a:lnSpc>
                <a:spcPct val="100000"/>
              </a:lnSpc>
              <a:spcBef>
                <a:spcPts val="300"/>
              </a:spcBef>
              <a:spcAft>
                <a:spcPts val="300"/>
              </a:spcAft>
            </a:pPr>
            <a:endParaRPr lang="de-DE" sz="1600" b="1" i="0" u="none" spc="50">
              <a:solidFill>
                <a:srgbClr val="FFFFFF"/>
              </a:solidFill>
              <a:latin typeface="Calibri" panose="020F0502020204030204" pitchFamily="34" charset="0"/>
            </a:endParaRPr>
          </a:p>
        </p:txBody>
      </p:sp>
      <p:sp>
        <p:nvSpPr>
          <p:cNvPr id="36" name="picture">
            <a:extLst>
              <a:ext uri="{FF2B5EF4-FFF2-40B4-BE49-F238E27FC236}">
                <a16:creationId xmlns:a16="http://schemas.microsoft.com/office/drawing/2014/main" id="{6B8D45BC-2FCD-46E5-97AE-C7ECFC01F2BC}"/>
              </a:ext>
            </a:extLst>
          </p:cNvPr>
          <p:cNvSpPr>
            <a:spLocks noGrp="1"/>
          </p:cNvSpPr>
          <p:nvPr>
            <p:ph type="pic" sz="quarter" idx="15"/>
          </p:nvPr>
        </p:nvSpPr>
        <p:spPr bwMode="gray">
          <a:xfrm>
            <a:off x="1" y="1"/>
            <a:ext cx="11903999" cy="6857998"/>
          </a:xfrm>
          <a:custGeom>
            <a:avLst/>
            <a:gdLst>
              <a:gd name="connsiteX0" fmla="*/ 0 w 11903999"/>
              <a:gd name="connsiteY0" fmla="*/ 0 h 6857997"/>
              <a:gd name="connsiteX1" fmla="*/ 10212000 w 11903999"/>
              <a:gd name="connsiteY1" fmla="*/ 0 h 6857997"/>
              <a:gd name="connsiteX2" fmla="*/ 10212000 w 11903999"/>
              <a:gd name="connsiteY2" fmla="*/ 647998 h 6857997"/>
              <a:gd name="connsiteX3" fmla="*/ 11903999 w 11903999"/>
              <a:gd name="connsiteY3" fmla="*/ 647998 h 6857997"/>
              <a:gd name="connsiteX4" fmla="*/ 11903999 w 11903999"/>
              <a:gd name="connsiteY4" fmla="*/ 6857997 h 6857997"/>
              <a:gd name="connsiteX5" fmla="*/ 5400001 w 11903999"/>
              <a:gd name="connsiteY5" fmla="*/ 6857997 h 6857997"/>
              <a:gd name="connsiteX6" fmla="*/ 5400001 w 11903999"/>
              <a:gd name="connsiteY6" fmla="*/ 3661333 h 6857997"/>
              <a:gd name="connsiteX7" fmla="*/ 0 w 11903999"/>
              <a:gd name="connsiteY7" fmla="*/ 3661333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03999" h="6857997">
                <a:moveTo>
                  <a:pt x="0" y="0"/>
                </a:moveTo>
                <a:lnTo>
                  <a:pt x="10212000" y="0"/>
                </a:lnTo>
                <a:lnTo>
                  <a:pt x="10212000" y="647998"/>
                </a:lnTo>
                <a:lnTo>
                  <a:pt x="11903999" y="647998"/>
                </a:lnTo>
                <a:lnTo>
                  <a:pt x="11903999" y="6857997"/>
                </a:lnTo>
                <a:lnTo>
                  <a:pt x="5400001" y="6857997"/>
                </a:lnTo>
                <a:lnTo>
                  <a:pt x="5400001" y="3661333"/>
                </a:lnTo>
                <a:lnTo>
                  <a:pt x="0" y="3661333"/>
                </a:lnTo>
                <a:close/>
              </a:path>
            </a:pathLst>
          </a:custGeom>
          <a:pattFill prst="ltUpDiag">
            <a:fgClr>
              <a:schemeClr val="bg1">
                <a:lumMod val="95000"/>
              </a:schemeClr>
            </a:fgClr>
            <a:bgClr>
              <a:schemeClr val="bg1"/>
            </a:bgClr>
          </a:pattFill>
        </p:spPr>
        <p:txBody>
          <a:bodyPr wrap="square">
            <a:noAutofit/>
          </a:bodyPr>
          <a:lstStyle/>
          <a:p>
            <a:endParaRPr lang="de-DE"/>
          </a:p>
        </p:txBody>
      </p:sp>
      <p:grpSp>
        <p:nvGrpSpPr>
          <p:cNvPr id="8" name="line element">
            <a:extLst>
              <a:ext uri="{FF2B5EF4-FFF2-40B4-BE49-F238E27FC236}">
                <a16:creationId xmlns:a16="http://schemas.microsoft.com/office/drawing/2014/main" id="{10F17B53-AF31-47E3-A654-EFE6792CC744}"/>
              </a:ext>
            </a:extLst>
          </p:cNvPr>
          <p:cNvGrpSpPr>
            <a:grpSpLocks noChangeAspect="1"/>
          </p:cNvGrpSpPr>
          <p:nvPr userDrawn="1"/>
        </p:nvGrpSpPr>
        <p:grpSpPr bwMode="gray">
          <a:xfrm>
            <a:off x="508288" y="3978755"/>
            <a:ext cx="740827" cy="26783"/>
            <a:chOff x="508288" y="461121"/>
            <a:chExt cx="740827" cy="26783"/>
          </a:xfrm>
          <a:solidFill>
            <a:schemeClr val="tx1"/>
          </a:solidFill>
        </p:grpSpPr>
        <p:sp>
          <p:nvSpPr>
            <p:cNvPr id="9" name="line 1">
              <a:extLst>
                <a:ext uri="{FF2B5EF4-FFF2-40B4-BE49-F238E27FC236}">
                  <a16:creationId xmlns:a16="http://schemas.microsoft.com/office/drawing/2014/main" id="{F02C5073-3597-44EC-8DBA-919730153A7B}"/>
                </a:ext>
              </a:extLst>
            </p:cNvPr>
            <p:cNvSpPr>
              <a:spLocks/>
            </p:cNvSpPr>
            <p:nvPr/>
          </p:nvSpPr>
          <p:spPr bwMode="gray">
            <a:xfrm rot="2700000">
              <a:off x="617300" y="352116"/>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sp>
          <p:nvSpPr>
            <p:cNvPr id="10" name="line 2">
              <a:extLst>
                <a:ext uri="{FF2B5EF4-FFF2-40B4-BE49-F238E27FC236}">
                  <a16:creationId xmlns:a16="http://schemas.microsoft.com/office/drawing/2014/main" id="{3314543B-DD65-4E7B-8078-E8C80B3F7AB2}"/>
                </a:ext>
              </a:extLst>
            </p:cNvPr>
            <p:cNvSpPr>
              <a:spLocks/>
            </p:cNvSpPr>
            <p:nvPr/>
          </p:nvSpPr>
          <p:spPr bwMode="gray">
            <a:xfrm rot="2700000">
              <a:off x="741307" y="352116"/>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sp>
          <p:nvSpPr>
            <p:cNvPr id="11" name="line 3">
              <a:extLst>
                <a:ext uri="{FF2B5EF4-FFF2-40B4-BE49-F238E27FC236}">
                  <a16:creationId xmlns:a16="http://schemas.microsoft.com/office/drawing/2014/main" id="{3DB82195-2350-4AC3-804D-B06C534ED6BC}"/>
                </a:ext>
              </a:extLst>
            </p:cNvPr>
            <p:cNvSpPr>
              <a:spLocks/>
            </p:cNvSpPr>
            <p:nvPr/>
          </p:nvSpPr>
          <p:spPr bwMode="gray">
            <a:xfrm rot="2700000">
              <a:off x="865314" y="352116"/>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sp>
          <p:nvSpPr>
            <p:cNvPr id="12" name="line 4">
              <a:extLst>
                <a:ext uri="{FF2B5EF4-FFF2-40B4-BE49-F238E27FC236}">
                  <a16:creationId xmlns:a16="http://schemas.microsoft.com/office/drawing/2014/main" id="{83AF0FD4-3D47-4C52-8B22-1CFE02EF8D49}"/>
                </a:ext>
              </a:extLst>
            </p:cNvPr>
            <p:cNvSpPr>
              <a:spLocks/>
            </p:cNvSpPr>
            <p:nvPr/>
          </p:nvSpPr>
          <p:spPr bwMode="gray">
            <a:xfrm rot="2700000">
              <a:off x="989321" y="352116"/>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sp>
          <p:nvSpPr>
            <p:cNvPr id="13" name="line 5">
              <a:extLst>
                <a:ext uri="{FF2B5EF4-FFF2-40B4-BE49-F238E27FC236}">
                  <a16:creationId xmlns:a16="http://schemas.microsoft.com/office/drawing/2014/main" id="{E526E0E9-0166-464B-BF0F-28E12CF6E48C}"/>
                </a:ext>
              </a:extLst>
            </p:cNvPr>
            <p:cNvSpPr>
              <a:spLocks/>
            </p:cNvSpPr>
            <p:nvPr/>
          </p:nvSpPr>
          <p:spPr bwMode="gray">
            <a:xfrm rot="2700000">
              <a:off x="1113327" y="352109"/>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grpSp>
      <p:grpSp>
        <p:nvGrpSpPr>
          <p:cNvPr id="21" name="logo drees&amp;sommer white">
            <a:extLst>
              <a:ext uri="{FF2B5EF4-FFF2-40B4-BE49-F238E27FC236}">
                <a16:creationId xmlns:a16="http://schemas.microsoft.com/office/drawing/2014/main" id="{1813B803-BBD3-4237-8DD6-AE4D6D13C3C1}"/>
              </a:ext>
            </a:extLst>
          </p:cNvPr>
          <p:cNvGrpSpPr>
            <a:grpSpLocks noChangeAspect="1"/>
          </p:cNvGrpSpPr>
          <p:nvPr userDrawn="1"/>
        </p:nvGrpSpPr>
        <p:grpSpPr bwMode="gray">
          <a:xfrm>
            <a:off x="10716797" y="166780"/>
            <a:ext cx="948154" cy="286131"/>
            <a:chOff x="95250" y="1619249"/>
            <a:chExt cx="12004071" cy="3622549"/>
          </a:xfrm>
          <a:solidFill>
            <a:schemeClr val="bg1"/>
          </a:solidFill>
        </p:grpSpPr>
        <p:sp>
          <p:nvSpPr>
            <p:cNvPr id="22" name="d">
              <a:extLst>
                <a:ext uri="{FF2B5EF4-FFF2-40B4-BE49-F238E27FC236}">
                  <a16:creationId xmlns:a16="http://schemas.microsoft.com/office/drawing/2014/main" id="{1670F70C-B957-4DDD-B2AD-8B6AFBC08EAE}"/>
                </a:ext>
              </a:extLst>
            </p:cNvPr>
            <p:cNvSpPr/>
            <p:nvPr/>
          </p:nvSpPr>
          <p:spPr bwMode="gray">
            <a:xfrm>
              <a:off x="146589" y="1619250"/>
              <a:ext cx="1890141" cy="1555527"/>
            </a:xfrm>
            <a:custGeom>
              <a:avLst/>
              <a:gdLst>
                <a:gd name="connsiteX0" fmla="*/ 361760 w 1890141"/>
                <a:gd name="connsiteY0" fmla="*/ 1263206 h 1555527"/>
                <a:gd name="connsiteX1" fmla="*/ 361760 w 1890141"/>
                <a:gd name="connsiteY1" fmla="*/ 277368 h 1555527"/>
                <a:gd name="connsiteX2" fmla="*/ 1003840 w 1890141"/>
                <a:gd name="connsiteY2" fmla="*/ 277368 h 1555527"/>
                <a:gd name="connsiteX3" fmla="*/ 1516380 w 1890141"/>
                <a:gd name="connsiteY3" fmla="*/ 762762 h 1555527"/>
                <a:gd name="connsiteX4" fmla="*/ 828961 w 1890141"/>
                <a:gd name="connsiteY4" fmla="*/ 1263206 h 1555527"/>
                <a:gd name="connsiteX5" fmla="*/ 361760 w 1890141"/>
                <a:gd name="connsiteY5" fmla="*/ 1263206 h 1555527"/>
                <a:gd name="connsiteX6" fmla="*/ 0 w 1890141"/>
                <a:gd name="connsiteY6" fmla="*/ 1555528 h 1555527"/>
                <a:gd name="connsiteX7" fmla="*/ 907447 w 1890141"/>
                <a:gd name="connsiteY7" fmla="*/ 1555528 h 1555527"/>
                <a:gd name="connsiteX8" fmla="*/ 1546574 w 1890141"/>
                <a:gd name="connsiteY8" fmla="*/ 1435037 h 1555527"/>
                <a:gd name="connsiteX9" fmla="*/ 1890141 w 1890141"/>
                <a:gd name="connsiteY9" fmla="*/ 768763 h 1555527"/>
                <a:gd name="connsiteX10" fmla="*/ 1000792 w 1890141"/>
                <a:gd name="connsiteY10" fmla="*/ 0 h 1555527"/>
                <a:gd name="connsiteX11" fmla="*/ 0 w 1890141"/>
                <a:gd name="connsiteY11" fmla="*/ 0 h 1555527"/>
                <a:gd name="connsiteX12" fmla="*/ 0 w 1890141"/>
                <a:gd name="connsiteY12" fmla="*/ 1555528 h 155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90141" h="1555527">
                  <a:moveTo>
                    <a:pt x="361760" y="1263206"/>
                  </a:moveTo>
                  <a:lnTo>
                    <a:pt x="361760" y="277368"/>
                  </a:lnTo>
                  <a:lnTo>
                    <a:pt x="1003840" y="277368"/>
                  </a:lnTo>
                  <a:cubicBezTo>
                    <a:pt x="1344549" y="277368"/>
                    <a:pt x="1516380" y="446246"/>
                    <a:pt x="1516380" y="762762"/>
                  </a:cubicBezTo>
                  <a:cubicBezTo>
                    <a:pt x="1516380" y="1148620"/>
                    <a:pt x="1287209" y="1263206"/>
                    <a:pt x="828961" y="1263206"/>
                  </a:cubicBezTo>
                  <a:lnTo>
                    <a:pt x="361760" y="1263206"/>
                  </a:lnTo>
                  <a:close/>
                  <a:moveTo>
                    <a:pt x="0" y="1555528"/>
                  </a:moveTo>
                  <a:lnTo>
                    <a:pt x="907447" y="1555528"/>
                  </a:lnTo>
                  <a:cubicBezTo>
                    <a:pt x="1184624" y="1555528"/>
                    <a:pt x="1395698" y="1528382"/>
                    <a:pt x="1546574" y="1435037"/>
                  </a:cubicBezTo>
                  <a:cubicBezTo>
                    <a:pt x="1763649" y="1302353"/>
                    <a:pt x="1890141" y="1061180"/>
                    <a:pt x="1890141" y="768763"/>
                  </a:cubicBezTo>
                  <a:cubicBezTo>
                    <a:pt x="1890141" y="286417"/>
                    <a:pt x="1582769" y="0"/>
                    <a:pt x="1000792" y="0"/>
                  </a:cubicBezTo>
                  <a:lnTo>
                    <a:pt x="0" y="0"/>
                  </a:lnTo>
                  <a:lnTo>
                    <a:pt x="0" y="1555528"/>
                  </a:lnTo>
                  <a:close/>
                </a:path>
              </a:pathLst>
            </a:custGeom>
            <a:grpFill/>
            <a:ln w="9525" cap="flat">
              <a:noFill/>
              <a:prstDash val="solid"/>
              <a:miter/>
            </a:ln>
          </p:spPr>
          <p:txBody>
            <a:bodyPr lIns="0" tIns="0" rIns="0" bIns="0" rtlCol="0" anchor="ctr"/>
            <a:lstStyle/>
            <a:p>
              <a:endParaRPr lang="de-DE" sz="100"/>
            </a:p>
          </p:txBody>
        </p:sp>
        <p:sp>
          <p:nvSpPr>
            <p:cNvPr id="23" name="r">
              <a:extLst>
                <a:ext uri="{FF2B5EF4-FFF2-40B4-BE49-F238E27FC236}">
                  <a16:creationId xmlns:a16="http://schemas.microsoft.com/office/drawing/2014/main" id="{29184814-6AC7-4690-88EC-1B8E09A310DC}"/>
                </a:ext>
              </a:extLst>
            </p:cNvPr>
            <p:cNvSpPr/>
            <p:nvPr/>
          </p:nvSpPr>
          <p:spPr bwMode="gray">
            <a:xfrm>
              <a:off x="2405157" y="1899666"/>
              <a:ext cx="1579816" cy="1275111"/>
            </a:xfrm>
            <a:custGeom>
              <a:avLst/>
              <a:gdLst>
                <a:gd name="connsiteX0" fmla="*/ 1015937 w 1579816"/>
                <a:gd name="connsiteY0" fmla="*/ 220028 h 1275111"/>
                <a:gd name="connsiteX1" fmla="*/ 1157668 w 1579816"/>
                <a:gd name="connsiteY1" fmla="*/ 322517 h 1275111"/>
                <a:gd name="connsiteX2" fmla="*/ 1157668 w 1579816"/>
                <a:gd name="connsiteY2" fmla="*/ 470249 h 1275111"/>
                <a:gd name="connsiteX3" fmla="*/ 1015937 w 1579816"/>
                <a:gd name="connsiteY3" fmla="*/ 572738 h 1275111"/>
                <a:gd name="connsiteX4" fmla="*/ 307467 w 1579816"/>
                <a:gd name="connsiteY4" fmla="*/ 572738 h 1275111"/>
                <a:gd name="connsiteX5" fmla="*/ 307467 w 1579816"/>
                <a:gd name="connsiteY5" fmla="*/ 220028 h 1275111"/>
                <a:gd name="connsiteX6" fmla="*/ 1015937 w 1579816"/>
                <a:gd name="connsiteY6" fmla="*/ 220028 h 1275111"/>
                <a:gd name="connsiteX7" fmla="*/ 0 w 1579816"/>
                <a:gd name="connsiteY7" fmla="*/ 1275112 h 1275111"/>
                <a:gd name="connsiteX8" fmla="*/ 307562 w 1579816"/>
                <a:gd name="connsiteY8" fmla="*/ 1275112 h 1275111"/>
                <a:gd name="connsiteX9" fmla="*/ 307562 w 1579816"/>
                <a:gd name="connsiteY9" fmla="*/ 792671 h 1275111"/>
                <a:gd name="connsiteX10" fmla="*/ 599980 w 1579816"/>
                <a:gd name="connsiteY10" fmla="*/ 792671 h 1275111"/>
                <a:gd name="connsiteX11" fmla="*/ 1133570 w 1579816"/>
                <a:gd name="connsiteY11" fmla="*/ 1275112 h 1275111"/>
                <a:gd name="connsiteX12" fmla="*/ 1579817 w 1579816"/>
                <a:gd name="connsiteY12" fmla="*/ 1275112 h 1275111"/>
                <a:gd name="connsiteX13" fmla="*/ 973741 w 1579816"/>
                <a:gd name="connsiteY13" fmla="*/ 792671 h 1275111"/>
                <a:gd name="connsiteX14" fmla="*/ 1148620 w 1579816"/>
                <a:gd name="connsiteY14" fmla="*/ 792671 h 1275111"/>
                <a:gd name="connsiteX15" fmla="*/ 1447133 w 1579816"/>
                <a:gd name="connsiteY15" fmla="*/ 548640 h 1275111"/>
                <a:gd name="connsiteX16" fmla="*/ 1447133 w 1579816"/>
                <a:gd name="connsiteY16" fmla="*/ 247174 h 1275111"/>
                <a:gd name="connsiteX17" fmla="*/ 1148620 w 1579816"/>
                <a:gd name="connsiteY17" fmla="*/ 0 h 1275111"/>
                <a:gd name="connsiteX18" fmla="*/ 0 w 1579816"/>
                <a:gd name="connsiteY18" fmla="*/ 0 h 1275111"/>
                <a:gd name="connsiteX19" fmla="*/ 0 w 1579816"/>
                <a:gd name="connsiteY19" fmla="*/ 1275112 h 127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79816" h="1275111">
                  <a:moveTo>
                    <a:pt x="1015937" y="220028"/>
                  </a:moveTo>
                  <a:cubicBezTo>
                    <a:pt x="1109282" y="220028"/>
                    <a:pt x="1157668" y="238220"/>
                    <a:pt x="1157668" y="322517"/>
                  </a:cubicBezTo>
                  <a:lnTo>
                    <a:pt x="1157668" y="470249"/>
                  </a:lnTo>
                  <a:cubicBezTo>
                    <a:pt x="1157668" y="554736"/>
                    <a:pt x="1109282" y="572738"/>
                    <a:pt x="1015937" y="572738"/>
                  </a:cubicBezTo>
                  <a:lnTo>
                    <a:pt x="307467" y="572738"/>
                  </a:lnTo>
                  <a:lnTo>
                    <a:pt x="307467" y="220028"/>
                  </a:lnTo>
                  <a:lnTo>
                    <a:pt x="1015937" y="220028"/>
                  </a:lnTo>
                  <a:close/>
                  <a:moveTo>
                    <a:pt x="0" y="1275112"/>
                  </a:moveTo>
                  <a:lnTo>
                    <a:pt x="307562" y="1275112"/>
                  </a:lnTo>
                  <a:lnTo>
                    <a:pt x="307562" y="792671"/>
                  </a:lnTo>
                  <a:lnTo>
                    <a:pt x="599980" y="792671"/>
                  </a:lnTo>
                  <a:lnTo>
                    <a:pt x="1133570" y="1275112"/>
                  </a:lnTo>
                  <a:lnTo>
                    <a:pt x="1579817" y="1275112"/>
                  </a:lnTo>
                  <a:lnTo>
                    <a:pt x="973741" y="792671"/>
                  </a:lnTo>
                  <a:lnTo>
                    <a:pt x="1148620" y="792671"/>
                  </a:lnTo>
                  <a:cubicBezTo>
                    <a:pt x="1353693" y="792671"/>
                    <a:pt x="1447133" y="723329"/>
                    <a:pt x="1447133" y="548640"/>
                  </a:cubicBezTo>
                  <a:lnTo>
                    <a:pt x="1447133" y="247174"/>
                  </a:lnTo>
                  <a:cubicBezTo>
                    <a:pt x="1447133" y="69342"/>
                    <a:pt x="1353598" y="0"/>
                    <a:pt x="1148620" y="0"/>
                  </a:cubicBezTo>
                  <a:lnTo>
                    <a:pt x="0" y="0"/>
                  </a:lnTo>
                  <a:lnTo>
                    <a:pt x="0" y="1275112"/>
                  </a:lnTo>
                  <a:close/>
                </a:path>
              </a:pathLst>
            </a:custGeom>
            <a:grpFill/>
            <a:ln w="9525" cap="flat">
              <a:noFill/>
              <a:prstDash val="solid"/>
              <a:miter/>
            </a:ln>
          </p:spPr>
          <p:txBody>
            <a:bodyPr lIns="0" tIns="0" rIns="0" bIns="0" rtlCol="0" anchor="ctr"/>
            <a:lstStyle/>
            <a:p>
              <a:endParaRPr lang="de-DE" sz="100"/>
            </a:p>
          </p:txBody>
        </p:sp>
        <p:sp>
          <p:nvSpPr>
            <p:cNvPr id="24" name="e">
              <a:extLst>
                <a:ext uri="{FF2B5EF4-FFF2-40B4-BE49-F238E27FC236}">
                  <a16:creationId xmlns:a16="http://schemas.microsoft.com/office/drawing/2014/main" id="{B4CDBBF6-5ABE-43C8-B8DE-104A5B2971D5}"/>
                </a:ext>
              </a:extLst>
            </p:cNvPr>
            <p:cNvSpPr/>
            <p:nvPr/>
          </p:nvSpPr>
          <p:spPr bwMode="gray">
            <a:xfrm>
              <a:off x="4279106" y="1899666"/>
              <a:ext cx="1383696" cy="1275111"/>
            </a:xfrm>
            <a:custGeom>
              <a:avLst/>
              <a:gdLst>
                <a:gd name="connsiteX0" fmla="*/ 0 w 1383696"/>
                <a:gd name="connsiteY0" fmla="*/ 1275112 h 1275111"/>
                <a:gd name="connsiteX1" fmla="*/ 1383697 w 1383696"/>
                <a:gd name="connsiteY1" fmla="*/ 1275112 h 1275111"/>
                <a:gd name="connsiteX2" fmla="*/ 1383697 w 1383696"/>
                <a:gd name="connsiteY2" fmla="*/ 1036987 h 1275111"/>
                <a:gd name="connsiteX3" fmla="*/ 313563 w 1383696"/>
                <a:gd name="connsiteY3" fmla="*/ 1036987 h 1275111"/>
                <a:gd name="connsiteX4" fmla="*/ 313563 w 1383696"/>
                <a:gd name="connsiteY4" fmla="*/ 723424 h 1275111"/>
                <a:gd name="connsiteX5" fmla="*/ 928497 w 1383696"/>
                <a:gd name="connsiteY5" fmla="*/ 723424 h 1275111"/>
                <a:gd name="connsiteX6" fmla="*/ 928497 w 1383696"/>
                <a:gd name="connsiteY6" fmla="*/ 503396 h 1275111"/>
                <a:gd name="connsiteX7" fmla="*/ 313563 w 1383696"/>
                <a:gd name="connsiteY7" fmla="*/ 503396 h 1275111"/>
                <a:gd name="connsiteX8" fmla="*/ 313563 w 1383696"/>
                <a:gd name="connsiteY8" fmla="*/ 226028 h 1275111"/>
                <a:gd name="connsiteX9" fmla="*/ 1368743 w 1383696"/>
                <a:gd name="connsiteY9" fmla="*/ 226028 h 1275111"/>
                <a:gd name="connsiteX10" fmla="*/ 1368743 w 1383696"/>
                <a:gd name="connsiteY10" fmla="*/ 0 h 1275111"/>
                <a:gd name="connsiteX11" fmla="*/ 0 w 1383696"/>
                <a:gd name="connsiteY11" fmla="*/ 0 h 127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3696" h="1275111">
                  <a:moveTo>
                    <a:pt x="0" y="1275112"/>
                  </a:moveTo>
                  <a:lnTo>
                    <a:pt x="1383697" y="1275112"/>
                  </a:lnTo>
                  <a:lnTo>
                    <a:pt x="1383697" y="1036987"/>
                  </a:lnTo>
                  <a:lnTo>
                    <a:pt x="313563" y="1036987"/>
                  </a:lnTo>
                  <a:lnTo>
                    <a:pt x="313563" y="723424"/>
                  </a:lnTo>
                  <a:lnTo>
                    <a:pt x="928497" y="723424"/>
                  </a:lnTo>
                  <a:lnTo>
                    <a:pt x="928497" y="503396"/>
                  </a:lnTo>
                  <a:lnTo>
                    <a:pt x="313563" y="503396"/>
                  </a:lnTo>
                  <a:lnTo>
                    <a:pt x="313563" y="226028"/>
                  </a:lnTo>
                  <a:lnTo>
                    <a:pt x="1368743" y="226028"/>
                  </a:lnTo>
                  <a:lnTo>
                    <a:pt x="1368743" y="0"/>
                  </a:lnTo>
                  <a:lnTo>
                    <a:pt x="0" y="0"/>
                  </a:lnTo>
                  <a:close/>
                </a:path>
              </a:pathLst>
            </a:custGeom>
            <a:grpFill/>
            <a:ln w="9525" cap="flat">
              <a:noFill/>
              <a:prstDash val="solid"/>
              <a:miter/>
            </a:ln>
          </p:spPr>
          <p:txBody>
            <a:bodyPr lIns="0" tIns="0" rIns="0" bIns="0" rtlCol="0" anchor="ctr"/>
            <a:lstStyle/>
            <a:p>
              <a:endParaRPr lang="de-DE" sz="100"/>
            </a:p>
          </p:txBody>
        </p:sp>
        <p:sp>
          <p:nvSpPr>
            <p:cNvPr id="25" name="e">
              <a:extLst>
                <a:ext uri="{FF2B5EF4-FFF2-40B4-BE49-F238E27FC236}">
                  <a16:creationId xmlns:a16="http://schemas.microsoft.com/office/drawing/2014/main" id="{18C699BD-6D4F-4CD2-9204-32D7C02DFA50}"/>
                </a:ext>
              </a:extLst>
            </p:cNvPr>
            <p:cNvSpPr/>
            <p:nvPr/>
          </p:nvSpPr>
          <p:spPr bwMode="gray">
            <a:xfrm>
              <a:off x="6022562" y="1899666"/>
              <a:ext cx="1383696" cy="1275111"/>
            </a:xfrm>
            <a:custGeom>
              <a:avLst/>
              <a:gdLst>
                <a:gd name="connsiteX0" fmla="*/ 0 w 1383696"/>
                <a:gd name="connsiteY0" fmla="*/ 1275112 h 1275111"/>
                <a:gd name="connsiteX1" fmla="*/ 1383697 w 1383696"/>
                <a:gd name="connsiteY1" fmla="*/ 1275112 h 1275111"/>
                <a:gd name="connsiteX2" fmla="*/ 1383697 w 1383696"/>
                <a:gd name="connsiteY2" fmla="*/ 1036987 h 1275111"/>
                <a:gd name="connsiteX3" fmla="*/ 313563 w 1383696"/>
                <a:gd name="connsiteY3" fmla="*/ 1036987 h 1275111"/>
                <a:gd name="connsiteX4" fmla="*/ 313563 w 1383696"/>
                <a:gd name="connsiteY4" fmla="*/ 723424 h 1275111"/>
                <a:gd name="connsiteX5" fmla="*/ 928497 w 1383696"/>
                <a:gd name="connsiteY5" fmla="*/ 723424 h 1275111"/>
                <a:gd name="connsiteX6" fmla="*/ 928497 w 1383696"/>
                <a:gd name="connsiteY6" fmla="*/ 503396 h 1275111"/>
                <a:gd name="connsiteX7" fmla="*/ 313563 w 1383696"/>
                <a:gd name="connsiteY7" fmla="*/ 503396 h 1275111"/>
                <a:gd name="connsiteX8" fmla="*/ 313563 w 1383696"/>
                <a:gd name="connsiteY8" fmla="*/ 226028 h 1275111"/>
                <a:gd name="connsiteX9" fmla="*/ 1368743 w 1383696"/>
                <a:gd name="connsiteY9" fmla="*/ 226028 h 1275111"/>
                <a:gd name="connsiteX10" fmla="*/ 1368743 w 1383696"/>
                <a:gd name="connsiteY10" fmla="*/ 0 h 1275111"/>
                <a:gd name="connsiteX11" fmla="*/ 0 w 1383696"/>
                <a:gd name="connsiteY11" fmla="*/ 0 h 127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3696" h="1275111">
                  <a:moveTo>
                    <a:pt x="0" y="1275112"/>
                  </a:moveTo>
                  <a:lnTo>
                    <a:pt x="1383697" y="1275112"/>
                  </a:lnTo>
                  <a:lnTo>
                    <a:pt x="1383697" y="1036987"/>
                  </a:lnTo>
                  <a:lnTo>
                    <a:pt x="313563" y="1036987"/>
                  </a:lnTo>
                  <a:lnTo>
                    <a:pt x="313563" y="723424"/>
                  </a:lnTo>
                  <a:lnTo>
                    <a:pt x="928497" y="723424"/>
                  </a:lnTo>
                  <a:lnTo>
                    <a:pt x="928497" y="503396"/>
                  </a:lnTo>
                  <a:lnTo>
                    <a:pt x="313563" y="503396"/>
                  </a:lnTo>
                  <a:lnTo>
                    <a:pt x="313563" y="226028"/>
                  </a:lnTo>
                  <a:lnTo>
                    <a:pt x="1368743" y="226028"/>
                  </a:lnTo>
                  <a:lnTo>
                    <a:pt x="1368743" y="0"/>
                  </a:lnTo>
                  <a:lnTo>
                    <a:pt x="0" y="0"/>
                  </a:lnTo>
                  <a:close/>
                </a:path>
              </a:pathLst>
            </a:custGeom>
            <a:grpFill/>
            <a:ln w="9525" cap="flat">
              <a:noFill/>
              <a:prstDash val="solid"/>
              <a:miter/>
            </a:ln>
          </p:spPr>
          <p:txBody>
            <a:bodyPr lIns="0" tIns="0" rIns="0" bIns="0" rtlCol="0" anchor="ctr"/>
            <a:lstStyle/>
            <a:p>
              <a:endParaRPr lang="de-DE" sz="100"/>
            </a:p>
          </p:txBody>
        </p:sp>
        <p:sp>
          <p:nvSpPr>
            <p:cNvPr id="26" name="s">
              <a:extLst>
                <a:ext uri="{FF2B5EF4-FFF2-40B4-BE49-F238E27FC236}">
                  <a16:creationId xmlns:a16="http://schemas.microsoft.com/office/drawing/2014/main" id="{1C21215A-4DE6-4CDB-9908-35D151D4B074}"/>
                </a:ext>
              </a:extLst>
            </p:cNvPr>
            <p:cNvSpPr/>
            <p:nvPr/>
          </p:nvSpPr>
          <p:spPr bwMode="gray">
            <a:xfrm>
              <a:off x="7714202" y="1899666"/>
              <a:ext cx="1495234" cy="1275207"/>
            </a:xfrm>
            <a:custGeom>
              <a:avLst/>
              <a:gdLst>
                <a:gd name="connsiteX0" fmla="*/ 1211770 w 1495234"/>
                <a:gd name="connsiteY0" fmla="*/ 229076 h 1275207"/>
                <a:gd name="connsiteX1" fmla="*/ 1211770 w 1495234"/>
                <a:gd name="connsiteY1" fmla="*/ 348234 h 1275207"/>
                <a:gd name="connsiteX2" fmla="*/ 1479995 w 1495234"/>
                <a:gd name="connsiteY2" fmla="*/ 291084 h 1275207"/>
                <a:gd name="connsiteX3" fmla="*/ 1479995 w 1495234"/>
                <a:gd name="connsiteY3" fmla="*/ 277368 h 1275207"/>
                <a:gd name="connsiteX4" fmla="*/ 1145477 w 1495234"/>
                <a:gd name="connsiteY4" fmla="*/ 0 h 1275207"/>
                <a:gd name="connsiteX5" fmla="*/ 388905 w 1495234"/>
                <a:gd name="connsiteY5" fmla="*/ 0 h 1275207"/>
                <a:gd name="connsiteX6" fmla="*/ 54197 w 1495234"/>
                <a:gd name="connsiteY6" fmla="*/ 301561 h 1275207"/>
                <a:gd name="connsiteX7" fmla="*/ 54197 w 1495234"/>
                <a:gd name="connsiteY7" fmla="*/ 443294 h 1275207"/>
                <a:gd name="connsiteX8" fmla="*/ 388905 w 1495234"/>
                <a:gd name="connsiteY8" fmla="*/ 744665 h 1275207"/>
                <a:gd name="connsiteX9" fmla="*/ 1214818 w 1495234"/>
                <a:gd name="connsiteY9" fmla="*/ 744665 h 1275207"/>
                <a:gd name="connsiteX10" fmla="*/ 1214818 w 1495234"/>
                <a:gd name="connsiteY10" fmla="*/ 1037177 h 1275207"/>
                <a:gd name="connsiteX11" fmla="*/ 277177 w 1495234"/>
                <a:gd name="connsiteY11" fmla="*/ 1037177 h 1275207"/>
                <a:gd name="connsiteX12" fmla="*/ 277177 w 1495234"/>
                <a:gd name="connsiteY12" fmla="*/ 902875 h 1275207"/>
                <a:gd name="connsiteX13" fmla="*/ 0 w 1495234"/>
                <a:gd name="connsiteY13" fmla="*/ 954214 h 1275207"/>
                <a:gd name="connsiteX14" fmla="*/ 0 w 1495234"/>
                <a:gd name="connsiteY14" fmla="*/ 973836 h 1275207"/>
                <a:gd name="connsiteX15" fmla="*/ 334518 w 1495234"/>
                <a:gd name="connsiteY15" fmla="*/ 1275207 h 1275207"/>
                <a:gd name="connsiteX16" fmla="*/ 1163669 w 1495234"/>
                <a:gd name="connsiteY16" fmla="*/ 1275207 h 1275207"/>
                <a:gd name="connsiteX17" fmla="*/ 1495234 w 1495234"/>
                <a:gd name="connsiteY17" fmla="*/ 973836 h 1275207"/>
                <a:gd name="connsiteX18" fmla="*/ 1495234 w 1495234"/>
                <a:gd name="connsiteY18" fmla="*/ 798957 h 1275207"/>
                <a:gd name="connsiteX19" fmla="*/ 1163669 w 1495234"/>
                <a:gd name="connsiteY19" fmla="*/ 497586 h 1275207"/>
                <a:gd name="connsiteX20" fmla="*/ 334518 w 1495234"/>
                <a:gd name="connsiteY20" fmla="*/ 497586 h 1275207"/>
                <a:gd name="connsiteX21" fmla="*/ 334518 w 1495234"/>
                <a:gd name="connsiteY21" fmla="*/ 229076 h 1275207"/>
                <a:gd name="connsiteX22" fmla="*/ 1211770 w 1495234"/>
                <a:gd name="connsiteY22" fmla="*/ 229076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95234" h="1275207">
                  <a:moveTo>
                    <a:pt x="1211770" y="229076"/>
                  </a:moveTo>
                  <a:lnTo>
                    <a:pt x="1211770" y="348234"/>
                  </a:lnTo>
                  <a:lnTo>
                    <a:pt x="1479995" y="291084"/>
                  </a:lnTo>
                  <a:lnTo>
                    <a:pt x="1479995" y="277368"/>
                  </a:lnTo>
                  <a:cubicBezTo>
                    <a:pt x="1479995" y="54388"/>
                    <a:pt x="1380649" y="0"/>
                    <a:pt x="1145477" y="0"/>
                  </a:cubicBezTo>
                  <a:lnTo>
                    <a:pt x="388905" y="0"/>
                  </a:lnTo>
                  <a:cubicBezTo>
                    <a:pt x="138684" y="0"/>
                    <a:pt x="54197" y="60388"/>
                    <a:pt x="54197" y="301561"/>
                  </a:cubicBezTo>
                  <a:lnTo>
                    <a:pt x="54197" y="443294"/>
                  </a:lnTo>
                  <a:cubicBezTo>
                    <a:pt x="54197" y="684467"/>
                    <a:pt x="138684" y="744665"/>
                    <a:pt x="388905" y="744665"/>
                  </a:cubicBezTo>
                  <a:lnTo>
                    <a:pt x="1214818" y="744665"/>
                  </a:lnTo>
                  <a:lnTo>
                    <a:pt x="1214818" y="1037177"/>
                  </a:lnTo>
                  <a:lnTo>
                    <a:pt x="277177" y="1037177"/>
                  </a:lnTo>
                  <a:lnTo>
                    <a:pt x="277177" y="902875"/>
                  </a:lnTo>
                  <a:lnTo>
                    <a:pt x="0" y="954214"/>
                  </a:lnTo>
                  <a:lnTo>
                    <a:pt x="0" y="973836"/>
                  </a:lnTo>
                  <a:cubicBezTo>
                    <a:pt x="0" y="1212056"/>
                    <a:pt x="81343" y="1275207"/>
                    <a:pt x="334518" y="1275207"/>
                  </a:cubicBezTo>
                  <a:lnTo>
                    <a:pt x="1163669" y="1275207"/>
                  </a:lnTo>
                  <a:cubicBezTo>
                    <a:pt x="1416844" y="1275207"/>
                    <a:pt x="1495234" y="1212056"/>
                    <a:pt x="1495234" y="973836"/>
                  </a:cubicBezTo>
                  <a:lnTo>
                    <a:pt x="1495234" y="798957"/>
                  </a:lnTo>
                  <a:cubicBezTo>
                    <a:pt x="1495234" y="557784"/>
                    <a:pt x="1416939" y="497586"/>
                    <a:pt x="1163669" y="497586"/>
                  </a:cubicBezTo>
                  <a:lnTo>
                    <a:pt x="334518" y="497586"/>
                  </a:lnTo>
                  <a:lnTo>
                    <a:pt x="334518" y="229076"/>
                  </a:lnTo>
                  <a:lnTo>
                    <a:pt x="1211770" y="229076"/>
                  </a:lnTo>
                  <a:close/>
                </a:path>
              </a:pathLst>
            </a:custGeom>
            <a:grpFill/>
            <a:ln w="9525" cap="flat">
              <a:noFill/>
              <a:prstDash val="solid"/>
              <a:miter/>
            </a:ln>
          </p:spPr>
          <p:txBody>
            <a:bodyPr lIns="0" tIns="0" rIns="0" bIns="0" rtlCol="0" anchor="ctr"/>
            <a:lstStyle/>
            <a:p>
              <a:endParaRPr lang="de-DE" sz="100"/>
            </a:p>
          </p:txBody>
        </p:sp>
        <p:sp>
          <p:nvSpPr>
            <p:cNvPr id="27" name="&amp;">
              <a:extLst>
                <a:ext uri="{FF2B5EF4-FFF2-40B4-BE49-F238E27FC236}">
                  <a16:creationId xmlns:a16="http://schemas.microsoft.com/office/drawing/2014/main" id="{D54E1555-236D-451B-ADF2-4FE4CD01BF95}"/>
                </a:ext>
              </a:extLst>
            </p:cNvPr>
            <p:cNvSpPr/>
            <p:nvPr/>
          </p:nvSpPr>
          <p:spPr bwMode="gray">
            <a:xfrm>
              <a:off x="9995058" y="1619249"/>
              <a:ext cx="2104263" cy="1555527"/>
            </a:xfrm>
            <a:custGeom>
              <a:avLst/>
              <a:gdLst>
                <a:gd name="connsiteX0" fmla="*/ 304514 w 2104263"/>
                <a:gd name="connsiteY0" fmla="*/ 1284161 h 1555527"/>
                <a:gd name="connsiteX1" fmla="*/ 304514 w 2104263"/>
                <a:gd name="connsiteY1" fmla="*/ 1018985 h 1555527"/>
                <a:gd name="connsiteX2" fmla="*/ 702373 w 2104263"/>
                <a:gd name="connsiteY2" fmla="*/ 771811 h 1555527"/>
                <a:gd name="connsiteX3" fmla="*/ 1169575 w 2104263"/>
                <a:gd name="connsiteY3" fmla="*/ 1160717 h 1555527"/>
                <a:gd name="connsiteX4" fmla="*/ 1024890 w 2104263"/>
                <a:gd name="connsiteY4" fmla="*/ 1284256 h 1555527"/>
                <a:gd name="connsiteX5" fmla="*/ 304514 w 2104263"/>
                <a:gd name="connsiteY5" fmla="*/ 1284256 h 1555527"/>
                <a:gd name="connsiteX6" fmla="*/ 388811 w 2104263"/>
                <a:gd name="connsiteY6" fmla="*/ 1555528 h 1555527"/>
                <a:gd name="connsiteX7" fmla="*/ 943547 w 2104263"/>
                <a:gd name="connsiteY7" fmla="*/ 1555528 h 1555527"/>
                <a:gd name="connsiteX8" fmla="*/ 1235964 w 2104263"/>
                <a:gd name="connsiteY8" fmla="*/ 1461992 h 1555527"/>
                <a:gd name="connsiteX9" fmla="*/ 1374649 w 2104263"/>
                <a:gd name="connsiteY9" fmla="*/ 1338453 h 1555527"/>
                <a:gd name="connsiteX10" fmla="*/ 1630870 w 2104263"/>
                <a:gd name="connsiteY10" fmla="*/ 1555528 h 1555527"/>
                <a:gd name="connsiteX11" fmla="*/ 2104264 w 2104263"/>
                <a:gd name="connsiteY11" fmla="*/ 1555528 h 1555527"/>
                <a:gd name="connsiteX12" fmla="*/ 1612869 w 2104263"/>
                <a:gd name="connsiteY12" fmla="*/ 1142429 h 1555527"/>
                <a:gd name="connsiteX13" fmla="*/ 1971580 w 2104263"/>
                <a:gd name="connsiteY13" fmla="*/ 844106 h 1555527"/>
                <a:gd name="connsiteX14" fmla="*/ 1766507 w 2104263"/>
                <a:gd name="connsiteY14" fmla="*/ 666274 h 1555527"/>
                <a:gd name="connsiteX15" fmla="*/ 1404747 w 2104263"/>
                <a:gd name="connsiteY15" fmla="*/ 967645 h 1555527"/>
                <a:gd name="connsiteX16" fmla="*/ 672180 w 2104263"/>
                <a:gd name="connsiteY16" fmla="*/ 358712 h 1555527"/>
                <a:gd name="connsiteX17" fmla="*/ 672180 w 2104263"/>
                <a:gd name="connsiteY17" fmla="*/ 247174 h 1555527"/>
                <a:gd name="connsiteX18" fmla="*/ 1181767 w 2104263"/>
                <a:gd name="connsiteY18" fmla="*/ 247174 h 1555527"/>
                <a:gd name="connsiteX19" fmla="*/ 1181767 w 2104263"/>
                <a:gd name="connsiteY19" fmla="*/ 455295 h 1555527"/>
                <a:gd name="connsiteX20" fmla="*/ 1461992 w 2104263"/>
                <a:gd name="connsiteY20" fmla="*/ 407099 h 1555527"/>
                <a:gd name="connsiteX21" fmla="*/ 1461992 w 2104263"/>
                <a:gd name="connsiteY21" fmla="*/ 313563 h 1555527"/>
                <a:gd name="connsiteX22" fmla="*/ 1076134 w 2104263"/>
                <a:gd name="connsiteY22" fmla="*/ 0 h 1555527"/>
                <a:gd name="connsiteX23" fmla="*/ 762763 w 2104263"/>
                <a:gd name="connsiteY23" fmla="*/ 0 h 1555527"/>
                <a:gd name="connsiteX24" fmla="*/ 376905 w 2104263"/>
                <a:gd name="connsiteY24" fmla="*/ 283369 h 1555527"/>
                <a:gd name="connsiteX25" fmla="*/ 376905 w 2104263"/>
                <a:gd name="connsiteY25" fmla="*/ 370713 h 1555527"/>
                <a:gd name="connsiteX26" fmla="*/ 509588 w 2104263"/>
                <a:gd name="connsiteY26" fmla="*/ 605885 h 1555527"/>
                <a:gd name="connsiteX27" fmla="*/ 192881 w 2104263"/>
                <a:gd name="connsiteY27" fmla="*/ 795909 h 1555527"/>
                <a:gd name="connsiteX28" fmla="*/ 0 w 2104263"/>
                <a:gd name="connsiteY28" fmla="*/ 1085279 h 1555527"/>
                <a:gd name="connsiteX29" fmla="*/ 0 w 2104263"/>
                <a:gd name="connsiteY29" fmla="*/ 1187768 h 1555527"/>
                <a:gd name="connsiteX30" fmla="*/ 388811 w 2104263"/>
                <a:gd name="connsiteY30" fmla="*/ 1555528 h 155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104263" h="1555527">
                  <a:moveTo>
                    <a:pt x="304514" y="1284161"/>
                  </a:moveTo>
                  <a:lnTo>
                    <a:pt x="304514" y="1018985"/>
                  </a:lnTo>
                  <a:lnTo>
                    <a:pt x="702373" y="771811"/>
                  </a:lnTo>
                  <a:lnTo>
                    <a:pt x="1169575" y="1160717"/>
                  </a:lnTo>
                  <a:lnTo>
                    <a:pt x="1024890" y="1284256"/>
                  </a:lnTo>
                  <a:lnTo>
                    <a:pt x="304514" y="1284256"/>
                  </a:lnTo>
                  <a:close/>
                  <a:moveTo>
                    <a:pt x="388811" y="1555528"/>
                  </a:moveTo>
                  <a:lnTo>
                    <a:pt x="943547" y="1555528"/>
                  </a:lnTo>
                  <a:cubicBezTo>
                    <a:pt x="1073087" y="1555528"/>
                    <a:pt x="1136428" y="1549527"/>
                    <a:pt x="1235964" y="1461992"/>
                  </a:cubicBezTo>
                  <a:lnTo>
                    <a:pt x="1374649" y="1338453"/>
                  </a:lnTo>
                  <a:lnTo>
                    <a:pt x="1630870" y="1555528"/>
                  </a:lnTo>
                  <a:lnTo>
                    <a:pt x="2104264" y="1555528"/>
                  </a:lnTo>
                  <a:lnTo>
                    <a:pt x="1612869" y="1142429"/>
                  </a:lnTo>
                  <a:lnTo>
                    <a:pt x="1971580" y="844106"/>
                  </a:lnTo>
                  <a:lnTo>
                    <a:pt x="1766507" y="666274"/>
                  </a:lnTo>
                  <a:lnTo>
                    <a:pt x="1404747" y="967645"/>
                  </a:lnTo>
                  <a:lnTo>
                    <a:pt x="672180" y="358712"/>
                  </a:lnTo>
                  <a:lnTo>
                    <a:pt x="672180" y="247174"/>
                  </a:lnTo>
                  <a:lnTo>
                    <a:pt x="1181767" y="247174"/>
                  </a:lnTo>
                  <a:lnTo>
                    <a:pt x="1181767" y="455295"/>
                  </a:lnTo>
                  <a:lnTo>
                    <a:pt x="1461992" y="407099"/>
                  </a:lnTo>
                  <a:lnTo>
                    <a:pt x="1461992" y="313563"/>
                  </a:lnTo>
                  <a:cubicBezTo>
                    <a:pt x="1461992" y="60389"/>
                    <a:pt x="1356456" y="0"/>
                    <a:pt x="1076134" y="0"/>
                  </a:cubicBezTo>
                  <a:lnTo>
                    <a:pt x="762763" y="0"/>
                  </a:lnTo>
                  <a:cubicBezTo>
                    <a:pt x="497395" y="0"/>
                    <a:pt x="376905" y="60389"/>
                    <a:pt x="376905" y="283369"/>
                  </a:cubicBezTo>
                  <a:lnTo>
                    <a:pt x="376905" y="370713"/>
                  </a:lnTo>
                  <a:cubicBezTo>
                    <a:pt x="376905" y="461200"/>
                    <a:pt x="419100" y="530543"/>
                    <a:pt x="509588" y="605885"/>
                  </a:cubicBezTo>
                  <a:lnTo>
                    <a:pt x="192881" y="795909"/>
                  </a:lnTo>
                  <a:cubicBezTo>
                    <a:pt x="57341" y="877253"/>
                    <a:pt x="0" y="925449"/>
                    <a:pt x="0" y="1085279"/>
                  </a:cubicBezTo>
                  <a:lnTo>
                    <a:pt x="0" y="1187768"/>
                  </a:lnTo>
                  <a:cubicBezTo>
                    <a:pt x="0" y="1480185"/>
                    <a:pt x="96488" y="1555528"/>
                    <a:pt x="388811" y="1555528"/>
                  </a:cubicBezTo>
                </a:path>
              </a:pathLst>
            </a:custGeom>
            <a:grpFill/>
            <a:ln w="9525" cap="flat">
              <a:noFill/>
              <a:prstDash val="solid"/>
              <a:miter/>
            </a:ln>
          </p:spPr>
          <p:txBody>
            <a:bodyPr lIns="0" tIns="0" rIns="0" bIns="0" rtlCol="0" anchor="ctr"/>
            <a:lstStyle/>
            <a:p>
              <a:endParaRPr lang="de-DE" sz="100"/>
            </a:p>
          </p:txBody>
        </p:sp>
        <p:sp>
          <p:nvSpPr>
            <p:cNvPr id="28" name="s">
              <a:extLst>
                <a:ext uri="{FF2B5EF4-FFF2-40B4-BE49-F238E27FC236}">
                  <a16:creationId xmlns:a16="http://schemas.microsoft.com/office/drawing/2014/main" id="{5EAEB845-9E79-4338-9665-0C2735B94C3B}"/>
                </a:ext>
              </a:extLst>
            </p:cNvPr>
            <p:cNvSpPr/>
            <p:nvPr/>
          </p:nvSpPr>
          <p:spPr bwMode="gray">
            <a:xfrm>
              <a:off x="95250" y="3686079"/>
              <a:ext cx="1739645" cy="1555527"/>
            </a:xfrm>
            <a:custGeom>
              <a:avLst/>
              <a:gdLst>
                <a:gd name="connsiteX0" fmla="*/ 1398842 w 1739645"/>
                <a:gd name="connsiteY0" fmla="*/ 271367 h 1555527"/>
                <a:gd name="connsiteX1" fmla="*/ 1398842 w 1739645"/>
                <a:gd name="connsiteY1" fmla="*/ 439865 h 1555527"/>
                <a:gd name="connsiteX2" fmla="*/ 1718405 w 1739645"/>
                <a:gd name="connsiteY2" fmla="*/ 364522 h 1555527"/>
                <a:gd name="connsiteX3" fmla="*/ 1718405 w 1739645"/>
                <a:gd name="connsiteY3" fmla="*/ 340709 h 1555527"/>
                <a:gd name="connsiteX4" fmla="*/ 1332548 w 1739645"/>
                <a:gd name="connsiteY4" fmla="*/ 0 h 1555527"/>
                <a:gd name="connsiteX5" fmla="*/ 449199 w 1739645"/>
                <a:gd name="connsiteY5" fmla="*/ 0 h 1555527"/>
                <a:gd name="connsiteX6" fmla="*/ 63341 w 1739645"/>
                <a:gd name="connsiteY6" fmla="*/ 367855 h 1555527"/>
                <a:gd name="connsiteX7" fmla="*/ 63341 w 1739645"/>
                <a:gd name="connsiteY7" fmla="*/ 539496 h 1555527"/>
                <a:gd name="connsiteX8" fmla="*/ 449199 w 1739645"/>
                <a:gd name="connsiteY8" fmla="*/ 907351 h 1555527"/>
                <a:gd name="connsiteX9" fmla="*/ 1419987 w 1739645"/>
                <a:gd name="connsiteY9" fmla="*/ 907351 h 1555527"/>
                <a:gd name="connsiteX10" fmla="*/ 1419987 w 1739645"/>
                <a:gd name="connsiteY10" fmla="*/ 1263110 h 1555527"/>
                <a:gd name="connsiteX11" fmla="*/ 319754 w 1739645"/>
                <a:gd name="connsiteY11" fmla="*/ 1263110 h 1555527"/>
                <a:gd name="connsiteX12" fmla="*/ 319754 w 1739645"/>
                <a:gd name="connsiteY12" fmla="*/ 1095661 h 1555527"/>
                <a:gd name="connsiteX13" fmla="*/ 0 w 1739645"/>
                <a:gd name="connsiteY13" fmla="*/ 1162050 h 1555527"/>
                <a:gd name="connsiteX14" fmla="*/ 0 w 1739645"/>
                <a:gd name="connsiteY14" fmla="*/ 1187768 h 1555527"/>
                <a:gd name="connsiteX15" fmla="*/ 388906 w 1739645"/>
                <a:gd name="connsiteY15" fmla="*/ 1555528 h 1555527"/>
                <a:gd name="connsiteX16" fmla="*/ 1350740 w 1739645"/>
                <a:gd name="connsiteY16" fmla="*/ 1555528 h 1555527"/>
                <a:gd name="connsiteX17" fmla="*/ 1739646 w 1739645"/>
                <a:gd name="connsiteY17" fmla="*/ 1187768 h 1555527"/>
                <a:gd name="connsiteX18" fmla="*/ 1739646 w 1739645"/>
                <a:gd name="connsiteY18" fmla="*/ 973741 h 1555527"/>
                <a:gd name="connsiteX19" fmla="*/ 1350740 w 1739645"/>
                <a:gd name="connsiteY19" fmla="*/ 605885 h 1555527"/>
                <a:gd name="connsiteX20" fmla="*/ 379857 w 1739645"/>
                <a:gd name="connsiteY20" fmla="*/ 605885 h 1555527"/>
                <a:gd name="connsiteX21" fmla="*/ 379857 w 1739645"/>
                <a:gd name="connsiteY21" fmla="*/ 271367 h 1555527"/>
                <a:gd name="connsiteX22" fmla="*/ 1398842 w 1739645"/>
                <a:gd name="connsiteY22" fmla="*/ 271367 h 155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39645" h="1555527">
                  <a:moveTo>
                    <a:pt x="1398842" y="271367"/>
                  </a:moveTo>
                  <a:lnTo>
                    <a:pt x="1398842" y="439865"/>
                  </a:lnTo>
                  <a:lnTo>
                    <a:pt x="1718405" y="364522"/>
                  </a:lnTo>
                  <a:lnTo>
                    <a:pt x="1718405" y="340709"/>
                  </a:lnTo>
                  <a:cubicBezTo>
                    <a:pt x="1718405" y="72295"/>
                    <a:pt x="1609916" y="0"/>
                    <a:pt x="1332548" y="0"/>
                  </a:cubicBezTo>
                  <a:lnTo>
                    <a:pt x="449199" y="0"/>
                  </a:lnTo>
                  <a:cubicBezTo>
                    <a:pt x="156781" y="0"/>
                    <a:pt x="63341" y="75343"/>
                    <a:pt x="63341" y="367855"/>
                  </a:cubicBezTo>
                  <a:lnTo>
                    <a:pt x="63341" y="539496"/>
                  </a:lnTo>
                  <a:cubicBezTo>
                    <a:pt x="63341" y="832009"/>
                    <a:pt x="156877" y="907351"/>
                    <a:pt x="449199" y="907351"/>
                  </a:cubicBezTo>
                  <a:lnTo>
                    <a:pt x="1419987" y="907351"/>
                  </a:lnTo>
                  <a:lnTo>
                    <a:pt x="1419987" y="1263110"/>
                  </a:lnTo>
                  <a:lnTo>
                    <a:pt x="319754" y="1263110"/>
                  </a:lnTo>
                  <a:lnTo>
                    <a:pt x="319754" y="1095661"/>
                  </a:lnTo>
                  <a:lnTo>
                    <a:pt x="0" y="1162050"/>
                  </a:lnTo>
                  <a:lnTo>
                    <a:pt x="0" y="1187768"/>
                  </a:lnTo>
                  <a:cubicBezTo>
                    <a:pt x="0" y="1480185"/>
                    <a:pt x="96488" y="1555528"/>
                    <a:pt x="388906" y="1555528"/>
                  </a:cubicBezTo>
                  <a:lnTo>
                    <a:pt x="1350740" y="1555528"/>
                  </a:lnTo>
                  <a:cubicBezTo>
                    <a:pt x="1643158" y="1555528"/>
                    <a:pt x="1739646" y="1480185"/>
                    <a:pt x="1739646" y="1187768"/>
                  </a:cubicBezTo>
                  <a:lnTo>
                    <a:pt x="1739646" y="973741"/>
                  </a:lnTo>
                  <a:cubicBezTo>
                    <a:pt x="1739646" y="681228"/>
                    <a:pt x="1643158" y="605885"/>
                    <a:pt x="1350740" y="605885"/>
                  </a:cubicBezTo>
                  <a:lnTo>
                    <a:pt x="379857" y="605885"/>
                  </a:lnTo>
                  <a:lnTo>
                    <a:pt x="379857" y="271367"/>
                  </a:lnTo>
                  <a:lnTo>
                    <a:pt x="1398842" y="271367"/>
                  </a:lnTo>
                  <a:close/>
                </a:path>
              </a:pathLst>
            </a:custGeom>
            <a:grpFill/>
            <a:ln w="9525" cap="flat">
              <a:noFill/>
              <a:prstDash val="solid"/>
              <a:miter/>
            </a:ln>
          </p:spPr>
          <p:txBody>
            <a:bodyPr lIns="0" tIns="0" rIns="0" bIns="0" rtlCol="0" anchor="ctr"/>
            <a:lstStyle/>
            <a:p>
              <a:endParaRPr lang="de-DE" sz="100"/>
            </a:p>
          </p:txBody>
        </p:sp>
        <p:sp>
          <p:nvSpPr>
            <p:cNvPr id="29" name="o">
              <a:extLst>
                <a:ext uri="{FF2B5EF4-FFF2-40B4-BE49-F238E27FC236}">
                  <a16:creationId xmlns:a16="http://schemas.microsoft.com/office/drawing/2014/main" id="{DF1FBB60-B2D3-4FBC-9E38-D485EF50542D}"/>
                </a:ext>
              </a:extLst>
            </p:cNvPr>
            <p:cNvSpPr/>
            <p:nvPr/>
          </p:nvSpPr>
          <p:spPr bwMode="gray">
            <a:xfrm>
              <a:off x="2206942" y="3966591"/>
              <a:ext cx="1682019" cy="1275207"/>
            </a:xfrm>
            <a:custGeom>
              <a:avLst/>
              <a:gdLst>
                <a:gd name="connsiteX0" fmla="*/ 326041 w 1682019"/>
                <a:gd name="connsiteY0" fmla="*/ 234982 h 1275207"/>
                <a:gd name="connsiteX1" fmla="*/ 1374648 w 1682019"/>
                <a:gd name="connsiteY1" fmla="*/ 234982 h 1275207"/>
                <a:gd name="connsiteX2" fmla="*/ 1374648 w 1682019"/>
                <a:gd name="connsiteY2" fmla="*/ 1030891 h 1275207"/>
                <a:gd name="connsiteX3" fmla="*/ 326041 w 1682019"/>
                <a:gd name="connsiteY3" fmla="*/ 1030891 h 1275207"/>
                <a:gd name="connsiteX4" fmla="*/ 326041 w 1682019"/>
                <a:gd name="connsiteY4" fmla="*/ 234982 h 1275207"/>
                <a:gd name="connsiteX5" fmla="*/ 0 w 1682019"/>
                <a:gd name="connsiteY5" fmla="*/ 301371 h 1275207"/>
                <a:gd name="connsiteX6" fmla="*/ 0 w 1682019"/>
                <a:gd name="connsiteY6" fmla="*/ 973646 h 1275207"/>
                <a:gd name="connsiteX7" fmla="*/ 338233 w 1682019"/>
                <a:gd name="connsiteY7" fmla="*/ 1275207 h 1275207"/>
                <a:gd name="connsiteX8" fmla="*/ 1343787 w 1682019"/>
                <a:gd name="connsiteY8" fmla="*/ 1275207 h 1275207"/>
                <a:gd name="connsiteX9" fmla="*/ 1682020 w 1682019"/>
                <a:gd name="connsiteY9" fmla="*/ 973646 h 1275207"/>
                <a:gd name="connsiteX10" fmla="*/ 1682020 w 1682019"/>
                <a:gd name="connsiteY10" fmla="*/ 301371 h 1275207"/>
                <a:gd name="connsiteX11" fmla="*/ 1343787 w 1682019"/>
                <a:gd name="connsiteY11" fmla="*/ 0 h 1275207"/>
                <a:gd name="connsiteX12" fmla="*/ 338233 w 1682019"/>
                <a:gd name="connsiteY12" fmla="*/ 0 h 1275207"/>
                <a:gd name="connsiteX13" fmla="*/ 0 w 1682019"/>
                <a:gd name="connsiteY13" fmla="*/ 301371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82019" h="1275207">
                  <a:moveTo>
                    <a:pt x="326041" y="234982"/>
                  </a:moveTo>
                  <a:lnTo>
                    <a:pt x="1374648" y="234982"/>
                  </a:lnTo>
                  <a:lnTo>
                    <a:pt x="1374648" y="1030891"/>
                  </a:lnTo>
                  <a:lnTo>
                    <a:pt x="326041" y="1030891"/>
                  </a:lnTo>
                  <a:lnTo>
                    <a:pt x="326041" y="234982"/>
                  </a:lnTo>
                  <a:close/>
                  <a:moveTo>
                    <a:pt x="0" y="301371"/>
                  </a:moveTo>
                  <a:lnTo>
                    <a:pt x="0" y="973646"/>
                  </a:lnTo>
                  <a:cubicBezTo>
                    <a:pt x="0" y="1214819"/>
                    <a:pt x="79915" y="1275207"/>
                    <a:pt x="338233" y="1275207"/>
                  </a:cubicBezTo>
                  <a:lnTo>
                    <a:pt x="1343787" y="1275207"/>
                  </a:lnTo>
                  <a:cubicBezTo>
                    <a:pt x="1598962" y="1275207"/>
                    <a:pt x="1682020" y="1214819"/>
                    <a:pt x="1682020" y="973646"/>
                  </a:cubicBezTo>
                  <a:lnTo>
                    <a:pt x="1682020" y="301371"/>
                  </a:lnTo>
                  <a:cubicBezTo>
                    <a:pt x="1682020" y="57150"/>
                    <a:pt x="1598867" y="0"/>
                    <a:pt x="1343787" y="0"/>
                  </a:cubicBezTo>
                  <a:lnTo>
                    <a:pt x="338233" y="0"/>
                  </a:lnTo>
                  <a:cubicBezTo>
                    <a:pt x="83153" y="0"/>
                    <a:pt x="0" y="57150"/>
                    <a:pt x="0" y="301371"/>
                  </a:cubicBezTo>
                </a:path>
              </a:pathLst>
            </a:custGeom>
            <a:grpFill/>
            <a:ln w="9525" cap="flat">
              <a:noFill/>
              <a:prstDash val="solid"/>
              <a:miter/>
            </a:ln>
          </p:spPr>
          <p:txBody>
            <a:bodyPr lIns="0" tIns="0" rIns="0" bIns="0" rtlCol="0" anchor="ctr"/>
            <a:lstStyle/>
            <a:p>
              <a:endParaRPr lang="de-DE" sz="100"/>
            </a:p>
          </p:txBody>
        </p:sp>
        <p:sp>
          <p:nvSpPr>
            <p:cNvPr id="30" name="m">
              <a:extLst>
                <a:ext uri="{FF2B5EF4-FFF2-40B4-BE49-F238E27FC236}">
                  <a16:creationId xmlns:a16="http://schemas.microsoft.com/office/drawing/2014/main" id="{BC9E3E74-4A0C-4DA9-AA93-703FA6A38B9E}"/>
                </a:ext>
              </a:extLst>
            </p:cNvPr>
            <p:cNvSpPr/>
            <p:nvPr/>
          </p:nvSpPr>
          <p:spPr bwMode="gray">
            <a:xfrm>
              <a:off x="4290155" y="3966495"/>
              <a:ext cx="1815750" cy="1275207"/>
            </a:xfrm>
            <a:custGeom>
              <a:avLst/>
              <a:gdLst>
                <a:gd name="connsiteX0" fmla="*/ 1560576 w 1815750"/>
                <a:gd name="connsiteY0" fmla="*/ 0 h 1275207"/>
                <a:gd name="connsiteX1" fmla="*/ 927163 w 1815750"/>
                <a:gd name="connsiteY1" fmla="*/ 756571 h 1275207"/>
                <a:gd name="connsiteX2" fmla="*/ 290703 w 1815750"/>
                <a:gd name="connsiteY2" fmla="*/ 0 h 1275207"/>
                <a:gd name="connsiteX3" fmla="*/ 0 w 1815750"/>
                <a:gd name="connsiteY3" fmla="*/ 0 h 1275207"/>
                <a:gd name="connsiteX4" fmla="*/ 0 w 1815750"/>
                <a:gd name="connsiteY4" fmla="*/ 1275207 h 1275207"/>
                <a:gd name="connsiteX5" fmla="*/ 290703 w 1815750"/>
                <a:gd name="connsiteY5" fmla="*/ 1275207 h 1275207"/>
                <a:gd name="connsiteX6" fmla="*/ 290703 w 1815750"/>
                <a:gd name="connsiteY6" fmla="*/ 419100 h 1275207"/>
                <a:gd name="connsiteX7" fmla="*/ 877919 w 1815750"/>
                <a:gd name="connsiteY7" fmla="*/ 1121474 h 1275207"/>
                <a:gd name="connsiteX8" fmla="*/ 939356 w 1815750"/>
                <a:gd name="connsiteY8" fmla="*/ 1121474 h 1275207"/>
                <a:gd name="connsiteX9" fmla="*/ 1520571 w 1815750"/>
                <a:gd name="connsiteY9" fmla="*/ 397859 h 1275207"/>
                <a:gd name="connsiteX10" fmla="*/ 1520571 w 1815750"/>
                <a:gd name="connsiteY10" fmla="*/ 1275207 h 1275207"/>
                <a:gd name="connsiteX11" fmla="*/ 1815751 w 1815750"/>
                <a:gd name="connsiteY11" fmla="*/ 1275207 h 1275207"/>
                <a:gd name="connsiteX12" fmla="*/ 1815751 w 1815750"/>
                <a:gd name="connsiteY12" fmla="*/ 0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5750" h="1275207">
                  <a:moveTo>
                    <a:pt x="1560576" y="0"/>
                  </a:moveTo>
                  <a:lnTo>
                    <a:pt x="927163" y="756571"/>
                  </a:lnTo>
                  <a:lnTo>
                    <a:pt x="290703" y="0"/>
                  </a:lnTo>
                  <a:lnTo>
                    <a:pt x="0" y="0"/>
                  </a:lnTo>
                  <a:lnTo>
                    <a:pt x="0" y="1275207"/>
                  </a:lnTo>
                  <a:lnTo>
                    <a:pt x="290703" y="1275207"/>
                  </a:lnTo>
                  <a:lnTo>
                    <a:pt x="290703" y="419100"/>
                  </a:lnTo>
                  <a:lnTo>
                    <a:pt x="877919" y="1121474"/>
                  </a:lnTo>
                  <a:lnTo>
                    <a:pt x="939356" y="1121474"/>
                  </a:lnTo>
                  <a:lnTo>
                    <a:pt x="1520571" y="397859"/>
                  </a:lnTo>
                  <a:lnTo>
                    <a:pt x="1520571" y="1275207"/>
                  </a:lnTo>
                  <a:lnTo>
                    <a:pt x="1815751" y="1275207"/>
                  </a:lnTo>
                  <a:lnTo>
                    <a:pt x="1815751" y="0"/>
                  </a:lnTo>
                  <a:close/>
                </a:path>
              </a:pathLst>
            </a:custGeom>
            <a:grpFill/>
            <a:ln w="9525" cap="flat">
              <a:noFill/>
              <a:prstDash val="solid"/>
              <a:miter/>
            </a:ln>
          </p:spPr>
          <p:txBody>
            <a:bodyPr lIns="0" tIns="0" rIns="0" bIns="0" rtlCol="0" anchor="ctr"/>
            <a:lstStyle/>
            <a:p>
              <a:endParaRPr lang="de-DE" sz="100"/>
            </a:p>
          </p:txBody>
        </p:sp>
        <p:sp>
          <p:nvSpPr>
            <p:cNvPr id="31" name="m">
              <a:extLst>
                <a:ext uri="{FF2B5EF4-FFF2-40B4-BE49-F238E27FC236}">
                  <a16:creationId xmlns:a16="http://schemas.microsoft.com/office/drawing/2014/main" id="{9D1CC7BA-D7CB-44B2-92C3-84020751560F}"/>
                </a:ext>
              </a:extLst>
            </p:cNvPr>
            <p:cNvSpPr/>
            <p:nvPr/>
          </p:nvSpPr>
          <p:spPr bwMode="gray">
            <a:xfrm>
              <a:off x="6535102" y="3966495"/>
              <a:ext cx="1815750" cy="1275207"/>
            </a:xfrm>
            <a:custGeom>
              <a:avLst/>
              <a:gdLst>
                <a:gd name="connsiteX0" fmla="*/ 1560672 w 1815750"/>
                <a:gd name="connsiteY0" fmla="*/ 0 h 1275207"/>
                <a:gd name="connsiteX1" fmla="*/ 927164 w 1815750"/>
                <a:gd name="connsiteY1" fmla="*/ 756571 h 1275207"/>
                <a:gd name="connsiteX2" fmla="*/ 290799 w 1815750"/>
                <a:gd name="connsiteY2" fmla="*/ 0 h 1275207"/>
                <a:gd name="connsiteX3" fmla="*/ 0 w 1815750"/>
                <a:gd name="connsiteY3" fmla="*/ 0 h 1275207"/>
                <a:gd name="connsiteX4" fmla="*/ 0 w 1815750"/>
                <a:gd name="connsiteY4" fmla="*/ 1275207 h 1275207"/>
                <a:gd name="connsiteX5" fmla="*/ 290799 w 1815750"/>
                <a:gd name="connsiteY5" fmla="*/ 1275207 h 1275207"/>
                <a:gd name="connsiteX6" fmla="*/ 290799 w 1815750"/>
                <a:gd name="connsiteY6" fmla="*/ 419100 h 1275207"/>
                <a:gd name="connsiteX7" fmla="*/ 878015 w 1815750"/>
                <a:gd name="connsiteY7" fmla="*/ 1121474 h 1275207"/>
                <a:gd name="connsiteX8" fmla="*/ 939546 w 1815750"/>
                <a:gd name="connsiteY8" fmla="*/ 1121474 h 1275207"/>
                <a:gd name="connsiteX9" fmla="*/ 1520571 w 1815750"/>
                <a:gd name="connsiteY9" fmla="*/ 397859 h 1275207"/>
                <a:gd name="connsiteX10" fmla="*/ 1520571 w 1815750"/>
                <a:gd name="connsiteY10" fmla="*/ 1275207 h 1275207"/>
                <a:gd name="connsiteX11" fmla="*/ 1815751 w 1815750"/>
                <a:gd name="connsiteY11" fmla="*/ 1275207 h 1275207"/>
                <a:gd name="connsiteX12" fmla="*/ 1815751 w 1815750"/>
                <a:gd name="connsiteY12" fmla="*/ 0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5750" h="1275207">
                  <a:moveTo>
                    <a:pt x="1560672" y="0"/>
                  </a:moveTo>
                  <a:lnTo>
                    <a:pt x="927164" y="756571"/>
                  </a:lnTo>
                  <a:lnTo>
                    <a:pt x="290799" y="0"/>
                  </a:lnTo>
                  <a:lnTo>
                    <a:pt x="0" y="0"/>
                  </a:lnTo>
                  <a:lnTo>
                    <a:pt x="0" y="1275207"/>
                  </a:lnTo>
                  <a:lnTo>
                    <a:pt x="290799" y="1275207"/>
                  </a:lnTo>
                  <a:lnTo>
                    <a:pt x="290799" y="419100"/>
                  </a:lnTo>
                  <a:lnTo>
                    <a:pt x="878015" y="1121474"/>
                  </a:lnTo>
                  <a:lnTo>
                    <a:pt x="939546" y="1121474"/>
                  </a:lnTo>
                  <a:lnTo>
                    <a:pt x="1520571" y="397859"/>
                  </a:lnTo>
                  <a:lnTo>
                    <a:pt x="1520571" y="1275207"/>
                  </a:lnTo>
                  <a:lnTo>
                    <a:pt x="1815751" y="1275207"/>
                  </a:lnTo>
                  <a:lnTo>
                    <a:pt x="1815751" y="0"/>
                  </a:lnTo>
                  <a:close/>
                </a:path>
              </a:pathLst>
            </a:custGeom>
            <a:grpFill/>
            <a:ln w="9525" cap="flat">
              <a:noFill/>
              <a:prstDash val="solid"/>
              <a:miter/>
            </a:ln>
          </p:spPr>
          <p:txBody>
            <a:bodyPr lIns="0" tIns="0" rIns="0" bIns="0" rtlCol="0" anchor="ctr"/>
            <a:lstStyle/>
            <a:p>
              <a:endParaRPr lang="de-DE" sz="100"/>
            </a:p>
          </p:txBody>
        </p:sp>
        <p:sp>
          <p:nvSpPr>
            <p:cNvPr id="32" name="e">
              <a:extLst>
                <a:ext uri="{FF2B5EF4-FFF2-40B4-BE49-F238E27FC236}">
                  <a16:creationId xmlns:a16="http://schemas.microsoft.com/office/drawing/2014/main" id="{003F2468-26C0-406C-A17D-50679D8F7AA7}"/>
                </a:ext>
              </a:extLst>
            </p:cNvPr>
            <p:cNvSpPr/>
            <p:nvPr/>
          </p:nvSpPr>
          <p:spPr bwMode="gray">
            <a:xfrm>
              <a:off x="8765762" y="3966495"/>
              <a:ext cx="1411319" cy="1275207"/>
            </a:xfrm>
            <a:custGeom>
              <a:avLst/>
              <a:gdLst>
                <a:gd name="connsiteX0" fmla="*/ 0 w 1411319"/>
                <a:gd name="connsiteY0" fmla="*/ 0 h 1275207"/>
                <a:gd name="connsiteX1" fmla="*/ 0 w 1411319"/>
                <a:gd name="connsiteY1" fmla="*/ 1275207 h 1275207"/>
                <a:gd name="connsiteX2" fmla="*/ 1411319 w 1411319"/>
                <a:gd name="connsiteY2" fmla="*/ 1275207 h 1275207"/>
                <a:gd name="connsiteX3" fmla="*/ 1411319 w 1411319"/>
                <a:gd name="connsiteY3" fmla="*/ 1036987 h 1275207"/>
                <a:gd name="connsiteX4" fmla="*/ 319850 w 1411319"/>
                <a:gd name="connsiteY4" fmla="*/ 1036987 h 1275207"/>
                <a:gd name="connsiteX5" fmla="*/ 319850 w 1411319"/>
                <a:gd name="connsiteY5" fmla="*/ 723424 h 1275207"/>
                <a:gd name="connsiteX6" fmla="*/ 947166 w 1411319"/>
                <a:gd name="connsiteY6" fmla="*/ 723424 h 1275207"/>
                <a:gd name="connsiteX7" fmla="*/ 947166 w 1411319"/>
                <a:gd name="connsiteY7" fmla="*/ 503396 h 1275207"/>
                <a:gd name="connsiteX8" fmla="*/ 319850 w 1411319"/>
                <a:gd name="connsiteY8" fmla="*/ 503396 h 1275207"/>
                <a:gd name="connsiteX9" fmla="*/ 319850 w 1411319"/>
                <a:gd name="connsiteY9" fmla="*/ 226219 h 1275207"/>
                <a:gd name="connsiteX10" fmla="*/ 1395984 w 1411319"/>
                <a:gd name="connsiteY10" fmla="*/ 226219 h 1275207"/>
                <a:gd name="connsiteX11" fmla="*/ 1395984 w 1411319"/>
                <a:gd name="connsiteY11" fmla="*/ 0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11319" h="1275207">
                  <a:moveTo>
                    <a:pt x="0" y="0"/>
                  </a:moveTo>
                  <a:lnTo>
                    <a:pt x="0" y="1275207"/>
                  </a:lnTo>
                  <a:lnTo>
                    <a:pt x="1411319" y="1275207"/>
                  </a:lnTo>
                  <a:lnTo>
                    <a:pt x="1411319" y="1036987"/>
                  </a:lnTo>
                  <a:lnTo>
                    <a:pt x="319850" y="1036987"/>
                  </a:lnTo>
                  <a:lnTo>
                    <a:pt x="319850" y="723424"/>
                  </a:lnTo>
                  <a:lnTo>
                    <a:pt x="947166" y="723424"/>
                  </a:lnTo>
                  <a:lnTo>
                    <a:pt x="947166" y="503396"/>
                  </a:lnTo>
                  <a:lnTo>
                    <a:pt x="319850" y="503396"/>
                  </a:lnTo>
                  <a:lnTo>
                    <a:pt x="319850" y="226219"/>
                  </a:lnTo>
                  <a:lnTo>
                    <a:pt x="1395984" y="226219"/>
                  </a:lnTo>
                  <a:lnTo>
                    <a:pt x="1395984" y="0"/>
                  </a:lnTo>
                  <a:close/>
                </a:path>
              </a:pathLst>
            </a:custGeom>
            <a:grpFill/>
            <a:ln w="9525" cap="flat">
              <a:noFill/>
              <a:prstDash val="solid"/>
              <a:miter/>
            </a:ln>
          </p:spPr>
          <p:txBody>
            <a:bodyPr lIns="0" tIns="0" rIns="0" bIns="0" rtlCol="0" anchor="ctr"/>
            <a:lstStyle/>
            <a:p>
              <a:endParaRPr lang="de-DE" sz="100"/>
            </a:p>
          </p:txBody>
        </p:sp>
        <p:sp>
          <p:nvSpPr>
            <p:cNvPr id="33" name="r">
              <a:extLst>
                <a:ext uri="{FF2B5EF4-FFF2-40B4-BE49-F238E27FC236}">
                  <a16:creationId xmlns:a16="http://schemas.microsoft.com/office/drawing/2014/main" id="{D9CF7EEA-A666-4706-A10E-CC0DEC4C4EFD}"/>
                </a:ext>
              </a:extLst>
            </p:cNvPr>
            <p:cNvSpPr/>
            <p:nvPr/>
          </p:nvSpPr>
          <p:spPr bwMode="gray">
            <a:xfrm>
              <a:off x="10504359" y="3966495"/>
              <a:ext cx="1579817" cy="1275207"/>
            </a:xfrm>
            <a:custGeom>
              <a:avLst/>
              <a:gdLst>
                <a:gd name="connsiteX0" fmla="*/ 1015937 w 1579817"/>
                <a:gd name="connsiteY0" fmla="*/ 220028 h 1275207"/>
                <a:gd name="connsiteX1" fmla="*/ 1157669 w 1579817"/>
                <a:gd name="connsiteY1" fmla="*/ 322517 h 1275207"/>
                <a:gd name="connsiteX2" fmla="*/ 1157669 w 1579817"/>
                <a:gd name="connsiteY2" fmla="*/ 470249 h 1275207"/>
                <a:gd name="connsiteX3" fmla="*/ 1015937 w 1579817"/>
                <a:gd name="connsiteY3" fmla="*/ 572738 h 1275207"/>
                <a:gd name="connsiteX4" fmla="*/ 307467 w 1579817"/>
                <a:gd name="connsiteY4" fmla="*/ 572738 h 1275207"/>
                <a:gd name="connsiteX5" fmla="*/ 307467 w 1579817"/>
                <a:gd name="connsiteY5" fmla="*/ 220028 h 1275207"/>
                <a:gd name="connsiteX6" fmla="*/ 1015937 w 1579817"/>
                <a:gd name="connsiteY6" fmla="*/ 220028 h 1275207"/>
                <a:gd name="connsiteX7" fmla="*/ 0 w 1579817"/>
                <a:gd name="connsiteY7" fmla="*/ 1275207 h 1275207"/>
                <a:gd name="connsiteX8" fmla="*/ 307563 w 1579817"/>
                <a:gd name="connsiteY8" fmla="*/ 1275207 h 1275207"/>
                <a:gd name="connsiteX9" fmla="*/ 307563 w 1579817"/>
                <a:gd name="connsiteY9" fmla="*/ 792766 h 1275207"/>
                <a:gd name="connsiteX10" fmla="*/ 599981 w 1579817"/>
                <a:gd name="connsiteY10" fmla="*/ 792766 h 1275207"/>
                <a:gd name="connsiteX11" fmla="*/ 1133570 w 1579817"/>
                <a:gd name="connsiteY11" fmla="*/ 1275207 h 1275207"/>
                <a:gd name="connsiteX12" fmla="*/ 1579818 w 1579817"/>
                <a:gd name="connsiteY12" fmla="*/ 1275207 h 1275207"/>
                <a:gd name="connsiteX13" fmla="*/ 973931 w 1579817"/>
                <a:gd name="connsiteY13" fmla="*/ 792766 h 1275207"/>
                <a:gd name="connsiteX14" fmla="*/ 1148811 w 1579817"/>
                <a:gd name="connsiteY14" fmla="*/ 792766 h 1275207"/>
                <a:gd name="connsiteX15" fmla="*/ 1447229 w 1579817"/>
                <a:gd name="connsiteY15" fmla="*/ 548545 h 1275207"/>
                <a:gd name="connsiteX16" fmla="*/ 1447229 w 1579817"/>
                <a:gd name="connsiteY16" fmla="*/ 247174 h 1275207"/>
                <a:gd name="connsiteX17" fmla="*/ 1148811 w 1579817"/>
                <a:gd name="connsiteY17" fmla="*/ 0 h 1275207"/>
                <a:gd name="connsiteX18" fmla="*/ 191 w 1579817"/>
                <a:gd name="connsiteY18" fmla="*/ 0 h 1275207"/>
                <a:gd name="connsiteX19" fmla="*/ 191 w 1579817"/>
                <a:gd name="connsiteY19" fmla="*/ 1275207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79817" h="1275207">
                  <a:moveTo>
                    <a:pt x="1015937" y="220028"/>
                  </a:moveTo>
                  <a:cubicBezTo>
                    <a:pt x="1109282" y="220028"/>
                    <a:pt x="1157669" y="238220"/>
                    <a:pt x="1157669" y="322517"/>
                  </a:cubicBezTo>
                  <a:lnTo>
                    <a:pt x="1157669" y="470249"/>
                  </a:lnTo>
                  <a:cubicBezTo>
                    <a:pt x="1157669" y="554736"/>
                    <a:pt x="1109282" y="572738"/>
                    <a:pt x="1015937" y="572738"/>
                  </a:cubicBezTo>
                  <a:lnTo>
                    <a:pt x="307467" y="572738"/>
                  </a:lnTo>
                  <a:lnTo>
                    <a:pt x="307467" y="220028"/>
                  </a:lnTo>
                  <a:lnTo>
                    <a:pt x="1015937" y="220028"/>
                  </a:lnTo>
                  <a:close/>
                  <a:moveTo>
                    <a:pt x="0" y="1275207"/>
                  </a:moveTo>
                  <a:lnTo>
                    <a:pt x="307563" y="1275207"/>
                  </a:lnTo>
                  <a:lnTo>
                    <a:pt x="307563" y="792766"/>
                  </a:lnTo>
                  <a:lnTo>
                    <a:pt x="599981" y="792766"/>
                  </a:lnTo>
                  <a:lnTo>
                    <a:pt x="1133570" y="1275207"/>
                  </a:lnTo>
                  <a:lnTo>
                    <a:pt x="1579818" y="1275207"/>
                  </a:lnTo>
                  <a:lnTo>
                    <a:pt x="973931" y="792766"/>
                  </a:lnTo>
                  <a:lnTo>
                    <a:pt x="1148811" y="792766"/>
                  </a:lnTo>
                  <a:cubicBezTo>
                    <a:pt x="1353693" y="792766"/>
                    <a:pt x="1447229" y="723424"/>
                    <a:pt x="1447229" y="548545"/>
                  </a:cubicBezTo>
                  <a:lnTo>
                    <a:pt x="1447229" y="247174"/>
                  </a:lnTo>
                  <a:cubicBezTo>
                    <a:pt x="1447229" y="69342"/>
                    <a:pt x="1353693" y="0"/>
                    <a:pt x="1148811" y="0"/>
                  </a:cubicBezTo>
                  <a:lnTo>
                    <a:pt x="191" y="0"/>
                  </a:lnTo>
                  <a:lnTo>
                    <a:pt x="191" y="1275207"/>
                  </a:lnTo>
                  <a:close/>
                </a:path>
              </a:pathLst>
            </a:custGeom>
            <a:grpFill/>
            <a:ln w="9525" cap="flat">
              <a:noFill/>
              <a:prstDash val="solid"/>
              <a:miter/>
            </a:ln>
          </p:spPr>
          <p:txBody>
            <a:bodyPr lIns="0" tIns="0" rIns="0" bIns="0" rtlCol="0" anchor="ctr"/>
            <a:lstStyle/>
            <a:p>
              <a:endParaRPr lang="de-DE" sz="100"/>
            </a:p>
          </p:txBody>
        </p:sp>
      </p:grpSp>
      <p:sp>
        <p:nvSpPr>
          <p:cNvPr id="2" name="title">
            <a:extLst>
              <a:ext uri="{FF2B5EF4-FFF2-40B4-BE49-F238E27FC236}">
                <a16:creationId xmlns:a16="http://schemas.microsoft.com/office/drawing/2014/main" id="{2D63E91F-7C50-4944-B1AC-430EC102DAF7}"/>
              </a:ext>
            </a:extLst>
          </p:cNvPr>
          <p:cNvSpPr>
            <a:spLocks noGrp="1"/>
          </p:cNvSpPr>
          <p:nvPr userDrawn="1">
            <p:ph type="ctrTitle" hasCustomPrompt="1"/>
          </p:nvPr>
        </p:nvSpPr>
        <p:spPr bwMode="gray">
          <a:xfrm>
            <a:off x="0" y="3661334"/>
            <a:ext cx="5400000" cy="3196666"/>
          </a:xfrm>
          <a:noFill/>
        </p:spPr>
        <p:txBody>
          <a:bodyPr lIns="525600" tIns="514800" rIns="216000" bIns="720000" anchor="t">
            <a:noAutofit/>
          </a:bodyPr>
          <a:lstStyle>
            <a:lvl1pPr algn="l">
              <a:defRPr sz="2600">
                <a:solidFill>
                  <a:schemeClr val="tx1"/>
                </a:solidFill>
              </a:defRPr>
            </a:lvl1pPr>
          </a:lstStyle>
          <a:p>
            <a:br>
              <a:rPr lang="de-DE"/>
            </a:br>
            <a:br>
              <a:rPr lang="de-DE"/>
            </a:br>
            <a:r>
              <a:rPr lang="de-DE"/>
              <a:t>Mastertitelformat bearbeiten</a:t>
            </a:r>
            <a:endParaRPr lang="en-US"/>
          </a:p>
        </p:txBody>
      </p:sp>
      <p:sp>
        <p:nvSpPr>
          <p:cNvPr id="3" name="subtitle">
            <a:extLst>
              <a:ext uri="{FF2B5EF4-FFF2-40B4-BE49-F238E27FC236}">
                <a16:creationId xmlns:a16="http://schemas.microsoft.com/office/drawing/2014/main" id="{D3F50A68-F558-4D31-BE77-E20AB0A29926}"/>
              </a:ext>
            </a:extLst>
          </p:cNvPr>
          <p:cNvSpPr>
            <a:spLocks noGrp="1"/>
          </p:cNvSpPr>
          <p:nvPr userDrawn="1">
            <p:ph type="subTitle" idx="1" hasCustomPrompt="1"/>
          </p:nvPr>
        </p:nvSpPr>
        <p:spPr bwMode="gray">
          <a:xfrm>
            <a:off x="0" y="5674168"/>
            <a:ext cx="5400000" cy="432000"/>
          </a:xfrm>
        </p:spPr>
        <p:txBody>
          <a:bodyPr lIns="540000" rIns="216000" bIns="216000"/>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itle / Speaker / Date / Location</a:t>
            </a:r>
            <a:endParaRPr lang="en-US"/>
          </a:p>
        </p:txBody>
      </p:sp>
      <p:sp>
        <p:nvSpPr>
          <p:cNvPr id="6" name="slide number">
            <a:extLst>
              <a:ext uri="{FF2B5EF4-FFF2-40B4-BE49-F238E27FC236}">
                <a16:creationId xmlns:a16="http://schemas.microsoft.com/office/drawing/2014/main" id="{F1423FEB-CFD7-4376-A0C4-D91B3BE0287A}"/>
              </a:ext>
            </a:extLst>
          </p:cNvPr>
          <p:cNvSpPr>
            <a:spLocks noGrp="1"/>
          </p:cNvSpPr>
          <p:nvPr userDrawn="1">
            <p:ph type="sldNum" sz="quarter" idx="12"/>
          </p:nvPr>
        </p:nvSpPr>
        <p:spPr bwMode="gray">
          <a:xfrm>
            <a:off x="525600" y="7200000"/>
            <a:ext cx="234000" cy="180000"/>
          </a:xfrm>
        </p:spPr>
        <p:txBody>
          <a:bodyPr lIns="0" tIns="0" rIns="0" bIns="0"/>
          <a:lstStyle/>
          <a:p>
            <a:fld id="{9829449A-3FF3-45CE-9F4F-09BADC0910C6}" type="slidenum">
              <a:rPr lang="en-US" smtClean="0"/>
              <a:t>‹Nr.›</a:t>
            </a:fld>
            <a:endParaRPr lang="en-US"/>
          </a:p>
        </p:txBody>
      </p:sp>
      <p:sp>
        <p:nvSpPr>
          <p:cNvPr id="5" name="footer">
            <a:extLst>
              <a:ext uri="{FF2B5EF4-FFF2-40B4-BE49-F238E27FC236}">
                <a16:creationId xmlns:a16="http://schemas.microsoft.com/office/drawing/2014/main" id="{190677E9-326C-4EF5-ADE8-5E9E2D32D3E6}"/>
              </a:ext>
            </a:extLst>
          </p:cNvPr>
          <p:cNvSpPr>
            <a:spLocks noGrp="1"/>
          </p:cNvSpPr>
          <p:nvPr userDrawn="1">
            <p:ph type="ftr" sz="quarter" idx="11"/>
          </p:nvPr>
        </p:nvSpPr>
        <p:spPr bwMode="gray">
          <a:xfrm>
            <a:off x="763200" y="7200000"/>
            <a:ext cx="7880400" cy="180000"/>
          </a:xfrm>
        </p:spPr>
        <p:txBody>
          <a:bodyPr lIns="0" tIns="0" rIns="0" bIns="0"/>
          <a:lstStyle/>
          <a:p>
            <a:endParaRPr lang="en-US"/>
          </a:p>
        </p:txBody>
      </p:sp>
      <p:sp>
        <p:nvSpPr>
          <p:cNvPr id="4" name="Rechteck 3">
            <a:extLst>
              <a:ext uri="{FF2B5EF4-FFF2-40B4-BE49-F238E27FC236}">
                <a16:creationId xmlns:a16="http://schemas.microsoft.com/office/drawing/2014/main" id="{22D83294-DDE1-4419-8BAC-18C26A00C27E}"/>
              </a:ext>
            </a:extLst>
          </p:cNvPr>
          <p:cNvSpPr/>
          <p:nvPr userDrawn="1"/>
        </p:nvSpPr>
        <p:spPr>
          <a:xfrm>
            <a:off x="288000" y="3800475"/>
            <a:ext cx="1302675" cy="3143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400"/>
              </a:spcBef>
              <a:spcAft>
                <a:spcPts val="400"/>
              </a:spcAft>
            </a:pPr>
            <a:endParaRPr lang="de-DE" sz="1400" err="1"/>
          </a:p>
        </p:txBody>
      </p:sp>
    </p:spTree>
    <p:extLst>
      <p:ext uri="{BB962C8B-B14F-4D97-AF65-F5344CB8AC3E}">
        <p14:creationId xmlns:p14="http://schemas.microsoft.com/office/powerpoint/2010/main" val="1712562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306" userDrawn="1">
          <p15:clr>
            <a:srgbClr val="FBAE40"/>
          </p15:clr>
        </p15:guide>
        <p15:guide id="2" orient="horz" pos="3345" userDrawn="1">
          <p15:clr>
            <a:srgbClr val="FBAE40"/>
          </p15:clr>
        </p15:guide>
        <p15:guide id="3" pos="3402"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Reference &amp; two Pictures">
    <p:spTree>
      <p:nvGrpSpPr>
        <p:cNvPr id="1" name=""/>
        <p:cNvGrpSpPr/>
        <p:nvPr/>
      </p:nvGrpSpPr>
      <p:grpSpPr>
        <a:xfrm>
          <a:off x="0" y="0"/>
          <a:ext cx="0" cy="0"/>
          <a:chOff x="0" y="0"/>
          <a:chExt cx="0" cy="0"/>
        </a:xfrm>
      </p:grpSpPr>
      <p:sp>
        <p:nvSpPr>
          <p:cNvPr id="11" name="background grey">
            <a:extLst>
              <a:ext uri="{FF2B5EF4-FFF2-40B4-BE49-F238E27FC236}">
                <a16:creationId xmlns:a16="http://schemas.microsoft.com/office/drawing/2014/main" id="{67B920F9-FFDD-4A7E-B64D-74D2EEEAED0E}"/>
              </a:ext>
            </a:extLst>
          </p:cNvPr>
          <p:cNvSpPr/>
          <p:nvPr userDrawn="1"/>
        </p:nvSpPr>
        <p:spPr bwMode="gray">
          <a:xfrm>
            <a:off x="0" y="673311"/>
            <a:ext cx="12192000" cy="47844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400"/>
              </a:spcBef>
              <a:spcAft>
                <a:spcPts val="400"/>
              </a:spcAft>
            </a:pPr>
            <a:endParaRPr lang="de-DE" sz="1400"/>
          </a:p>
        </p:txBody>
      </p:sp>
      <p:sp>
        <p:nvSpPr>
          <p:cNvPr id="10" name="picture 1">
            <a:extLst>
              <a:ext uri="{FF2B5EF4-FFF2-40B4-BE49-F238E27FC236}">
                <a16:creationId xmlns:a16="http://schemas.microsoft.com/office/drawing/2014/main" id="{76533136-822A-4672-82A6-5B4464AD390B}"/>
              </a:ext>
            </a:extLst>
          </p:cNvPr>
          <p:cNvSpPr>
            <a:spLocks noGrp="1"/>
          </p:cNvSpPr>
          <p:nvPr userDrawn="1">
            <p:ph type="pic" sz="quarter" idx="18"/>
          </p:nvPr>
        </p:nvSpPr>
        <p:spPr bwMode="gray">
          <a:xfrm>
            <a:off x="525600" y="1601091"/>
            <a:ext cx="4369828" cy="3567127"/>
          </a:xfrm>
          <a:pattFill prst="ltUpDiag">
            <a:fgClr>
              <a:schemeClr val="bg1">
                <a:lumMod val="95000"/>
              </a:schemeClr>
            </a:fgClr>
            <a:bgClr>
              <a:schemeClr val="bg1"/>
            </a:bgClr>
          </a:pattFill>
        </p:spPr>
        <p:txBody>
          <a:bodyPr/>
          <a:lstStyle/>
          <a:p>
            <a:endParaRPr lang="en-US"/>
          </a:p>
        </p:txBody>
      </p:sp>
      <p:sp>
        <p:nvSpPr>
          <p:cNvPr id="9" name="picture 2">
            <a:extLst>
              <a:ext uri="{FF2B5EF4-FFF2-40B4-BE49-F238E27FC236}">
                <a16:creationId xmlns:a16="http://schemas.microsoft.com/office/drawing/2014/main" id="{0C332C5E-6672-488C-98EF-4F5E858F7E90}"/>
              </a:ext>
            </a:extLst>
          </p:cNvPr>
          <p:cNvSpPr>
            <a:spLocks noGrp="1"/>
          </p:cNvSpPr>
          <p:nvPr userDrawn="1">
            <p:ph type="pic" sz="quarter" idx="17"/>
          </p:nvPr>
        </p:nvSpPr>
        <p:spPr bwMode="gray">
          <a:xfrm>
            <a:off x="5039428" y="2528872"/>
            <a:ext cx="2864254" cy="3569529"/>
          </a:xfrm>
          <a:pattFill prst="ltUpDiag">
            <a:fgClr>
              <a:schemeClr val="bg1">
                <a:lumMod val="95000"/>
              </a:schemeClr>
            </a:fgClr>
            <a:bgClr>
              <a:schemeClr val="bg1"/>
            </a:bgClr>
          </a:pattFill>
        </p:spPr>
        <p:txBody>
          <a:bodyPr/>
          <a:lstStyle/>
          <a:p>
            <a:endParaRPr lang="en-US"/>
          </a:p>
        </p:txBody>
      </p:sp>
      <p:sp>
        <p:nvSpPr>
          <p:cNvPr id="7" name="text">
            <a:extLst>
              <a:ext uri="{FF2B5EF4-FFF2-40B4-BE49-F238E27FC236}">
                <a16:creationId xmlns:a16="http://schemas.microsoft.com/office/drawing/2014/main" id="{76947769-F1C5-46D2-A578-B46158BB4453}"/>
              </a:ext>
            </a:extLst>
          </p:cNvPr>
          <p:cNvSpPr>
            <a:spLocks noGrp="1"/>
          </p:cNvSpPr>
          <p:nvPr>
            <p:ph type="body" sz="quarter" idx="15"/>
          </p:nvPr>
        </p:nvSpPr>
        <p:spPr bwMode="gray">
          <a:xfrm>
            <a:off x="8047682" y="959817"/>
            <a:ext cx="3616318" cy="2854890"/>
          </a:xfrm>
          <a:solidFill>
            <a:schemeClr val="bg1"/>
          </a:solidFill>
        </p:spPr>
        <p:txBody>
          <a:bodyPr lIns="216000" tIns="997200" rIns="216000" bIns="432000">
            <a:spAutoFit/>
          </a:bodyPr>
          <a:lstStyle>
            <a:lvl1pPr>
              <a:spcBef>
                <a:spcPts val="0"/>
              </a:spcBef>
              <a:defRPr>
                <a:solidFill>
                  <a:schemeClr val="tx1"/>
                </a:solidFill>
              </a:defRPr>
            </a:lvl1pPr>
            <a:lvl2pPr marL="0" indent="0">
              <a:spcBef>
                <a:spcPts val="400"/>
              </a:spcBef>
              <a:spcAft>
                <a:spcPts val="0"/>
              </a:spcAft>
              <a:buFontTx/>
              <a:buNone/>
              <a:defRPr b="1">
                <a:solidFill>
                  <a:schemeClr val="tx1"/>
                </a:solidFill>
              </a:defRPr>
            </a:lvl2pPr>
            <a:lvl3pPr marL="216000" indent="-216000">
              <a:buFont typeface="Wingdings" panose="05000000000000000000" pitchFamily="2" charset="2"/>
              <a:buChar char="§"/>
              <a:defRPr>
                <a:solidFill>
                  <a:schemeClr val="tx1"/>
                </a:solidFill>
              </a:defRPr>
            </a:lvl3pPr>
            <a:lvl4pPr marL="432000" indent="-216000">
              <a:buFont typeface="Symbol" panose="05050102010706020507" pitchFamily="18" charset="2"/>
              <a:buChar cha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le">
            <a:extLst>
              <a:ext uri="{FF2B5EF4-FFF2-40B4-BE49-F238E27FC236}">
                <a16:creationId xmlns:a16="http://schemas.microsoft.com/office/drawing/2014/main" id="{8FFCB50B-5503-4467-8A0F-9FBB8B48B97D}"/>
              </a:ext>
            </a:extLst>
          </p:cNvPr>
          <p:cNvSpPr>
            <a:spLocks noGrp="1"/>
          </p:cNvSpPr>
          <p:nvPr userDrawn="1">
            <p:ph type="title"/>
          </p:nvPr>
        </p:nvSpPr>
        <p:spPr bwMode="gray">
          <a:xfrm>
            <a:off x="8047682" y="1334806"/>
            <a:ext cx="3618000" cy="446400"/>
          </a:xfrm>
        </p:spPr>
        <p:txBody>
          <a:bodyPr lIns="216000" tIns="0" rIns="216000" bIns="0"/>
          <a:lstStyle>
            <a:lvl1pPr>
              <a:defRPr sz="1800"/>
            </a:lvl1pPr>
          </a:lstStyle>
          <a:p>
            <a:r>
              <a:rPr lang="de-DE"/>
              <a:t>Mastertitelformat bearbeiten</a:t>
            </a:r>
            <a:endParaRPr lang="en-US"/>
          </a:p>
        </p:txBody>
      </p:sp>
      <p:sp>
        <p:nvSpPr>
          <p:cNvPr id="6" name="slide number">
            <a:extLst>
              <a:ext uri="{FF2B5EF4-FFF2-40B4-BE49-F238E27FC236}">
                <a16:creationId xmlns:a16="http://schemas.microsoft.com/office/drawing/2014/main" id="{90B54C2D-8235-4852-8EB7-5E05529B2499}"/>
              </a:ext>
            </a:extLst>
          </p:cNvPr>
          <p:cNvSpPr>
            <a:spLocks noGrp="1"/>
          </p:cNvSpPr>
          <p:nvPr userDrawn="1">
            <p:ph type="sldNum" sz="quarter" idx="12"/>
          </p:nvPr>
        </p:nvSpPr>
        <p:spPr bwMode="gray"/>
        <p:txBody>
          <a:bodyPr lIns="0" tIns="0" rIns="0" bIns="0"/>
          <a:lstStyle/>
          <a:p>
            <a:fld id="{9829449A-3FF3-45CE-9F4F-09BADC0910C6}" type="slidenum">
              <a:rPr lang="en-US" smtClean="0"/>
              <a:t>‹Nr.›</a:t>
            </a:fld>
            <a:endParaRPr lang="en-US"/>
          </a:p>
        </p:txBody>
      </p:sp>
      <p:sp>
        <p:nvSpPr>
          <p:cNvPr id="5" name="footer">
            <a:extLst>
              <a:ext uri="{FF2B5EF4-FFF2-40B4-BE49-F238E27FC236}">
                <a16:creationId xmlns:a16="http://schemas.microsoft.com/office/drawing/2014/main" id="{A4534FC4-D037-44B0-B266-D9E820FC1DF2}"/>
              </a:ext>
            </a:extLst>
          </p:cNvPr>
          <p:cNvSpPr>
            <a:spLocks noGrp="1"/>
          </p:cNvSpPr>
          <p:nvPr userDrawn="1">
            <p:ph type="ftr" sz="quarter" idx="11"/>
          </p:nvPr>
        </p:nvSpPr>
        <p:spPr bwMode="gray"/>
        <p:txBody>
          <a:bodyPr lIns="0" tIns="0" rIns="0" bIns="0"/>
          <a:lstStyle/>
          <a:p>
            <a:endParaRPr lang="en-US"/>
          </a:p>
        </p:txBody>
      </p:sp>
    </p:spTree>
    <p:extLst>
      <p:ext uri="{BB962C8B-B14F-4D97-AF65-F5344CB8AC3E}">
        <p14:creationId xmlns:p14="http://schemas.microsoft.com/office/powerpoint/2010/main" val="4265128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3084" userDrawn="1">
          <p15:clr>
            <a:srgbClr val="FBAE40"/>
          </p15:clr>
        </p15:guide>
        <p15:guide id="2" pos="3174" userDrawn="1">
          <p15:clr>
            <a:srgbClr val="FBAE40"/>
          </p15:clr>
        </p15:guide>
        <p15:guide id="3" pos="4980" userDrawn="1">
          <p15:clr>
            <a:srgbClr val="FBAE40"/>
          </p15:clr>
        </p15:guide>
        <p15:guide id="4" pos="5069" userDrawn="1">
          <p15:clr>
            <a:srgbClr val="FBAE40"/>
          </p15:clr>
        </p15:guide>
        <p15:guide id="5" orient="horz" pos="840" userDrawn="1">
          <p15:clr>
            <a:srgbClr val="FBAE40"/>
          </p15:clr>
        </p15:guide>
        <p15:guide id="6" orient="horz" pos="595" userDrawn="1">
          <p15:clr>
            <a:srgbClr val="FBAE40"/>
          </p15:clr>
        </p15:guide>
        <p15:guide id="7" orient="horz" pos="1593" userDrawn="1">
          <p15:clr>
            <a:srgbClr val="FBAE40"/>
          </p15:clr>
        </p15:guide>
        <p15:guide id="8" orient="horz" pos="3257"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Keymessage left">
    <p:spTree>
      <p:nvGrpSpPr>
        <p:cNvPr id="1" name=""/>
        <p:cNvGrpSpPr/>
        <p:nvPr/>
      </p:nvGrpSpPr>
      <p:grpSpPr>
        <a:xfrm>
          <a:off x="0" y="0"/>
          <a:ext cx="0" cy="0"/>
          <a:chOff x="0" y="0"/>
          <a:chExt cx="0" cy="0"/>
        </a:xfrm>
      </p:grpSpPr>
      <p:sp>
        <p:nvSpPr>
          <p:cNvPr id="4" name="background mask">
            <a:extLst>
              <a:ext uri="{FF2B5EF4-FFF2-40B4-BE49-F238E27FC236}">
                <a16:creationId xmlns:a16="http://schemas.microsoft.com/office/drawing/2014/main" id="{94098233-CECF-433F-AC4F-3E8E3EC68B85}"/>
              </a:ext>
            </a:extLst>
          </p:cNvPr>
          <p:cNvSpPr/>
          <p:nvPr userDrawn="1"/>
        </p:nvSpPr>
        <p:spPr bwMode="gray">
          <a:xfrm>
            <a:off x="-1" y="0"/>
            <a:ext cx="1470447" cy="8001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400"/>
              </a:spcBef>
              <a:spcAft>
                <a:spcPts val="400"/>
              </a:spcAft>
            </a:pPr>
            <a:endParaRPr lang="de-DE" sz="1400"/>
          </a:p>
        </p:txBody>
      </p:sp>
      <p:sp>
        <p:nvSpPr>
          <p:cNvPr id="14" name="logo drees&amp;sommer blue mask">
            <a:extLst>
              <a:ext uri="{FF2B5EF4-FFF2-40B4-BE49-F238E27FC236}">
                <a16:creationId xmlns:a16="http://schemas.microsoft.com/office/drawing/2014/main" id="{7DFCFBB7-6B39-4D0E-BE6B-B3B479E24FA2}"/>
              </a:ext>
            </a:extLst>
          </p:cNvPr>
          <p:cNvSpPr/>
          <p:nvPr userDrawn="1"/>
        </p:nvSpPr>
        <p:spPr bwMode="gray">
          <a:xfrm>
            <a:off x="10579100" y="6197600"/>
            <a:ext cx="1270000" cy="584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400"/>
              </a:spcBef>
              <a:spcAft>
                <a:spcPts val="400"/>
              </a:spcAft>
            </a:pPr>
            <a:endParaRPr lang="de-DE" sz="1400"/>
          </a:p>
        </p:txBody>
      </p:sp>
      <p:grpSp>
        <p:nvGrpSpPr>
          <p:cNvPr id="34" name="line elements">
            <a:extLst>
              <a:ext uri="{FF2B5EF4-FFF2-40B4-BE49-F238E27FC236}">
                <a16:creationId xmlns:a16="http://schemas.microsoft.com/office/drawing/2014/main" id="{CEC4933D-0262-4E02-AD50-FD3B6AA81F17}"/>
              </a:ext>
            </a:extLst>
          </p:cNvPr>
          <p:cNvGrpSpPr>
            <a:grpSpLocks noChangeAspect="1"/>
          </p:cNvGrpSpPr>
          <p:nvPr userDrawn="1"/>
        </p:nvGrpSpPr>
        <p:grpSpPr bwMode="gray">
          <a:xfrm>
            <a:off x="947262" y="461121"/>
            <a:ext cx="740827" cy="26783"/>
            <a:chOff x="508288" y="461121"/>
            <a:chExt cx="740827" cy="26783"/>
          </a:xfrm>
          <a:solidFill>
            <a:schemeClr val="tx1"/>
          </a:solidFill>
        </p:grpSpPr>
        <p:sp>
          <p:nvSpPr>
            <p:cNvPr id="35" name="line 1">
              <a:extLst>
                <a:ext uri="{FF2B5EF4-FFF2-40B4-BE49-F238E27FC236}">
                  <a16:creationId xmlns:a16="http://schemas.microsoft.com/office/drawing/2014/main" id="{CE7690D2-058F-4132-B871-61D2814B88E2}"/>
                </a:ext>
              </a:extLst>
            </p:cNvPr>
            <p:cNvSpPr>
              <a:spLocks/>
            </p:cNvSpPr>
            <p:nvPr/>
          </p:nvSpPr>
          <p:spPr bwMode="gray">
            <a:xfrm rot="2700000">
              <a:off x="617300" y="352116"/>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sp>
          <p:nvSpPr>
            <p:cNvPr id="36" name="line 2">
              <a:extLst>
                <a:ext uri="{FF2B5EF4-FFF2-40B4-BE49-F238E27FC236}">
                  <a16:creationId xmlns:a16="http://schemas.microsoft.com/office/drawing/2014/main" id="{890304EE-F193-4737-8832-3A0B1386F36B}"/>
                </a:ext>
              </a:extLst>
            </p:cNvPr>
            <p:cNvSpPr>
              <a:spLocks/>
            </p:cNvSpPr>
            <p:nvPr/>
          </p:nvSpPr>
          <p:spPr bwMode="gray">
            <a:xfrm rot="2700000">
              <a:off x="741307" y="352116"/>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sp>
          <p:nvSpPr>
            <p:cNvPr id="37" name="line 3">
              <a:extLst>
                <a:ext uri="{FF2B5EF4-FFF2-40B4-BE49-F238E27FC236}">
                  <a16:creationId xmlns:a16="http://schemas.microsoft.com/office/drawing/2014/main" id="{5FDE1394-C6F2-4693-B7F1-B0EF7885A27D}"/>
                </a:ext>
              </a:extLst>
            </p:cNvPr>
            <p:cNvSpPr>
              <a:spLocks/>
            </p:cNvSpPr>
            <p:nvPr/>
          </p:nvSpPr>
          <p:spPr bwMode="gray">
            <a:xfrm rot="2700000">
              <a:off x="865314" y="352116"/>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sp>
          <p:nvSpPr>
            <p:cNvPr id="38" name="line 4">
              <a:extLst>
                <a:ext uri="{FF2B5EF4-FFF2-40B4-BE49-F238E27FC236}">
                  <a16:creationId xmlns:a16="http://schemas.microsoft.com/office/drawing/2014/main" id="{45239C7A-E0D3-429B-8BA7-9B2772A0CEFB}"/>
                </a:ext>
              </a:extLst>
            </p:cNvPr>
            <p:cNvSpPr>
              <a:spLocks/>
            </p:cNvSpPr>
            <p:nvPr/>
          </p:nvSpPr>
          <p:spPr bwMode="gray">
            <a:xfrm rot="2700000">
              <a:off x="989321" y="352116"/>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sp>
          <p:nvSpPr>
            <p:cNvPr id="39" name="line 5">
              <a:extLst>
                <a:ext uri="{FF2B5EF4-FFF2-40B4-BE49-F238E27FC236}">
                  <a16:creationId xmlns:a16="http://schemas.microsoft.com/office/drawing/2014/main" id="{01376CEC-54FE-462A-AF50-D570686A5AAC}"/>
                </a:ext>
              </a:extLst>
            </p:cNvPr>
            <p:cNvSpPr>
              <a:spLocks/>
            </p:cNvSpPr>
            <p:nvPr/>
          </p:nvSpPr>
          <p:spPr bwMode="gray">
            <a:xfrm rot="2700000">
              <a:off x="1113327" y="352109"/>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grpSp>
      <p:sp>
        <p:nvSpPr>
          <p:cNvPr id="26" name="picture">
            <a:extLst>
              <a:ext uri="{FF2B5EF4-FFF2-40B4-BE49-F238E27FC236}">
                <a16:creationId xmlns:a16="http://schemas.microsoft.com/office/drawing/2014/main" id="{433E68CF-BE9D-457D-A168-6A36F88BE3AD}"/>
              </a:ext>
            </a:extLst>
          </p:cNvPr>
          <p:cNvSpPr>
            <a:spLocks noGrp="1"/>
          </p:cNvSpPr>
          <p:nvPr userDrawn="1">
            <p:ph type="pic" sz="quarter" idx="18"/>
          </p:nvPr>
        </p:nvSpPr>
        <p:spPr bwMode="gray">
          <a:xfrm>
            <a:off x="0" y="0"/>
            <a:ext cx="12192000" cy="6858000"/>
          </a:xfrm>
          <a:custGeom>
            <a:avLst/>
            <a:gdLst>
              <a:gd name="connsiteX0" fmla="*/ 10909343 w 12192000"/>
              <a:gd name="connsiteY0" fmla="*/ 6535879 h 6858000"/>
              <a:gd name="connsiteX1" fmla="*/ 10992168 w 12192000"/>
              <a:gd name="connsiteY1" fmla="*/ 6535879 h 6858000"/>
              <a:gd name="connsiteX2" fmla="*/ 10992168 w 12192000"/>
              <a:gd name="connsiteY2" fmla="*/ 6598745 h 6858000"/>
              <a:gd name="connsiteX3" fmla="*/ 10909343 w 12192000"/>
              <a:gd name="connsiteY3" fmla="*/ 6598745 h 6858000"/>
              <a:gd name="connsiteX4" fmla="*/ 11563256 w 12192000"/>
              <a:gd name="connsiteY4" fmla="*/ 6534690 h 6858000"/>
              <a:gd name="connsiteX5" fmla="*/ 11619215 w 12192000"/>
              <a:gd name="connsiteY5" fmla="*/ 6534690 h 6858000"/>
              <a:gd name="connsiteX6" fmla="*/ 11630409 w 12192000"/>
              <a:gd name="connsiteY6" fmla="*/ 6542786 h 6858000"/>
              <a:gd name="connsiteX7" fmla="*/ 11630409 w 12192000"/>
              <a:gd name="connsiteY7" fmla="*/ 6554455 h 6858000"/>
              <a:gd name="connsiteX8" fmla="*/ 11619215 w 12192000"/>
              <a:gd name="connsiteY8" fmla="*/ 6562550 h 6858000"/>
              <a:gd name="connsiteX9" fmla="*/ 11563256 w 12192000"/>
              <a:gd name="connsiteY9" fmla="*/ 6562550 h 6858000"/>
              <a:gd name="connsiteX10" fmla="*/ 10910306 w 12192000"/>
              <a:gd name="connsiteY10" fmla="*/ 6517318 h 6858000"/>
              <a:gd name="connsiteX11" fmla="*/ 10883590 w 12192000"/>
              <a:gd name="connsiteY11" fmla="*/ 6541122 h 6858000"/>
              <a:gd name="connsiteX12" fmla="*/ 10883590 w 12192000"/>
              <a:gd name="connsiteY12" fmla="*/ 6594223 h 6858000"/>
              <a:gd name="connsiteX13" fmla="*/ 10910306 w 12192000"/>
              <a:gd name="connsiteY13" fmla="*/ 6618042 h 6858000"/>
              <a:gd name="connsiteX14" fmla="*/ 10989730 w 12192000"/>
              <a:gd name="connsiteY14" fmla="*/ 6618042 h 6858000"/>
              <a:gd name="connsiteX15" fmla="*/ 11016446 w 12192000"/>
              <a:gd name="connsiteY15" fmla="*/ 6594223 h 6858000"/>
              <a:gd name="connsiteX16" fmla="*/ 11016446 w 12192000"/>
              <a:gd name="connsiteY16" fmla="*/ 6541122 h 6858000"/>
              <a:gd name="connsiteX17" fmla="*/ 10989730 w 12192000"/>
              <a:gd name="connsiteY17" fmla="*/ 6517318 h 6858000"/>
              <a:gd name="connsiteX18" fmla="*/ 11538985 w 12192000"/>
              <a:gd name="connsiteY18" fmla="*/ 6517311 h 6858000"/>
              <a:gd name="connsiteX19" fmla="*/ 11538985 w 12192000"/>
              <a:gd name="connsiteY19" fmla="*/ 6618035 h 6858000"/>
              <a:gd name="connsiteX20" fmla="*/ 11563263 w 12192000"/>
              <a:gd name="connsiteY20" fmla="*/ 6618035 h 6858000"/>
              <a:gd name="connsiteX21" fmla="*/ 11563263 w 12192000"/>
              <a:gd name="connsiteY21" fmla="*/ 6579929 h 6858000"/>
              <a:gd name="connsiteX22" fmla="*/ 11586360 w 12192000"/>
              <a:gd name="connsiteY22" fmla="*/ 6579929 h 6858000"/>
              <a:gd name="connsiteX23" fmla="*/ 11628506 w 12192000"/>
              <a:gd name="connsiteY23" fmla="*/ 6618035 h 6858000"/>
              <a:gd name="connsiteX24" fmla="*/ 11663753 w 12192000"/>
              <a:gd name="connsiteY24" fmla="*/ 6618035 h 6858000"/>
              <a:gd name="connsiteX25" fmla="*/ 11615897 w 12192000"/>
              <a:gd name="connsiteY25" fmla="*/ 6579929 h 6858000"/>
              <a:gd name="connsiteX26" fmla="*/ 11629710 w 12192000"/>
              <a:gd name="connsiteY26" fmla="*/ 6579929 h 6858000"/>
              <a:gd name="connsiteX27" fmla="*/ 11653280 w 12192000"/>
              <a:gd name="connsiteY27" fmla="*/ 6560639 h 6858000"/>
              <a:gd name="connsiteX28" fmla="*/ 11653280 w 12192000"/>
              <a:gd name="connsiteY28" fmla="*/ 6536835 h 6858000"/>
              <a:gd name="connsiteX29" fmla="*/ 11629710 w 12192000"/>
              <a:gd name="connsiteY29" fmla="*/ 6517311 h 6858000"/>
              <a:gd name="connsiteX30" fmla="*/ 11401645 w 12192000"/>
              <a:gd name="connsiteY30" fmla="*/ 6517311 h 6858000"/>
              <a:gd name="connsiteX31" fmla="*/ 11401645 w 12192000"/>
              <a:gd name="connsiteY31" fmla="*/ 6618035 h 6858000"/>
              <a:gd name="connsiteX32" fmla="*/ 11513119 w 12192000"/>
              <a:gd name="connsiteY32" fmla="*/ 6618035 h 6858000"/>
              <a:gd name="connsiteX33" fmla="*/ 11513119 w 12192000"/>
              <a:gd name="connsiteY33" fmla="*/ 6599219 h 6858000"/>
              <a:gd name="connsiteX34" fmla="*/ 11426909 w 12192000"/>
              <a:gd name="connsiteY34" fmla="*/ 6599219 h 6858000"/>
              <a:gd name="connsiteX35" fmla="*/ 11426909 w 12192000"/>
              <a:gd name="connsiteY35" fmla="*/ 6574452 h 6858000"/>
              <a:gd name="connsiteX36" fmla="*/ 11476458 w 12192000"/>
              <a:gd name="connsiteY36" fmla="*/ 6574452 h 6858000"/>
              <a:gd name="connsiteX37" fmla="*/ 11476458 w 12192000"/>
              <a:gd name="connsiteY37" fmla="*/ 6557073 h 6858000"/>
              <a:gd name="connsiteX38" fmla="*/ 11426909 w 12192000"/>
              <a:gd name="connsiteY38" fmla="*/ 6557073 h 6858000"/>
              <a:gd name="connsiteX39" fmla="*/ 11426909 w 12192000"/>
              <a:gd name="connsiteY39" fmla="*/ 6535179 h 6858000"/>
              <a:gd name="connsiteX40" fmla="*/ 11511908 w 12192000"/>
              <a:gd name="connsiteY40" fmla="*/ 6535179 h 6858000"/>
              <a:gd name="connsiteX41" fmla="*/ 11511908 w 12192000"/>
              <a:gd name="connsiteY41" fmla="*/ 6517311 h 6858000"/>
              <a:gd name="connsiteX42" fmla="*/ 11225454 w 12192000"/>
              <a:gd name="connsiteY42" fmla="*/ 6517311 h 6858000"/>
              <a:gd name="connsiteX43" fmla="*/ 11225454 w 12192000"/>
              <a:gd name="connsiteY43" fmla="*/ 6618035 h 6858000"/>
              <a:gd name="connsiteX44" fmla="*/ 11248423 w 12192000"/>
              <a:gd name="connsiteY44" fmla="*/ 6618035 h 6858000"/>
              <a:gd name="connsiteX45" fmla="*/ 11248423 w 12192000"/>
              <a:gd name="connsiteY45" fmla="*/ 6550414 h 6858000"/>
              <a:gd name="connsiteX46" fmla="*/ 11294805 w 12192000"/>
              <a:gd name="connsiteY46" fmla="*/ 6605892 h 6858000"/>
              <a:gd name="connsiteX47" fmla="*/ 11299665 w 12192000"/>
              <a:gd name="connsiteY47" fmla="*/ 6605892 h 6858000"/>
              <a:gd name="connsiteX48" fmla="*/ 11345558 w 12192000"/>
              <a:gd name="connsiteY48" fmla="*/ 6548737 h 6858000"/>
              <a:gd name="connsiteX49" fmla="*/ 11345558 w 12192000"/>
              <a:gd name="connsiteY49" fmla="*/ 6618035 h 6858000"/>
              <a:gd name="connsiteX50" fmla="*/ 11368873 w 12192000"/>
              <a:gd name="connsiteY50" fmla="*/ 6618035 h 6858000"/>
              <a:gd name="connsiteX51" fmla="*/ 11368873 w 12192000"/>
              <a:gd name="connsiteY51" fmla="*/ 6517311 h 6858000"/>
              <a:gd name="connsiteX52" fmla="*/ 11348725 w 12192000"/>
              <a:gd name="connsiteY52" fmla="*/ 6517311 h 6858000"/>
              <a:gd name="connsiteX53" fmla="*/ 11298687 w 12192000"/>
              <a:gd name="connsiteY53" fmla="*/ 6577070 h 6858000"/>
              <a:gd name="connsiteX54" fmla="*/ 11248423 w 12192000"/>
              <a:gd name="connsiteY54" fmla="*/ 6517311 h 6858000"/>
              <a:gd name="connsiteX55" fmla="*/ 11048135 w 12192000"/>
              <a:gd name="connsiteY55" fmla="*/ 6517311 h 6858000"/>
              <a:gd name="connsiteX56" fmla="*/ 11048135 w 12192000"/>
              <a:gd name="connsiteY56" fmla="*/ 6618035 h 6858000"/>
              <a:gd name="connsiteX57" fmla="*/ 11071096 w 12192000"/>
              <a:gd name="connsiteY57" fmla="*/ 6618035 h 6858000"/>
              <a:gd name="connsiteX58" fmla="*/ 11071096 w 12192000"/>
              <a:gd name="connsiteY58" fmla="*/ 6550414 h 6858000"/>
              <a:gd name="connsiteX59" fmla="*/ 11117478 w 12192000"/>
              <a:gd name="connsiteY59" fmla="*/ 6605892 h 6858000"/>
              <a:gd name="connsiteX60" fmla="*/ 11122331 w 12192000"/>
              <a:gd name="connsiteY60" fmla="*/ 6605892 h 6858000"/>
              <a:gd name="connsiteX61" fmla="*/ 11168239 w 12192000"/>
              <a:gd name="connsiteY61" fmla="*/ 6548737 h 6858000"/>
              <a:gd name="connsiteX62" fmla="*/ 11168239 w 12192000"/>
              <a:gd name="connsiteY62" fmla="*/ 6618035 h 6858000"/>
              <a:gd name="connsiteX63" fmla="*/ 11191554 w 12192000"/>
              <a:gd name="connsiteY63" fmla="*/ 6618035 h 6858000"/>
              <a:gd name="connsiteX64" fmla="*/ 11191554 w 12192000"/>
              <a:gd name="connsiteY64" fmla="*/ 6517311 h 6858000"/>
              <a:gd name="connsiteX65" fmla="*/ 11171399 w 12192000"/>
              <a:gd name="connsiteY65" fmla="*/ 6517311 h 6858000"/>
              <a:gd name="connsiteX66" fmla="*/ 11121368 w 12192000"/>
              <a:gd name="connsiteY66" fmla="*/ 6577070 h 6858000"/>
              <a:gd name="connsiteX67" fmla="*/ 11071096 w 12192000"/>
              <a:gd name="connsiteY67" fmla="*/ 6517311 h 6858000"/>
              <a:gd name="connsiteX68" fmla="*/ 10752277 w 12192000"/>
              <a:gd name="connsiteY68" fmla="*/ 6495162 h 6858000"/>
              <a:gd name="connsiteX69" fmla="*/ 10721799 w 12192000"/>
              <a:gd name="connsiteY69" fmla="*/ 6524218 h 6858000"/>
              <a:gd name="connsiteX70" fmla="*/ 10721799 w 12192000"/>
              <a:gd name="connsiteY70" fmla="*/ 6537775 h 6858000"/>
              <a:gd name="connsiteX71" fmla="*/ 10752277 w 12192000"/>
              <a:gd name="connsiteY71" fmla="*/ 6566830 h 6858000"/>
              <a:gd name="connsiteX72" fmla="*/ 10828955 w 12192000"/>
              <a:gd name="connsiteY72" fmla="*/ 6566830 h 6858000"/>
              <a:gd name="connsiteX73" fmla="*/ 10828955 w 12192000"/>
              <a:gd name="connsiteY73" fmla="*/ 6594930 h 6858000"/>
              <a:gd name="connsiteX74" fmla="*/ 10742052 w 12192000"/>
              <a:gd name="connsiteY74" fmla="*/ 6594930 h 6858000"/>
              <a:gd name="connsiteX75" fmla="*/ 10742052 w 12192000"/>
              <a:gd name="connsiteY75" fmla="*/ 6581704 h 6858000"/>
              <a:gd name="connsiteX76" fmla="*/ 10716796 w 12192000"/>
              <a:gd name="connsiteY76" fmla="*/ 6586948 h 6858000"/>
              <a:gd name="connsiteX77" fmla="*/ 10716796 w 12192000"/>
              <a:gd name="connsiteY77" fmla="*/ 6588979 h 6858000"/>
              <a:gd name="connsiteX78" fmla="*/ 10747514 w 12192000"/>
              <a:gd name="connsiteY78" fmla="*/ 6618027 h 6858000"/>
              <a:gd name="connsiteX79" fmla="*/ 10823486 w 12192000"/>
              <a:gd name="connsiteY79" fmla="*/ 6618027 h 6858000"/>
              <a:gd name="connsiteX80" fmla="*/ 10854204 w 12192000"/>
              <a:gd name="connsiteY80" fmla="*/ 6588979 h 6858000"/>
              <a:gd name="connsiteX81" fmla="*/ 10854204 w 12192000"/>
              <a:gd name="connsiteY81" fmla="*/ 6572074 h 6858000"/>
              <a:gd name="connsiteX82" fmla="*/ 10823486 w 12192000"/>
              <a:gd name="connsiteY82" fmla="*/ 6543019 h 6858000"/>
              <a:gd name="connsiteX83" fmla="*/ 10746799 w 12192000"/>
              <a:gd name="connsiteY83" fmla="*/ 6543019 h 6858000"/>
              <a:gd name="connsiteX84" fmla="*/ 10746799 w 12192000"/>
              <a:gd name="connsiteY84" fmla="*/ 6516596 h 6858000"/>
              <a:gd name="connsiteX85" fmla="*/ 10827285 w 12192000"/>
              <a:gd name="connsiteY85" fmla="*/ 6516596 h 6858000"/>
              <a:gd name="connsiteX86" fmla="*/ 10827285 w 12192000"/>
              <a:gd name="connsiteY86" fmla="*/ 6529905 h 6858000"/>
              <a:gd name="connsiteX87" fmla="*/ 10852526 w 12192000"/>
              <a:gd name="connsiteY87" fmla="*/ 6523954 h 6858000"/>
              <a:gd name="connsiteX88" fmla="*/ 10852526 w 12192000"/>
              <a:gd name="connsiteY88" fmla="*/ 6522074 h 6858000"/>
              <a:gd name="connsiteX89" fmla="*/ 10822049 w 12192000"/>
              <a:gd name="connsiteY89" fmla="*/ 6495162 h 6858000"/>
              <a:gd name="connsiteX90" fmla="*/ 11554221 w 12192000"/>
              <a:gd name="connsiteY90" fmla="*/ 6392873 h 6858000"/>
              <a:gd name="connsiteX91" fmla="*/ 11591123 w 12192000"/>
              <a:gd name="connsiteY91" fmla="*/ 6423591 h 6858000"/>
              <a:gd name="connsiteX92" fmla="*/ 11579695 w 12192000"/>
              <a:gd name="connsiteY92" fmla="*/ 6433349 h 6858000"/>
              <a:gd name="connsiteX93" fmla="*/ 11522795 w 12192000"/>
              <a:gd name="connsiteY93" fmla="*/ 6433349 h 6858000"/>
              <a:gd name="connsiteX94" fmla="*/ 11522795 w 12192000"/>
              <a:gd name="connsiteY94" fmla="*/ 6433342 h 6858000"/>
              <a:gd name="connsiteX95" fmla="*/ 11522795 w 12192000"/>
              <a:gd name="connsiteY95" fmla="*/ 6412396 h 6858000"/>
              <a:gd name="connsiteX96" fmla="*/ 10923532 w 12192000"/>
              <a:gd name="connsiteY96" fmla="*/ 6371439 h 6858000"/>
              <a:gd name="connsiteX97" fmla="*/ 10979491 w 12192000"/>
              <a:gd name="connsiteY97" fmla="*/ 6371439 h 6858000"/>
              <a:gd name="connsiteX98" fmla="*/ 10990685 w 12192000"/>
              <a:gd name="connsiteY98" fmla="*/ 6379534 h 6858000"/>
              <a:gd name="connsiteX99" fmla="*/ 10990685 w 12192000"/>
              <a:gd name="connsiteY99" fmla="*/ 6391203 h 6858000"/>
              <a:gd name="connsiteX100" fmla="*/ 10979491 w 12192000"/>
              <a:gd name="connsiteY100" fmla="*/ 6399298 h 6858000"/>
              <a:gd name="connsiteX101" fmla="*/ 10923532 w 12192000"/>
              <a:gd name="connsiteY101" fmla="*/ 6399298 h 6858000"/>
              <a:gd name="connsiteX102" fmla="*/ 11349305 w 12192000"/>
              <a:gd name="connsiteY102" fmla="*/ 6354060 h 6858000"/>
              <a:gd name="connsiteX103" fmla="*/ 11322868 w 12192000"/>
              <a:gd name="connsiteY103" fmla="*/ 6377879 h 6858000"/>
              <a:gd name="connsiteX104" fmla="*/ 11322868 w 12192000"/>
              <a:gd name="connsiteY104" fmla="*/ 6389074 h 6858000"/>
              <a:gd name="connsiteX105" fmla="*/ 11349305 w 12192000"/>
              <a:gd name="connsiteY105" fmla="*/ 6412878 h 6858000"/>
              <a:gd name="connsiteX106" fmla="*/ 11414541 w 12192000"/>
              <a:gd name="connsiteY106" fmla="*/ 6412878 h 6858000"/>
              <a:gd name="connsiteX107" fmla="*/ 11414541 w 12192000"/>
              <a:gd name="connsiteY107" fmla="*/ 6435983 h 6858000"/>
              <a:gd name="connsiteX108" fmla="*/ 11340480 w 12192000"/>
              <a:gd name="connsiteY108" fmla="*/ 6435983 h 6858000"/>
              <a:gd name="connsiteX109" fmla="*/ 11340480 w 12192000"/>
              <a:gd name="connsiteY109" fmla="*/ 6425375 h 6858000"/>
              <a:gd name="connsiteX110" fmla="*/ 11318587 w 12192000"/>
              <a:gd name="connsiteY110" fmla="*/ 6429430 h 6858000"/>
              <a:gd name="connsiteX111" fmla="*/ 11318587 w 12192000"/>
              <a:gd name="connsiteY111" fmla="*/ 6430980 h 6858000"/>
              <a:gd name="connsiteX112" fmla="*/ 11345009 w 12192000"/>
              <a:gd name="connsiteY112" fmla="*/ 6454784 h 6858000"/>
              <a:gd name="connsiteX113" fmla="*/ 11410501 w 12192000"/>
              <a:gd name="connsiteY113" fmla="*/ 6454784 h 6858000"/>
              <a:gd name="connsiteX114" fmla="*/ 11436690 w 12192000"/>
              <a:gd name="connsiteY114" fmla="*/ 6430980 h 6858000"/>
              <a:gd name="connsiteX115" fmla="*/ 11436690 w 12192000"/>
              <a:gd name="connsiteY115" fmla="*/ 6417166 h 6858000"/>
              <a:gd name="connsiteX116" fmla="*/ 11410501 w 12192000"/>
              <a:gd name="connsiteY116" fmla="*/ 6393362 h 6858000"/>
              <a:gd name="connsiteX117" fmla="*/ 11345009 w 12192000"/>
              <a:gd name="connsiteY117" fmla="*/ 6393362 h 6858000"/>
              <a:gd name="connsiteX118" fmla="*/ 11345009 w 12192000"/>
              <a:gd name="connsiteY118" fmla="*/ 6372154 h 6858000"/>
              <a:gd name="connsiteX119" fmla="*/ 11414300 w 12192000"/>
              <a:gd name="connsiteY119" fmla="*/ 6372154 h 6858000"/>
              <a:gd name="connsiteX120" fmla="*/ 11414300 w 12192000"/>
              <a:gd name="connsiteY120" fmla="*/ 6381565 h 6858000"/>
              <a:gd name="connsiteX121" fmla="*/ 11435486 w 12192000"/>
              <a:gd name="connsiteY121" fmla="*/ 6377051 h 6858000"/>
              <a:gd name="connsiteX122" fmla="*/ 11435486 w 12192000"/>
              <a:gd name="connsiteY122" fmla="*/ 6375968 h 6858000"/>
              <a:gd name="connsiteX123" fmla="*/ 11409064 w 12192000"/>
              <a:gd name="connsiteY123" fmla="*/ 6354060 h 6858000"/>
              <a:gd name="connsiteX124" fmla="*/ 11184971 w 12192000"/>
              <a:gd name="connsiteY124" fmla="*/ 6354060 h 6858000"/>
              <a:gd name="connsiteX125" fmla="*/ 11184971 w 12192000"/>
              <a:gd name="connsiteY125" fmla="*/ 6454776 h 6858000"/>
              <a:gd name="connsiteX126" fmla="*/ 11294264 w 12192000"/>
              <a:gd name="connsiteY126" fmla="*/ 6454776 h 6858000"/>
              <a:gd name="connsiteX127" fmla="*/ 11294264 w 12192000"/>
              <a:gd name="connsiteY127" fmla="*/ 6435967 h 6858000"/>
              <a:gd name="connsiteX128" fmla="*/ 11209738 w 12192000"/>
              <a:gd name="connsiteY128" fmla="*/ 6435967 h 6858000"/>
              <a:gd name="connsiteX129" fmla="*/ 11209738 w 12192000"/>
              <a:gd name="connsiteY129" fmla="*/ 6411200 h 6858000"/>
              <a:gd name="connsiteX130" fmla="*/ 11258310 w 12192000"/>
              <a:gd name="connsiteY130" fmla="*/ 6411200 h 6858000"/>
              <a:gd name="connsiteX131" fmla="*/ 11258310 w 12192000"/>
              <a:gd name="connsiteY131" fmla="*/ 6393821 h 6858000"/>
              <a:gd name="connsiteX132" fmla="*/ 11209738 w 12192000"/>
              <a:gd name="connsiteY132" fmla="*/ 6393821 h 6858000"/>
              <a:gd name="connsiteX133" fmla="*/ 11209738 w 12192000"/>
              <a:gd name="connsiteY133" fmla="*/ 6371913 h 6858000"/>
              <a:gd name="connsiteX134" fmla="*/ 11293083 w 12192000"/>
              <a:gd name="connsiteY134" fmla="*/ 6371913 h 6858000"/>
              <a:gd name="connsiteX135" fmla="*/ 11293083 w 12192000"/>
              <a:gd name="connsiteY135" fmla="*/ 6354060 h 6858000"/>
              <a:gd name="connsiteX136" fmla="*/ 11047262 w 12192000"/>
              <a:gd name="connsiteY136" fmla="*/ 6354060 h 6858000"/>
              <a:gd name="connsiteX137" fmla="*/ 11047262 w 12192000"/>
              <a:gd name="connsiteY137" fmla="*/ 6454776 h 6858000"/>
              <a:gd name="connsiteX138" fmla="*/ 11156555 w 12192000"/>
              <a:gd name="connsiteY138" fmla="*/ 6454776 h 6858000"/>
              <a:gd name="connsiteX139" fmla="*/ 11156555 w 12192000"/>
              <a:gd name="connsiteY139" fmla="*/ 6435967 h 6858000"/>
              <a:gd name="connsiteX140" fmla="*/ 11072029 w 12192000"/>
              <a:gd name="connsiteY140" fmla="*/ 6435967 h 6858000"/>
              <a:gd name="connsiteX141" fmla="*/ 11072029 w 12192000"/>
              <a:gd name="connsiteY141" fmla="*/ 6411200 h 6858000"/>
              <a:gd name="connsiteX142" fmla="*/ 11120601 w 12192000"/>
              <a:gd name="connsiteY142" fmla="*/ 6411200 h 6858000"/>
              <a:gd name="connsiteX143" fmla="*/ 11120601 w 12192000"/>
              <a:gd name="connsiteY143" fmla="*/ 6393821 h 6858000"/>
              <a:gd name="connsiteX144" fmla="*/ 11072029 w 12192000"/>
              <a:gd name="connsiteY144" fmla="*/ 6393821 h 6858000"/>
              <a:gd name="connsiteX145" fmla="*/ 11072029 w 12192000"/>
              <a:gd name="connsiteY145" fmla="*/ 6371913 h 6858000"/>
              <a:gd name="connsiteX146" fmla="*/ 11155374 w 12192000"/>
              <a:gd name="connsiteY146" fmla="*/ 6371913 h 6858000"/>
              <a:gd name="connsiteX147" fmla="*/ 11155374 w 12192000"/>
              <a:gd name="connsiteY147" fmla="*/ 6354060 h 6858000"/>
              <a:gd name="connsiteX148" fmla="*/ 10899246 w 12192000"/>
              <a:gd name="connsiteY148" fmla="*/ 6354060 h 6858000"/>
              <a:gd name="connsiteX149" fmla="*/ 10899246 w 12192000"/>
              <a:gd name="connsiteY149" fmla="*/ 6454776 h 6858000"/>
              <a:gd name="connsiteX150" fmla="*/ 10923539 w 12192000"/>
              <a:gd name="connsiteY150" fmla="*/ 6454776 h 6858000"/>
              <a:gd name="connsiteX151" fmla="*/ 10923539 w 12192000"/>
              <a:gd name="connsiteY151" fmla="*/ 6416670 h 6858000"/>
              <a:gd name="connsiteX152" fmla="*/ 10946636 w 12192000"/>
              <a:gd name="connsiteY152" fmla="*/ 6416670 h 6858000"/>
              <a:gd name="connsiteX153" fmla="*/ 10988782 w 12192000"/>
              <a:gd name="connsiteY153" fmla="*/ 6454776 h 6858000"/>
              <a:gd name="connsiteX154" fmla="*/ 11024029 w 12192000"/>
              <a:gd name="connsiteY154" fmla="*/ 6454776 h 6858000"/>
              <a:gd name="connsiteX155" fmla="*/ 10976158 w 12192000"/>
              <a:gd name="connsiteY155" fmla="*/ 6416670 h 6858000"/>
              <a:gd name="connsiteX156" fmla="*/ 10989971 w 12192000"/>
              <a:gd name="connsiteY156" fmla="*/ 6416670 h 6858000"/>
              <a:gd name="connsiteX157" fmla="*/ 11013549 w 12192000"/>
              <a:gd name="connsiteY157" fmla="*/ 6397395 h 6858000"/>
              <a:gd name="connsiteX158" fmla="*/ 11013549 w 12192000"/>
              <a:gd name="connsiteY158" fmla="*/ 6373583 h 6858000"/>
              <a:gd name="connsiteX159" fmla="*/ 10989971 w 12192000"/>
              <a:gd name="connsiteY159" fmla="*/ 6354060 h 6858000"/>
              <a:gd name="connsiteX160" fmla="*/ 10749425 w 12192000"/>
              <a:gd name="connsiteY160" fmla="*/ 6353819 h 6858000"/>
              <a:gd name="connsiteX161" fmla="*/ 10800140 w 12192000"/>
              <a:gd name="connsiteY161" fmla="*/ 6353819 h 6858000"/>
              <a:gd name="connsiteX162" fmla="*/ 10840624 w 12192000"/>
              <a:gd name="connsiteY162" fmla="*/ 6392158 h 6858000"/>
              <a:gd name="connsiteX163" fmla="*/ 10786327 w 12192000"/>
              <a:gd name="connsiteY163" fmla="*/ 6431686 h 6858000"/>
              <a:gd name="connsiteX164" fmla="*/ 10749425 w 12192000"/>
              <a:gd name="connsiteY164" fmla="*/ 6431686 h 6858000"/>
              <a:gd name="connsiteX165" fmla="*/ 11558990 w 12192000"/>
              <a:gd name="connsiteY165" fmla="*/ 6331911 h 6858000"/>
              <a:gd name="connsiteX166" fmla="*/ 11528513 w 12192000"/>
              <a:gd name="connsiteY166" fmla="*/ 6354293 h 6858000"/>
              <a:gd name="connsiteX167" fmla="*/ 11528513 w 12192000"/>
              <a:gd name="connsiteY167" fmla="*/ 6361192 h 6858000"/>
              <a:gd name="connsiteX168" fmla="*/ 11538993 w 12192000"/>
              <a:gd name="connsiteY168" fmla="*/ 6379767 h 6858000"/>
              <a:gd name="connsiteX169" fmla="*/ 11513978 w 12192000"/>
              <a:gd name="connsiteY169" fmla="*/ 6394776 h 6858000"/>
              <a:gd name="connsiteX170" fmla="*/ 11498743 w 12192000"/>
              <a:gd name="connsiteY170" fmla="*/ 6417633 h 6858000"/>
              <a:gd name="connsiteX171" fmla="*/ 11498743 w 12192000"/>
              <a:gd name="connsiteY171" fmla="*/ 6425728 h 6858000"/>
              <a:gd name="connsiteX172" fmla="*/ 11529454 w 12192000"/>
              <a:gd name="connsiteY172" fmla="*/ 6454776 h 6858000"/>
              <a:gd name="connsiteX173" fmla="*/ 11573270 w 12192000"/>
              <a:gd name="connsiteY173" fmla="*/ 6454776 h 6858000"/>
              <a:gd name="connsiteX174" fmla="*/ 11596367 w 12192000"/>
              <a:gd name="connsiteY174" fmla="*/ 6447388 h 6858000"/>
              <a:gd name="connsiteX175" fmla="*/ 11607321 w 12192000"/>
              <a:gd name="connsiteY175" fmla="*/ 6437630 h 6858000"/>
              <a:gd name="connsiteX176" fmla="*/ 11627559 w 12192000"/>
              <a:gd name="connsiteY176" fmla="*/ 6454776 h 6858000"/>
              <a:gd name="connsiteX177" fmla="*/ 11664950 w 12192000"/>
              <a:gd name="connsiteY177" fmla="*/ 6454776 h 6858000"/>
              <a:gd name="connsiteX178" fmla="*/ 11626137 w 12192000"/>
              <a:gd name="connsiteY178" fmla="*/ 6422147 h 6858000"/>
              <a:gd name="connsiteX179" fmla="*/ 11654470 w 12192000"/>
              <a:gd name="connsiteY179" fmla="*/ 6398583 h 6858000"/>
              <a:gd name="connsiteX180" fmla="*/ 11638272 w 12192000"/>
              <a:gd name="connsiteY180" fmla="*/ 6384537 h 6858000"/>
              <a:gd name="connsiteX181" fmla="*/ 11609698 w 12192000"/>
              <a:gd name="connsiteY181" fmla="*/ 6408341 h 6858000"/>
              <a:gd name="connsiteX182" fmla="*/ 11551836 w 12192000"/>
              <a:gd name="connsiteY182" fmla="*/ 6360244 h 6858000"/>
              <a:gd name="connsiteX183" fmla="*/ 11551836 w 12192000"/>
              <a:gd name="connsiteY183" fmla="*/ 6351434 h 6858000"/>
              <a:gd name="connsiteX184" fmla="*/ 11592086 w 12192000"/>
              <a:gd name="connsiteY184" fmla="*/ 6351434 h 6858000"/>
              <a:gd name="connsiteX185" fmla="*/ 11592086 w 12192000"/>
              <a:gd name="connsiteY185" fmla="*/ 6367873 h 6858000"/>
              <a:gd name="connsiteX186" fmla="*/ 11614220 w 12192000"/>
              <a:gd name="connsiteY186" fmla="*/ 6364066 h 6858000"/>
              <a:gd name="connsiteX187" fmla="*/ 11614220 w 12192000"/>
              <a:gd name="connsiteY187" fmla="*/ 6356678 h 6858000"/>
              <a:gd name="connsiteX188" fmla="*/ 11583742 w 12192000"/>
              <a:gd name="connsiteY188" fmla="*/ 6331911 h 6858000"/>
              <a:gd name="connsiteX189" fmla="*/ 10720851 w 12192000"/>
              <a:gd name="connsiteY189" fmla="*/ 6331911 h 6858000"/>
              <a:gd name="connsiteX190" fmla="*/ 10720851 w 12192000"/>
              <a:gd name="connsiteY190" fmla="*/ 6454776 h 6858000"/>
              <a:gd name="connsiteX191" fmla="*/ 10792527 w 12192000"/>
              <a:gd name="connsiteY191" fmla="*/ 6454776 h 6858000"/>
              <a:gd name="connsiteX192" fmla="*/ 10843009 w 12192000"/>
              <a:gd name="connsiteY192" fmla="*/ 6445259 h 6858000"/>
              <a:gd name="connsiteX193" fmla="*/ 10870146 w 12192000"/>
              <a:gd name="connsiteY193" fmla="*/ 6392632 h 6858000"/>
              <a:gd name="connsiteX194" fmla="*/ 10799900 w 12192000"/>
              <a:gd name="connsiteY194" fmla="*/ 6331911 h 6858000"/>
              <a:gd name="connsiteX195" fmla="*/ 0 w 12192000"/>
              <a:gd name="connsiteY195" fmla="*/ 0 h 6858000"/>
              <a:gd name="connsiteX196" fmla="*/ 524400 w 12192000"/>
              <a:gd name="connsiteY196" fmla="*/ 0 h 6858000"/>
              <a:gd name="connsiteX197" fmla="*/ 524400 w 12192000"/>
              <a:gd name="connsiteY197" fmla="*/ 1022400 h 6858000"/>
              <a:gd name="connsiteX198" fmla="*/ 6097201 w 12192000"/>
              <a:gd name="connsiteY198" fmla="*/ 1022400 h 6858000"/>
              <a:gd name="connsiteX199" fmla="*/ 6097201 w 12192000"/>
              <a:gd name="connsiteY199" fmla="*/ 0 h 6858000"/>
              <a:gd name="connsiteX200" fmla="*/ 12192000 w 12192000"/>
              <a:gd name="connsiteY200" fmla="*/ 0 h 6858000"/>
              <a:gd name="connsiteX201" fmla="*/ 12192000 w 12192000"/>
              <a:gd name="connsiteY201" fmla="*/ 6858000 h 6858000"/>
              <a:gd name="connsiteX202" fmla="*/ 0 w 12192000"/>
              <a:gd name="connsiteY20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12192000" h="6858000">
                <a:moveTo>
                  <a:pt x="10909343" y="6535879"/>
                </a:moveTo>
                <a:lnTo>
                  <a:pt x="10992168" y="6535879"/>
                </a:lnTo>
                <a:lnTo>
                  <a:pt x="10992168" y="6598745"/>
                </a:lnTo>
                <a:lnTo>
                  <a:pt x="10909343" y="6598745"/>
                </a:lnTo>
                <a:close/>
                <a:moveTo>
                  <a:pt x="11563256" y="6534690"/>
                </a:moveTo>
                <a:lnTo>
                  <a:pt x="11619215" y="6534690"/>
                </a:lnTo>
                <a:cubicBezTo>
                  <a:pt x="11626587" y="6534690"/>
                  <a:pt x="11630409" y="6536127"/>
                  <a:pt x="11630409" y="6542786"/>
                </a:cubicBezTo>
                <a:lnTo>
                  <a:pt x="11630409" y="6554455"/>
                </a:lnTo>
                <a:cubicBezTo>
                  <a:pt x="11630409" y="6561128"/>
                  <a:pt x="11626587" y="6562550"/>
                  <a:pt x="11619215" y="6562550"/>
                </a:cubicBezTo>
                <a:lnTo>
                  <a:pt x="11563256" y="6562550"/>
                </a:lnTo>
                <a:close/>
                <a:moveTo>
                  <a:pt x="10910306" y="6517318"/>
                </a:moveTo>
                <a:cubicBezTo>
                  <a:pt x="10890158" y="6517318"/>
                  <a:pt x="10883590" y="6521832"/>
                  <a:pt x="10883590" y="6541122"/>
                </a:cubicBezTo>
                <a:lnTo>
                  <a:pt x="10883590" y="6594223"/>
                </a:lnTo>
                <a:cubicBezTo>
                  <a:pt x="10883590" y="6613272"/>
                  <a:pt x="10889902" y="6618042"/>
                  <a:pt x="10910306" y="6618042"/>
                </a:cubicBezTo>
                <a:lnTo>
                  <a:pt x="10989730" y="6618042"/>
                </a:lnTo>
                <a:cubicBezTo>
                  <a:pt x="11009886" y="6618042"/>
                  <a:pt x="11016446" y="6613272"/>
                  <a:pt x="11016446" y="6594223"/>
                </a:cubicBezTo>
                <a:lnTo>
                  <a:pt x="11016446" y="6541122"/>
                </a:lnTo>
                <a:cubicBezTo>
                  <a:pt x="11016446" y="6521832"/>
                  <a:pt x="11009878" y="6517318"/>
                  <a:pt x="10989730" y="6517318"/>
                </a:cubicBezTo>
                <a:close/>
                <a:moveTo>
                  <a:pt x="11538985" y="6517311"/>
                </a:moveTo>
                <a:lnTo>
                  <a:pt x="11538985" y="6618035"/>
                </a:lnTo>
                <a:lnTo>
                  <a:pt x="11563263" y="6618035"/>
                </a:lnTo>
                <a:lnTo>
                  <a:pt x="11563263" y="6579929"/>
                </a:lnTo>
                <a:lnTo>
                  <a:pt x="11586360" y="6579929"/>
                </a:lnTo>
                <a:lnTo>
                  <a:pt x="11628506" y="6618035"/>
                </a:lnTo>
                <a:lnTo>
                  <a:pt x="11663753" y="6618035"/>
                </a:lnTo>
                <a:lnTo>
                  <a:pt x="11615897" y="6579929"/>
                </a:lnTo>
                <a:lnTo>
                  <a:pt x="11629710" y="6579929"/>
                </a:lnTo>
                <a:cubicBezTo>
                  <a:pt x="11645892" y="6579929"/>
                  <a:pt x="11653280" y="6574452"/>
                  <a:pt x="11653280" y="6560639"/>
                </a:cubicBezTo>
                <a:lnTo>
                  <a:pt x="11653280" y="6536835"/>
                </a:lnTo>
                <a:cubicBezTo>
                  <a:pt x="11653280" y="6522788"/>
                  <a:pt x="11645892" y="6517311"/>
                  <a:pt x="11629710" y="6517311"/>
                </a:cubicBezTo>
                <a:close/>
                <a:moveTo>
                  <a:pt x="11401645" y="6517311"/>
                </a:moveTo>
                <a:lnTo>
                  <a:pt x="11401645" y="6618035"/>
                </a:lnTo>
                <a:lnTo>
                  <a:pt x="11513119" y="6618035"/>
                </a:lnTo>
                <a:lnTo>
                  <a:pt x="11513119" y="6599219"/>
                </a:lnTo>
                <a:lnTo>
                  <a:pt x="11426909" y="6599219"/>
                </a:lnTo>
                <a:lnTo>
                  <a:pt x="11426909" y="6574452"/>
                </a:lnTo>
                <a:lnTo>
                  <a:pt x="11476458" y="6574452"/>
                </a:lnTo>
                <a:lnTo>
                  <a:pt x="11476458" y="6557073"/>
                </a:lnTo>
                <a:lnTo>
                  <a:pt x="11426909" y="6557073"/>
                </a:lnTo>
                <a:lnTo>
                  <a:pt x="11426909" y="6535179"/>
                </a:lnTo>
                <a:lnTo>
                  <a:pt x="11511908" y="6535179"/>
                </a:lnTo>
                <a:lnTo>
                  <a:pt x="11511908" y="6517311"/>
                </a:lnTo>
                <a:close/>
                <a:moveTo>
                  <a:pt x="11225454" y="6517311"/>
                </a:moveTo>
                <a:lnTo>
                  <a:pt x="11225454" y="6618035"/>
                </a:lnTo>
                <a:lnTo>
                  <a:pt x="11248423" y="6618035"/>
                </a:lnTo>
                <a:lnTo>
                  <a:pt x="11248423" y="6550414"/>
                </a:lnTo>
                <a:lnTo>
                  <a:pt x="11294805" y="6605892"/>
                </a:lnTo>
                <a:lnTo>
                  <a:pt x="11299665" y="6605892"/>
                </a:lnTo>
                <a:lnTo>
                  <a:pt x="11345558" y="6548737"/>
                </a:lnTo>
                <a:lnTo>
                  <a:pt x="11345558" y="6618035"/>
                </a:lnTo>
                <a:lnTo>
                  <a:pt x="11368873" y="6618035"/>
                </a:lnTo>
                <a:lnTo>
                  <a:pt x="11368873" y="6517311"/>
                </a:lnTo>
                <a:lnTo>
                  <a:pt x="11348725" y="6517311"/>
                </a:lnTo>
                <a:lnTo>
                  <a:pt x="11298687" y="6577070"/>
                </a:lnTo>
                <a:lnTo>
                  <a:pt x="11248423" y="6517311"/>
                </a:lnTo>
                <a:close/>
                <a:moveTo>
                  <a:pt x="11048135" y="6517311"/>
                </a:moveTo>
                <a:lnTo>
                  <a:pt x="11048135" y="6618035"/>
                </a:lnTo>
                <a:lnTo>
                  <a:pt x="11071096" y="6618035"/>
                </a:lnTo>
                <a:lnTo>
                  <a:pt x="11071096" y="6550414"/>
                </a:lnTo>
                <a:lnTo>
                  <a:pt x="11117478" y="6605892"/>
                </a:lnTo>
                <a:lnTo>
                  <a:pt x="11122331" y="6605892"/>
                </a:lnTo>
                <a:lnTo>
                  <a:pt x="11168239" y="6548737"/>
                </a:lnTo>
                <a:lnTo>
                  <a:pt x="11168239" y="6618035"/>
                </a:lnTo>
                <a:lnTo>
                  <a:pt x="11191554" y="6618035"/>
                </a:lnTo>
                <a:lnTo>
                  <a:pt x="11191554" y="6517311"/>
                </a:lnTo>
                <a:lnTo>
                  <a:pt x="11171399" y="6517311"/>
                </a:lnTo>
                <a:lnTo>
                  <a:pt x="11121368" y="6577070"/>
                </a:lnTo>
                <a:lnTo>
                  <a:pt x="11071096" y="6517311"/>
                </a:lnTo>
                <a:close/>
                <a:moveTo>
                  <a:pt x="10752277" y="6495162"/>
                </a:moveTo>
                <a:cubicBezTo>
                  <a:pt x="10729180" y="6495162"/>
                  <a:pt x="10721799" y="6501113"/>
                  <a:pt x="10721799" y="6524218"/>
                </a:cubicBezTo>
                <a:lnTo>
                  <a:pt x="10721799" y="6537775"/>
                </a:lnTo>
                <a:cubicBezTo>
                  <a:pt x="10721799" y="6560879"/>
                  <a:pt x="10729187" y="6566830"/>
                  <a:pt x="10752277" y="6566830"/>
                </a:cubicBezTo>
                <a:lnTo>
                  <a:pt x="10828955" y="6566830"/>
                </a:lnTo>
                <a:lnTo>
                  <a:pt x="10828955" y="6594930"/>
                </a:lnTo>
                <a:lnTo>
                  <a:pt x="10742052" y="6594930"/>
                </a:lnTo>
                <a:lnTo>
                  <a:pt x="10742052" y="6581704"/>
                </a:lnTo>
                <a:lnTo>
                  <a:pt x="10716796" y="6586948"/>
                </a:lnTo>
                <a:lnTo>
                  <a:pt x="10716796" y="6588979"/>
                </a:lnTo>
                <a:cubicBezTo>
                  <a:pt x="10716796" y="6612076"/>
                  <a:pt x="10724417" y="6618027"/>
                  <a:pt x="10747514" y="6618027"/>
                </a:cubicBezTo>
                <a:lnTo>
                  <a:pt x="10823486" y="6618027"/>
                </a:lnTo>
                <a:cubicBezTo>
                  <a:pt x="10846583" y="6618027"/>
                  <a:pt x="10854204" y="6612076"/>
                  <a:pt x="10854204" y="6588979"/>
                </a:cubicBezTo>
                <a:lnTo>
                  <a:pt x="10854204" y="6572074"/>
                </a:lnTo>
                <a:cubicBezTo>
                  <a:pt x="10854204" y="6548970"/>
                  <a:pt x="10846583" y="6543019"/>
                  <a:pt x="10823486" y="6543019"/>
                </a:cubicBezTo>
                <a:lnTo>
                  <a:pt x="10746799" y="6543019"/>
                </a:lnTo>
                <a:lnTo>
                  <a:pt x="10746799" y="6516596"/>
                </a:lnTo>
                <a:lnTo>
                  <a:pt x="10827285" y="6516596"/>
                </a:lnTo>
                <a:lnTo>
                  <a:pt x="10827285" y="6529905"/>
                </a:lnTo>
                <a:lnTo>
                  <a:pt x="10852526" y="6523954"/>
                </a:lnTo>
                <a:lnTo>
                  <a:pt x="10852526" y="6522074"/>
                </a:lnTo>
                <a:cubicBezTo>
                  <a:pt x="10852526" y="6500872"/>
                  <a:pt x="10843957" y="6495162"/>
                  <a:pt x="10822049" y="6495162"/>
                </a:cubicBezTo>
                <a:close/>
                <a:moveTo>
                  <a:pt x="11554221" y="6392873"/>
                </a:moveTo>
                <a:lnTo>
                  <a:pt x="11591123" y="6423591"/>
                </a:lnTo>
                <a:lnTo>
                  <a:pt x="11579695" y="6433349"/>
                </a:lnTo>
                <a:lnTo>
                  <a:pt x="11522795" y="6433349"/>
                </a:lnTo>
                <a:lnTo>
                  <a:pt x="11522795" y="6433342"/>
                </a:lnTo>
                <a:lnTo>
                  <a:pt x="11522795" y="6412396"/>
                </a:lnTo>
                <a:close/>
                <a:moveTo>
                  <a:pt x="10923532" y="6371439"/>
                </a:moveTo>
                <a:lnTo>
                  <a:pt x="10979491" y="6371439"/>
                </a:lnTo>
                <a:cubicBezTo>
                  <a:pt x="10986864" y="6371439"/>
                  <a:pt x="10990685" y="6372876"/>
                  <a:pt x="10990685" y="6379534"/>
                </a:cubicBezTo>
                <a:lnTo>
                  <a:pt x="10990685" y="6391203"/>
                </a:lnTo>
                <a:cubicBezTo>
                  <a:pt x="10990685" y="6397876"/>
                  <a:pt x="10986864" y="6399298"/>
                  <a:pt x="10979491" y="6399298"/>
                </a:cubicBezTo>
                <a:lnTo>
                  <a:pt x="10923532" y="6399298"/>
                </a:lnTo>
                <a:close/>
                <a:moveTo>
                  <a:pt x="11349305" y="6354060"/>
                </a:moveTo>
                <a:cubicBezTo>
                  <a:pt x="11329541" y="6354060"/>
                  <a:pt x="11322868" y="6358830"/>
                  <a:pt x="11322868" y="6377879"/>
                </a:cubicBezTo>
                <a:lnTo>
                  <a:pt x="11322868" y="6389074"/>
                </a:lnTo>
                <a:cubicBezTo>
                  <a:pt x="11322868" y="6408123"/>
                  <a:pt x="11329541" y="6412878"/>
                  <a:pt x="11349305" y="6412878"/>
                </a:cubicBezTo>
                <a:lnTo>
                  <a:pt x="11414541" y="6412878"/>
                </a:lnTo>
                <a:lnTo>
                  <a:pt x="11414541" y="6435983"/>
                </a:lnTo>
                <a:lnTo>
                  <a:pt x="11340480" y="6435983"/>
                </a:lnTo>
                <a:lnTo>
                  <a:pt x="11340480" y="6425375"/>
                </a:lnTo>
                <a:lnTo>
                  <a:pt x="11318587" y="6429430"/>
                </a:lnTo>
                <a:lnTo>
                  <a:pt x="11318587" y="6430980"/>
                </a:lnTo>
                <a:cubicBezTo>
                  <a:pt x="11318587" y="6449796"/>
                  <a:pt x="11325012" y="6454784"/>
                  <a:pt x="11345009" y="6454784"/>
                </a:cubicBezTo>
                <a:lnTo>
                  <a:pt x="11410501" y="6454784"/>
                </a:lnTo>
                <a:cubicBezTo>
                  <a:pt x="11430498" y="6454784"/>
                  <a:pt x="11436690" y="6449796"/>
                  <a:pt x="11436690" y="6430980"/>
                </a:cubicBezTo>
                <a:lnTo>
                  <a:pt x="11436690" y="6417166"/>
                </a:lnTo>
                <a:cubicBezTo>
                  <a:pt x="11436690" y="6398117"/>
                  <a:pt x="11430506" y="6393362"/>
                  <a:pt x="11410501" y="6393362"/>
                </a:cubicBezTo>
                <a:lnTo>
                  <a:pt x="11345009" y="6393362"/>
                </a:lnTo>
                <a:lnTo>
                  <a:pt x="11345009" y="6372154"/>
                </a:lnTo>
                <a:lnTo>
                  <a:pt x="11414300" y="6372154"/>
                </a:lnTo>
                <a:lnTo>
                  <a:pt x="11414300" y="6381565"/>
                </a:lnTo>
                <a:lnTo>
                  <a:pt x="11435486" y="6377051"/>
                </a:lnTo>
                <a:lnTo>
                  <a:pt x="11435486" y="6375968"/>
                </a:lnTo>
                <a:cubicBezTo>
                  <a:pt x="11435486" y="6358356"/>
                  <a:pt x="11427639" y="6354060"/>
                  <a:pt x="11409064" y="6354060"/>
                </a:cubicBezTo>
                <a:close/>
                <a:moveTo>
                  <a:pt x="11184971" y="6354060"/>
                </a:moveTo>
                <a:lnTo>
                  <a:pt x="11184971" y="6454776"/>
                </a:lnTo>
                <a:lnTo>
                  <a:pt x="11294264" y="6454776"/>
                </a:lnTo>
                <a:lnTo>
                  <a:pt x="11294264" y="6435967"/>
                </a:lnTo>
                <a:lnTo>
                  <a:pt x="11209738" y="6435967"/>
                </a:lnTo>
                <a:lnTo>
                  <a:pt x="11209738" y="6411200"/>
                </a:lnTo>
                <a:lnTo>
                  <a:pt x="11258310" y="6411200"/>
                </a:lnTo>
                <a:lnTo>
                  <a:pt x="11258310" y="6393821"/>
                </a:lnTo>
                <a:lnTo>
                  <a:pt x="11209738" y="6393821"/>
                </a:lnTo>
                <a:lnTo>
                  <a:pt x="11209738" y="6371913"/>
                </a:lnTo>
                <a:lnTo>
                  <a:pt x="11293083" y="6371913"/>
                </a:lnTo>
                <a:lnTo>
                  <a:pt x="11293083" y="6354060"/>
                </a:lnTo>
                <a:close/>
                <a:moveTo>
                  <a:pt x="11047262" y="6354060"/>
                </a:moveTo>
                <a:lnTo>
                  <a:pt x="11047262" y="6454776"/>
                </a:lnTo>
                <a:lnTo>
                  <a:pt x="11156555" y="6454776"/>
                </a:lnTo>
                <a:lnTo>
                  <a:pt x="11156555" y="6435967"/>
                </a:lnTo>
                <a:lnTo>
                  <a:pt x="11072029" y="6435967"/>
                </a:lnTo>
                <a:lnTo>
                  <a:pt x="11072029" y="6411200"/>
                </a:lnTo>
                <a:lnTo>
                  <a:pt x="11120601" y="6411200"/>
                </a:lnTo>
                <a:lnTo>
                  <a:pt x="11120601" y="6393821"/>
                </a:lnTo>
                <a:lnTo>
                  <a:pt x="11072029" y="6393821"/>
                </a:lnTo>
                <a:lnTo>
                  <a:pt x="11072029" y="6371913"/>
                </a:lnTo>
                <a:lnTo>
                  <a:pt x="11155374" y="6371913"/>
                </a:lnTo>
                <a:lnTo>
                  <a:pt x="11155374" y="6354060"/>
                </a:lnTo>
                <a:close/>
                <a:moveTo>
                  <a:pt x="10899246" y="6354060"/>
                </a:moveTo>
                <a:lnTo>
                  <a:pt x="10899246" y="6454776"/>
                </a:lnTo>
                <a:lnTo>
                  <a:pt x="10923539" y="6454776"/>
                </a:lnTo>
                <a:lnTo>
                  <a:pt x="10923539" y="6416670"/>
                </a:lnTo>
                <a:lnTo>
                  <a:pt x="10946636" y="6416670"/>
                </a:lnTo>
                <a:lnTo>
                  <a:pt x="10988782" y="6454776"/>
                </a:lnTo>
                <a:lnTo>
                  <a:pt x="11024029" y="6454776"/>
                </a:lnTo>
                <a:lnTo>
                  <a:pt x="10976158" y="6416670"/>
                </a:lnTo>
                <a:lnTo>
                  <a:pt x="10989971" y="6416670"/>
                </a:lnTo>
                <a:cubicBezTo>
                  <a:pt x="11006169" y="6416670"/>
                  <a:pt x="11013549" y="6411193"/>
                  <a:pt x="11013549" y="6397395"/>
                </a:cubicBezTo>
                <a:lnTo>
                  <a:pt x="11013549" y="6373583"/>
                </a:lnTo>
                <a:cubicBezTo>
                  <a:pt x="11013549" y="6359537"/>
                  <a:pt x="11006161" y="6354060"/>
                  <a:pt x="10989971" y="6354060"/>
                </a:cubicBezTo>
                <a:close/>
                <a:moveTo>
                  <a:pt x="10749425" y="6353819"/>
                </a:moveTo>
                <a:lnTo>
                  <a:pt x="10800140" y="6353819"/>
                </a:lnTo>
                <a:cubicBezTo>
                  <a:pt x="10827052" y="6353819"/>
                  <a:pt x="10840624" y="6367158"/>
                  <a:pt x="10840624" y="6392158"/>
                </a:cubicBezTo>
                <a:cubicBezTo>
                  <a:pt x="10840624" y="6422636"/>
                  <a:pt x="10822523" y="6431686"/>
                  <a:pt x="10786327" y="6431686"/>
                </a:cubicBezTo>
                <a:lnTo>
                  <a:pt x="10749425" y="6431686"/>
                </a:lnTo>
                <a:close/>
                <a:moveTo>
                  <a:pt x="11558990" y="6331911"/>
                </a:moveTo>
                <a:cubicBezTo>
                  <a:pt x="11538030" y="6331911"/>
                  <a:pt x="11528513" y="6336681"/>
                  <a:pt x="11528513" y="6354293"/>
                </a:cubicBezTo>
                <a:lnTo>
                  <a:pt x="11528513" y="6361192"/>
                </a:lnTo>
                <a:cubicBezTo>
                  <a:pt x="11528513" y="6368339"/>
                  <a:pt x="11531846" y="6373816"/>
                  <a:pt x="11538993" y="6379767"/>
                </a:cubicBezTo>
                <a:lnTo>
                  <a:pt x="11513978" y="6394776"/>
                </a:lnTo>
                <a:cubicBezTo>
                  <a:pt x="11503272" y="6401202"/>
                  <a:pt x="11498743" y="6405008"/>
                  <a:pt x="11498743" y="6417633"/>
                </a:cubicBezTo>
                <a:lnTo>
                  <a:pt x="11498743" y="6425728"/>
                </a:lnTo>
                <a:cubicBezTo>
                  <a:pt x="11498743" y="6448825"/>
                  <a:pt x="11506364" y="6454776"/>
                  <a:pt x="11529454" y="6454776"/>
                </a:cubicBezTo>
                <a:lnTo>
                  <a:pt x="11573270" y="6454776"/>
                </a:lnTo>
                <a:cubicBezTo>
                  <a:pt x="11583502" y="6454776"/>
                  <a:pt x="11588505" y="6454302"/>
                  <a:pt x="11596367" y="6447388"/>
                </a:cubicBezTo>
                <a:lnTo>
                  <a:pt x="11607321" y="6437630"/>
                </a:lnTo>
                <a:lnTo>
                  <a:pt x="11627559" y="6454776"/>
                </a:lnTo>
                <a:lnTo>
                  <a:pt x="11664950" y="6454776"/>
                </a:lnTo>
                <a:lnTo>
                  <a:pt x="11626137" y="6422147"/>
                </a:lnTo>
                <a:lnTo>
                  <a:pt x="11654470" y="6398583"/>
                </a:lnTo>
                <a:lnTo>
                  <a:pt x="11638272" y="6384537"/>
                </a:lnTo>
                <a:lnTo>
                  <a:pt x="11609698" y="6408341"/>
                </a:lnTo>
                <a:lnTo>
                  <a:pt x="11551836" y="6360244"/>
                </a:lnTo>
                <a:lnTo>
                  <a:pt x="11551836" y="6351434"/>
                </a:lnTo>
                <a:lnTo>
                  <a:pt x="11592086" y="6351434"/>
                </a:lnTo>
                <a:lnTo>
                  <a:pt x="11592086" y="6367873"/>
                </a:lnTo>
                <a:lnTo>
                  <a:pt x="11614220" y="6364066"/>
                </a:lnTo>
                <a:lnTo>
                  <a:pt x="11614220" y="6356678"/>
                </a:lnTo>
                <a:cubicBezTo>
                  <a:pt x="11614220" y="6336681"/>
                  <a:pt x="11605884" y="6331911"/>
                  <a:pt x="11583742" y="6331911"/>
                </a:cubicBezTo>
                <a:close/>
                <a:moveTo>
                  <a:pt x="10720851" y="6331911"/>
                </a:moveTo>
                <a:lnTo>
                  <a:pt x="10720851" y="6454776"/>
                </a:lnTo>
                <a:lnTo>
                  <a:pt x="10792527" y="6454776"/>
                </a:lnTo>
                <a:cubicBezTo>
                  <a:pt x="10814420" y="6454776"/>
                  <a:pt x="10831092" y="6452632"/>
                  <a:pt x="10843009" y="6445259"/>
                </a:cubicBezTo>
                <a:cubicBezTo>
                  <a:pt x="10860155" y="6434779"/>
                  <a:pt x="10870146" y="6415729"/>
                  <a:pt x="10870146" y="6392632"/>
                </a:cubicBezTo>
                <a:cubicBezTo>
                  <a:pt x="10870146" y="6354534"/>
                  <a:pt x="10845868" y="6331911"/>
                  <a:pt x="10799900" y="6331911"/>
                </a:cubicBezTo>
                <a:close/>
                <a:moveTo>
                  <a:pt x="0" y="0"/>
                </a:moveTo>
                <a:lnTo>
                  <a:pt x="524400" y="0"/>
                </a:lnTo>
                <a:lnTo>
                  <a:pt x="524400" y="1022400"/>
                </a:lnTo>
                <a:lnTo>
                  <a:pt x="6097201" y="1022400"/>
                </a:lnTo>
                <a:lnTo>
                  <a:pt x="6097201" y="0"/>
                </a:lnTo>
                <a:lnTo>
                  <a:pt x="12192000" y="0"/>
                </a:lnTo>
                <a:lnTo>
                  <a:pt x="12192000" y="6858000"/>
                </a:lnTo>
                <a:lnTo>
                  <a:pt x="0" y="6858000"/>
                </a:lnTo>
                <a:close/>
              </a:path>
            </a:pathLst>
          </a:custGeom>
          <a:pattFill prst="ltUpDiag">
            <a:fgClr>
              <a:schemeClr val="bg1">
                <a:lumMod val="95000"/>
              </a:schemeClr>
            </a:fgClr>
            <a:bgClr>
              <a:schemeClr val="bg1"/>
            </a:bgClr>
          </a:pattFill>
        </p:spPr>
        <p:txBody>
          <a:bodyPr wrap="square">
            <a:noAutofit/>
          </a:bodyPr>
          <a:lstStyle/>
          <a:p>
            <a:endParaRPr lang="en-US"/>
          </a:p>
        </p:txBody>
      </p:sp>
      <p:sp>
        <p:nvSpPr>
          <p:cNvPr id="2" name="title">
            <a:extLst>
              <a:ext uri="{FF2B5EF4-FFF2-40B4-BE49-F238E27FC236}">
                <a16:creationId xmlns:a16="http://schemas.microsoft.com/office/drawing/2014/main" id="{8FFCB50B-5503-4467-8A0F-9FBB8B48B97D}"/>
              </a:ext>
            </a:extLst>
          </p:cNvPr>
          <p:cNvSpPr>
            <a:spLocks noGrp="1"/>
          </p:cNvSpPr>
          <p:nvPr userDrawn="1">
            <p:ph type="title"/>
          </p:nvPr>
        </p:nvSpPr>
        <p:spPr bwMode="gray">
          <a:xfrm>
            <a:off x="525600" y="671513"/>
            <a:ext cx="5572801" cy="1131684"/>
          </a:xfrm>
          <a:solidFill>
            <a:schemeClr val="bg1"/>
          </a:solidFill>
        </p:spPr>
        <p:txBody>
          <a:bodyPr wrap="square" lIns="432000" tIns="0" rIns="432000" bIns="288000">
            <a:spAutoFit/>
          </a:bodyPr>
          <a:lstStyle>
            <a:lvl1pPr>
              <a:defRPr sz="3200"/>
            </a:lvl1pPr>
          </a:lstStyle>
          <a:p>
            <a:r>
              <a:rPr lang="de-DE"/>
              <a:t>Mastertitelformat bearbeiten</a:t>
            </a:r>
            <a:endParaRPr lang="en-US"/>
          </a:p>
        </p:txBody>
      </p:sp>
      <p:sp>
        <p:nvSpPr>
          <p:cNvPr id="16" name="logo drees&amp;sommer white">
            <a:extLst>
              <a:ext uri="{FF2B5EF4-FFF2-40B4-BE49-F238E27FC236}">
                <a16:creationId xmlns:a16="http://schemas.microsoft.com/office/drawing/2014/main" id="{C5A4F7E3-6A86-447A-9CFF-A1484D8D1910}"/>
              </a:ext>
            </a:extLst>
          </p:cNvPr>
          <p:cNvSpPr>
            <a:spLocks noGrp="1"/>
          </p:cNvSpPr>
          <p:nvPr>
            <p:ph type="media" sz="quarter" idx="20"/>
          </p:nvPr>
        </p:nvSpPr>
        <p:spPr bwMode="gray">
          <a:xfrm>
            <a:off x="10716797" y="6330042"/>
            <a:ext cx="946800" cy="288000"/>
          </a:xfrm>
          <a:blipFill>
            <a:blip r:embed="rId2" cstate="print">
              <a:extLst>
                <a:ext uri="{28A0092B-C50C-407E-A947-70E740481C1C}">
                  <a14:useLocalDpi xmlns:a14="http://schemas.microsoft.com/office/drawing/2010/main"/>
                </a:ext>
              </a:extLst>
            </a:blip>
            <a:stretch>
              <a:fillRect/>
            </a:stretch>
          </a:blipFill>
          <a:ln w="15875" cap="flat">
            <a:noFill/>
            <a:prstDash val="lgDash"/>
          </a:ln>
        </p:spPr>
        <p:txBody>
          <a:bodyPr/>
          <a:lstStyle>
            <a:lvl1pPr>
              <a:defRPr sz="100">
                <a:solidFill>
                  <a:schemeClr val="bg1"/>
                </a:solidFill>
              </a:defRPr>
            </a:lvl1pPr>
          </a:lstStyle>
          <a:p>
            <a:endParaRPr lang="de-DE"/>
          </a:p>
        </p:txBody>
      </p:sp>
      <p:sp>
        <p:nvSpPr>
          <p:cNvPr id="15" name="info">
            <a:extLst>
              <a:ext uri="{FF2B5EF4-FFF2-40B4-BE49-F238E27FC236}">
                <a16:creationId xmlns:a16="http://schemas.microsoft.com/office/drawing/2014/main" id="{8266E65B-4E20-41D2-B318-F27AD513E19C}"/>
              </a:ext>
            </a:extLst>
          </p:cNvPr>
          <p:cNvSpPr/>
          <p:nvPr userDrawn="1"/>
        </p:nvSpPr>
        <p:spPr bwMode="gray">
          <a:xfrm flipH="1">
            <a:off x="12247320" y="6288645"/>
            <a:ext cx="1579616" cy="370793"/>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36000" rtlCol="0" anchor="ctr">
            <a:spAutoFit/>
          </a:bodyPr>
          <a:lstStyle/>
          <a:p>
            <a:pPr algn="ctr">
              <a:lnSpc>
                <a:spcPct val="80000"/>
              </a:lnSpc>
              <a:spcBef>
                <a:spcPts val="400"/>
              </a:spcBef>
              <a:spcAft>
                <a:spcPts val="400"/>
              </a:spcAft>
            </a:pPr>
            <a:r>
              <a:rPr lang="en-US" sz="1050">
                <a:solidFill>
                  <a:schemeClr val="bg1"/>
                </a:solidFill>
              </a:rPr>
              <a:t>delete the white logo </a:t>
            </a:r>
            <a:br>
              <a:rPr lang="en-US" sz="1050">
                <a:solidFill>
                  <a:schemeClr val="bg1"/>
                </a:solidFill>
              </a:rPr>
            </a:br>
            <a:r>
              <a:rPr lang="en-US" sz="1050">
                <a:solidFill>
                  <a:schemeClr val="bg1"/>
                </a:solidFill>
              </a:rPr>
              <a:t>to get the BLUE LOGO</a:t>
            </a:r>
            <a:endParaRPr lang="de-DE" sz="1050">
              <a:solidFill>
                <a:schemeClr val="bg1"/>
              </a:solidFill>
            </a:endParaRPr>
          </a:p>
        </p:txBody>
      </p:sp>
      <p:sp>
        <p:nvSpPr>
          <p:cNvPr id="6" name="slide number">
            <a:extLst>
              <a:ext uri="{FF2B5EF4-FFF2-40B4-BE49-F238E27FC236}">
                <a16:creationId xmlns:a16="http://schemas.microsoft.com/office/drawing/2014/main" id="{90B54C2D-8235-4852-8EB7-5E05529B2499}"/>
              </a:ext>
            </a:extLst>
          </p:cNvPr>
          <p:cNvSpPr>
            <a:spLocks noGrp="1"/>
          </p:cNvSpPr>
          <p:nvPr userDrawn="1">
            <p:ph type="sldNum" sz="quarter" idx="12"/>
          </p:nvPr>
        </p:nvSpPr>
        <p:spPr bwMode="gray">
          <a:xfrm>
            <a:off x="525600" y="7200000"/>
            <a:ext cx="234000" cy="180000"/>
          </a:xfrm>
        </p:spPr>
        <p:txBody>
          <a:bodyPr lIns="0" tIns="0" rIns="0" bIns="0"/>
          <a:lstStyle/>
          <a:p>
            <a:fld id="{9829449A-3FF3-45CE-9F4F-09BADC0910C6}" type="slidenum">
              <a:rPr lang="en-US" smtClean="0"/>
              <a:t>‹Nr.›</a:t>
            </a:fld>
            <a:endParaRPr lang="en-US"/>
          </a:p>
        </p:txBody>
      </p:sp>
      <p:sp>
        <p:nvSpPr>
          <p:cNvPr id="5" name="footer">
            <a:extLst>
              <a:ext uri="{FF2B5EF4-FFF2-40B4-BE49-F238E27FC236}">
                <a16:creationId xmlns:a16="http://schemas.microsoft.com/office/drawing/2014/main" id="{A4534FC4-D037-44B0-B266-D9E820FC1DF2}"/>
              </a:ext>
            </a:extLst>
          </p:cNvPr>
          <p:cNvSpPr>
            <a:spLocks noGrp="1"/>
          </p:cNvSpPr>
          <p:nvPr userDrawn="1">
            <p:ph type="ftr" sz="quarter" idx="11"/>
          </p:nvPr>
        </p:nvSpPr>
        <p:spPr bwMode="gray">
          <a:xfrm>
            <a:off x="763200" y="7200000"/>
            <a:ext cx="7880400" cy="180000"/>
          </a:xfrm>
        </p:spPr>
        <p:txBody>
          <a:bodyPr lIns="0" tIns="0" rIns="0" bIns="0"/>
          <a:lstStyle/>
          <a:p>
            <a:endParaRPr lang="en-US"/>
          </a:p>
        </p:txBody>
      </p:sp>
    </p:spTree>
    <p:extLst>
      <p:ext uri="{BB962C8B-B14F-4D97-AF65-F5344CB8AC3E}">
        <p14:creationId xmlns:p14="http://schemas.microsoft.com/office/powerpoint/2010/main" val="2052825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384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Keymessage right">
    <p:spTree>
      <p:nvGrpSpPr>
        <p:cNvPr id="1" name=""/>
        <p:cNvGrpSpPr/>
        <p:nvPr/>
      </p:nvGrpSpPr>
      <p:grpSpPr>
        <a:xfrm>
          <a:off x="0" y="0"/>
          <a:ext cx="0" cy="0"/>
          <a:chOff x="0" y="0"/>
          <a:chExt cx="0" cy="0"/>
        </a:xfrm>
      </p:grpSpPr>
      <p:sp>
        <p:nvSpPr>
          <p:cNvPr id="14" name="logo drees&amp;sommer blue mask">
            <a:extLst>
              <a:ext uri="{FF2B5EF4-FFF2-40B4-BE49-F238E27FC236}">
                <a16:creationId xmlns:a16="http://schemas.microsoft.com/office/drawing/2014/main" id="{7DFCFBB7-6B39-4D0E-BE6B-B3B479E24FA2}"/>
              </a:ext>
            </a:extLst>
          </p:cNvPr>
          <p:cNvSpPr/>
          <p:nvPr userDrawn="1"/>
        </p:nvSpPr>
        <p:spPr bwMode="gray">
          <a:xfrm>
            <a:off x="10579100" y="6197600"/>
            <a:ext cx="1270000" cy="584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400"/>
              </a:spcBef>
              <a:spcAft>
                <a:spcPts val="400"/>
              </a:spcAft>
            </a:pPr>
            <a:endParaRPr lang="de-DE" sz="1400"/>
          </a:p>
        </p:txBody>
      </p:sp>
      <p:grpSp>
        <p:nvGrpSpPr>
          <p:cNvPr id="34" name="line elements">
            <a:extLst>
              <a:ext uri="{FF2B5EF4-FFF2-40B4-BE49-F238E27FC236}">
                <a16:creationId xmlns:a16="http://schemas.microsoft.com/office/drawing/2014/main" id="{CEC4933D-0262-4E02-AD50-FD3B6AA81F17}"/>
              </a:ext>
            </a:extLst>
          </p:cNvPr>
          <p:cNvGrpSpPr>
            <a:grpSpLocks noChangeAspect="1"/>
          </p:cNvGrpSpPr>
          <p:nvPr userDrawn="1"/>
        </p:nvGrpSpPr>
        <p:grpSpPr bwMode="gray">
          <a:xfrm>
            <a:off x="6518862" y="461121"/>
            <a:ext cx="740827" cy="26783"/>
            <a:chOff x="508288" y="461121"/>
            <a:chExt cx="740827" cy="26783"/>
          </a:xfrm>
          <a:solidFill>
            <a:schemeClr val="tx1"/>
          </a:solidFill>
        </p:grpSpPr>
        <p:sp>
          <p:nvSpPr>
            <p:cNvPr id="35" name="line 1">
              <a:extLst>
                <a:ext uri="{FF2B5EF4-FFF2-40B4-BE49-F238E27FC236}">
                  <a16:creationId xmlns:a16="http://schemas.microsoft.com/office/drawing/2014/main" id="{CE7690D2-058F-4132-B871-61D2814B88E2}"/>
                </a:ext>
              </a:extLst>
            </p:cNvPr>
            <p:cNvSpPr>
              <a:spLocks/>
            </p:cNvSpPr>
            <p:nvPr/>
          </p:nvSpPr>
          <p:spPr bwMode="gray">
            <a:xfrm rot="2700000">
              <a:off x="617300" y="352116"/>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sp>
          <p:nvSpPr>
            <p:cNvPr id="36" name="line 2">
              <a:extLst>
                <a:ext uri="{FF2B5EF4-FFF2-40B4-BE49-F238E27FC236}">
                  <a16:creationId xmlns:a16="http://schemas.microsoft.com/office/drawing/2014/main" id="{890304EE-F193-4737-8832-3A0B1386F36B}"/>
                </a:ext>
              </a:extLst>
            </p:cNvPr>
            <p:cNvSpPr>
              <a:spLocks/>
            </p:cNvSpPr>
            <p:nvPr/>
          </p:nvSpPr>
          <p:spPr bwMode="gray">
            <a:xfrm rot="2700000">
              <a:off x="741307" y="352116"/>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sp>
          <p:nvSpPr>
            <p:cNvPr id="37" name="line 3">
              <a:extLst>
                <a:ext uri="{FF2B5EF4-FFF2-40B4-BE49-F238E27FC236}">
                  <a16:creationId xmlns:a16="http://schemas.microsoft.com/office/drawing/2014/main" id="{5FDE1394-C6F2-4693-B7F1-B0EF7885A27D}"/>
                </a:ext>
              </a:extLst>
            </p:cNvPr>
            <p:cNvSpPr>
              <a:spLocks/>
            </p:cNvSpPr>
            <p:nvPr/>
          </p:nvSpPr>
          <p:spPr bwMode="gray">
            <a:xfrm rot="2700000">
              <a:off x="865314" y="352116"/>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sp>
          <p:nvSpPr>
            <p:cNvPr id="38" name="line 4">
              <a:extLst>
                <a:ext uri="{FF2B5EF4-FFF2-40B4-BE49-F238E27FC236}">
                  <a16:creationId xmlns:a16="http://schemas.microsoft.com/office/drawing/2014/main" id="{45239C7A-E0D3-429B-8BA7-9B2772A0CEFB}"/>
                </a:ext>
              </a:extLst>
            </p:cNvPr>
            <p:cNvSpPr>
              <a:spLocks/>
            </p:cNvSpPr>
            <p:nvPr/>
          </p:nvSpPr>
          <p:spPr bwMode="gray">
            <a:xfrm rot="2700000">
              <a:off x="989321" y="352116"/>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sp>
          <p:nvSpPr>
            <p:cNvPr id="39" name="line 5">
              <a:extLst>
                <a:ext uri="{FF2B5EF4-FFF2-40B4-BE49-F238E27FC236}">
                  <a16:creationId xmlns:a16="http://schemas.microsoft.com/office/drawing/2014/main" id="{01376CEC-54FE-462A-AF50-D570686A5AAC}"/>
                </a:ext>
              </a:extLst>
            </p:cNvPr>
            <p:cNvSpPr>
              <a:spLocks/>
            </p:cNvSpPr>
            <p:nvPr/>
          </p:nvSpPr>
          <p:spPr bwMode="gray">
            <a:xfrm rot="2700000">
              <a:off x="1113327" y="352109"/>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grpSp>
      <p:sp>
        <p:nvSpPr>
          <p:cNvPr id="33" name="picture">
            <a:extLst>
              <a:ext uri="{FF2B5EF4-FFF2-40B4-BE49-F238E27FC236}">
                <a16:creationId xmlns:a16="http://schemas.microsoft.com/office/drawing/2014/main" id="{13BFB20F-A88A-474F-8F31-DC3341BDF431}"/>
              </a:ext>
            </a:extLst>
          </p:cNvPr>
          <p:cNvSpPr>
            <a:spLocks noGrp="1"/>
          </p:cNvSpPr>
          <p:nvPr userDrawn="1">
            <p:ph type="pic" sz="quarter" idx="18"/>
          </p:nvPr>
        </p:nvSpPr>
        <p:spPr bwMode="gray">
          <a:xfrm>
            <a:off x="0" y="0"/>
            <a:ext cx="12192000" cy="6858000"/>
          </a:xfrm>
          <a:custGeom>
            <a:avLst/>
            <a:gdLst>
              <a:gd name="connsiteX0" fmla="*/ 10909343 w 12192000"/>
              <a:gd name="connsiteY0" fmla="*/ 6535879 h 6858000"/>
              <a:gd name="connsiteX1" fmla="*/ 10992168 w 12192000"/>
              <a:gd name="connsiteY1" fmla="*/ 6535879 h 6858000"/>
              <a:gd name="connsiteX2" fmla="*/ 10992168 w 12192000"/>
              <a:gd name="connsiteY2" fmla="*/ 6598745 h 6858000"/>
              <a:gd name="connsiteX3" fmla="*/ 10909343 w 12192000"/>
              <a:gd name="connsiteY3" fmla="*/ 6598745 h 6858000"/>
              <a:gd name="connsiteX4" fmla="*/ 11563256 w 12192000"/>
              <a:gd name="connsiteY4" fmla="*/ 6534690 h 6858000"/>
              <a:gd name="connsiteX5" fmla="*/ 11619215 w 12192000"/>
              <a:gd name="connsiteY5" fmla="*/ 6534690 h 6858000"/>
              <a:gd name="connsiteX6" fmla="*/ 11630409 w 12192000"/>
              <a:gd name="connsiteY6" fmla="*/ 6542786 h 6858000"/>
              <a:gd name="connsiteX7" fmla="*/ 11630409 w 12192000"/>
              <a:gd name="connsiteY7" fmla="*/ 6554455 h 6858000"/>
              <a:gd name="connsiteX8" fmla="*/ 11619215 w 12192000"/>
              <a:gd name="connsiteY8" fmla="*/ 6562550 h 6858000"/>
              <a:gd name="connsiteX9" fmla="*/ 11563256 w 12192000"/>
              <a:gd name="connsiteY9" fmla="*/ 6562550 h 6858000"/>
              <a:gd name="connsiteX10" fmla="*/ 10910306 w 12192000"/>
              <a:gd name="connsiteY10" fmla="*/ 6517318 h 6858000"/>
              <a:gd name="connsiteX11" fmla="*/ 10883590 w 12192000"/>
              <a:gd name="connsiteY11" fmla="*/ 6541122 h 6858000"/>
              <a:gd name="connsiteX12" fmla="*/ 10883590 w 12192000"/>
              <a:gd name="connsiteY12" fmla="*/ 6594223 h 6858000"/>
              <a:gd name="connsiteX13" fmla="*/ 10910306 w 12192000"/>
              <a:gd name="connsiteY13" fmla="*/ 6618042 h 6858000"/>
              <a:gd name="connsiteX14" fmla="*/ 10989730 w 12192000"/>
              <a:gd name="connsiteY14" fmla="*/ 6618042 h 6858000"/>
              <a:gd name="connsiteX15" fmla="*/ 11016446 w 12192000"/>
              <a:gd name="connsiteY15" fmla="*/ 6594223 h 6858000"/>
              <a:gd name="connsiteX16" fmla="*/ 11016446 w 12192000"/>
              <a:gd name="connsiteY16" fmla="*/ 6541122 h 6858000"/>
              <a:gd name="connsiteX17" fmla="*/ 10989730 w 12192000"/>
              <a:gd name="connsiteY17" fmla="*/ 6517318 h 6858000"/>
              <a:gd name="connsiteX18" fmla="*/ 11538985 w 12192000"/>
              <a:gd name="connsiteY18" fmla="*/ 6517311 h 6858000"/>
              <a:gd name="connsiteX19" fmla="*/ 11538985 w 12192000"/>
              <a:gd name="connsiteY19" fmla="*/ 6618035 h 6858000"/>
              <a:gd name="connsiteX20" fmla="*/ 11563263 w 12192000"/>
              <a:gd name="connsiteY20" fmla="*/ 6618035 h 6858000"/>
              <a:gd name="connsiteX21" fmla="*/ 11563263 w 12192000"/>
              <a:gd name="connsiteY21" fmla="*/ 6579929 h 6858000"/>
              <a:gd name="connsiteX22" fmla="*/ 11586360 w 12192000"/>
              <a:gd name="connsiteY22" fmla="*/ 6579929 h 6858000"/>
              <a:gd name="connsiteX23" fmla="*/ 11628506 w 12192000"/>
              <a:gd name="connsiteY23" fmla="*/ 6618035 h 6858000"/>
              <a:gd name="connsiteX24" fmla="*/ 11663753 w 12192000"/>
              <a:gd name="connsiteY24" fmla="*/ 6618035 h 6858000"/>
              <a:gd name="connsiteX25" fmla="*/ 11615897 w 12192000"/>
              <a:gd name="connsiteY25" fmla="*/ 6579929 h 6858000"/>
              <a:gd name="connsiteX26" fmla="*/ 11629710 w 12192000"/>
              <a:gd name="connsiteY26" fmla="*/ 6579929 h 6858000"/>
              <a:gd name="connsiteX27" fmla="*/ 11653280 w 12192000"/>
              <a:gd name="connsiteY27" fmla="*/ 6560639 h 6858000"/>
              <a:gd name="connsiteX28" fmla="*/ 11653280 w 12192000"/>
              <a:gd name="connsiteY28" fmla="*/ 6536835 h 6858000"/>
              <a:gd name="connsiteX29" fmla="*/ 11629710 w 12192000"/>
              <a:gd name="connsiteY29" fmla="*/ 6517311 h 6858000"/>
              <a:gd name="connsiteX30" fmla="*/ 11401645 w 12192000"/>
              <a:gd name="connsiteY30" fmla="*/ 6517311 h 6858000"/>
              <a:gd name="connsiteX31" fmla="*/ 11401645 w 12192000"/>
              <a:gd name="connsiteY31" fmla="*/ 6618035 h 6858000"/>
              <a:gd name="connsiteX32" fmla="*/ 11513119 w 12192000"/>
              <a:gd name="connsiteY32" fmla="*/ 6618035 h 6858000"/>
              <a:gd name="connsiteX33" fmla="*/ 11513119 w 12192000"/>
              <a:gd name="connsiteY33" fmla="*/ 6599219 h 6858000"/>
              <a:gd name="connsiteX34" fmla="*/ 11426909 w 12192000"/>
              <a:gd name="connsiteY34" fmla="*/ 6599219 h 6858000"/>
              <a:gd name="connsiteX35" fmla="*/ 11426909 w 12192000"/>
              <a:gd name="connsiteY35" fmla="*/ 6574452 h 6858000"/>
              <a:gd name="connsiteX36" fmla="*/ 11476458 w 12192000"/>
              <a:gd name="connsiteY36" fmla="*/ 6574452 h 6858000"/>
              <a:gd name="connsiteX37" fmla="*/ 11476458 w 12192000"/>
              <a:gd name="connsiteY37" fmla="*/ 6557073 h 6858000"/>
              <a:gd name="connsiteX38" fmla="*/ 11426909 w 12192000"/>
              <a:gd name="connsiteY38" fmla="*/ 6557073 h 6858000"/>
              <a:gd name="connsiteX39" fmla="*/ 11426909 w 12192000"/>
              <a:gd name="connsiteY39" fmla="*/ 6535179 h 6858000"/>
              <a:gd name="connsiteX40" fmla="*/ 11511908 w 12192000"/>
              <a:gd name="connsiteY40" fmla="*/ 6535179 h 6858000"/>
              <a:gd name="connsiteX41" fmla="*/ 11511908 w 12192000"/>
              <a:gd name="connsiteY41" fmla="*/ 6517311 h 6858000"/>
              <a:gd name="connsiteX42" fmla="*/ 11225454 w 12192000"/>
              <a:gd name="connsiteY42" fmla="*/ 6517311 h 6858000"/>
              <a:gd name="connsiteX43" fmla="*/ 11225454 w 12192000"/>
              <a:gd name="connsiteY43" fmla="*/ 6618035 h 6858000"/>
              <a:gd name="connsiteX44" fmla="*/ 11248423 w 12192000"/>
              <a:gd name="connsiteY44" fmla="*/ 6618035 h 6858000"/>
              <a:gd name="connsiteX45" fmla="*/ 11248423 w 12192000"/>
              <a:gd name="connsiteY45" fmla="*/ 6550414 h 6858000"/>
              <a:gd name="connsiteX46" fmla="*/ 11294805 w 12192000"/>
              <a:gd name="connsiteY46" fmla="*/ 6605892 h 6858000"/>
              <a:gd name="connsiteX47" fmla="*/ 11299665 w 12192000"/>
              <a:gd name="connsiteY47" fmla="*/ 6605892 h 6858000"/>
              <a:gd name="connsiteX48" fmla="*/ 11345558 w 12192000"/>
              <a:gd name="connsiteY48" fmla="*/ 6548737 h 6858000"/>
              <a:gd name="connsiteX49" fmla="*/ 11345558 w 12192000"/>
              <a:gd name="connsiteY49" fmla="*/ 6618035 h 6858000"/>
              <a:gd name="connsiteX50" fmla="*/ 11368873 w 12192000"/>
              <a:gd name="connsiteY50" fmla="*/ 6618035 h 6858000"/>
              <a:gd name="connsiteX51" fmla="*/ 11368873 w 12192000"/>
              <a:gd name="connsiteY51" fmla="*/ 6517311 h 6858000"/>
              <a:gd name="connsiteX52" fmla="*/ 11348725 w 12192000"/>
              <a:gd name="connsiteY52" fmla="*/ 6517311 h 6858000"/>
              <a:gd name="connsiteX53" fmla="*/ 11298687 w 12192000"/>
              <a:gd name="connsiteY53" fmla="*/ 6577070 h 6858000"/>
              <a:gd name="connsiteX54" fmla="*/ 11248423 w 12192000"/>
              <a:gd name="connsiteY54" fmla="*/ 6517311 h 6858000"/>
              <a:gd name="connsiteX55" fmla="*/ 11048135 w 12192000"/>
              <a:gd name="connsiteY55" fmla="*/ 6517311 h 6858000"/>
              <a:gd name="connsiteX56" fmla="*/ 11048135 w 12192000"/>
              <a:gd name="connsiteY56" fmla="*/ 6618035 h 6858000"/>
              <a:gd name="connsiteX57" fmla="*/ 11071096 w 12192000"/>
              <a:gd name="connsiteY57" fmla="*/ 6618035 h 6858000"/>
              <a:gd name="connsiteX58" fmla="*/ 11071096 w 12192000"/>
              <a:gd name="connsiteY58" fmla="*/ 6550414 h 6858000"/>
              <a:gd name="connsiteX59" fmla="*/ 11117478 w 12192000"/>
              <a:gd name="connsiteY59" fmla="*/ 6605892 h 6858000"/>
              <a:gd name="connsiteX60" fmla="*/ 11122331 w 12192000"/>
              <a:gd name="connsiteY60" fmla="*/ 6605892 h 6858000"/>
              <a:gd name="connsiteX61" fmla="*/ 11168239 w 12192000"/>
              <a:gd name="connsiteY61" fmla="*/ 6548737 h 6858000"/>
              <a:gd name="connsiteX62" fmla="*/ 11168239 w 12192000"/>
              <a:gd name="connsiteY62" fmla="*/ 6618035 h 6858000"/>
              <a:gd name="connsiteX63" fmla="*/ 11191554 w 12192000"/>
              <a:gd name="connsiteY63" fmla="*/ 6618035 h 6858000"/>
              <a:gd name="connsiteX64" fmla="*/ 11191554 w 12192000"/>
              <a:gd name="connsiteY64" fmla="*/ 6517311 h 6858000"/>
              <a:gd name="connsiteX65" fmla="*/ 11171399 w 12192000"/>
              <a:gd name="connsiteY65" fmla="*/ 6517311 h 6858000"/>
              <a:gd name="connsiteX66" fmla="*/ 11121368 w 12192000"/>
              <a:gd name="connsiteY66" fmla="*/ 6577070 h 6858000"/>
              <a:gd name="connsiteX67" fmla="*/ 11071096 w 12192000"/>
              <a:gd name="connsiteY67" fmla="*/ 6517311 h 6858000"/>
              <a:gd name="connsiteX68" fmla="*/ 10752277 w 12192000"/>
              <a:gd name="connsiteY68" fmla="*/ 6495162 h 6858000"/>
              <a:gd name="connsiteX69" fmla="*/ 10721799 w 12192000"/>
              <a:gd name="connsiteY69" fmla="*/ 6524218 h 6858000"/>
              <a:gd name="connsiteX70" fmla="*/ 10721799 w 12192000"/>
              <a:gd name="connsiteY70" fmla="*/ 6537775 h 6858000"/>
              <a:gd name="connsiteX71" fmla="*/ 10752277 w 12192000"/>
              <a:gd name="connsiteY71" fmla="*/ 6566830 h 6858000"/>
              <a:gd name="connsiteX72" fmla="*/ 10828955 w 12192000"/>
              <a:gd name="connsiteY72" fmla="*/ 6566830 h 6858000"/>
              <a:gd name="connsiteX73" fmla="*/ 10828955 w 12192000"/>
              <a:gd name="connsiteY73" fmla="*/ 6594930 h 6858000"/>
              <a:gd name="connsiteX74" fmla="*/ 10742052 w 12192000"/>
              <a:gd name="connsiteY74" fmla="*/ 6594930 h 6858000"/>
              <a:gd name="connsiteX75" fmla="*/ 10742052 w 12192000"/>
              <a:gd name="connsiteY75" fmla="*/ 6581704 h 6858000"/>
              <a:gd name="connsiteX76" fmla="*/ 10716796 w 12192000"/>
              <a:gd name="connsiteY76" fmla="*/ 6586948 h 6858000"/>
              <a:gd name="connsiteX77" fmla="*/ 10716796 w 12192000"/>
              <a:gd name="connsiteY77" fmla="*/ 6588979 h 6858000"/>
              <a:gd name="connsiteX78" fmla="*/ 10747514 w 12192000"/>
              <a:gd name="connsiteY78" fmla="*/ 6618027 h 6858000"/>
              <a:gd name="connsiteX79" fmla="*/ 10823486 w 12192000"/>
              <a:gd name="connsiteY79" fmla="*/ 6618027 h 6858000"/>
              <a:gd name="connsiteX80" fmla="*/ 10854204 w 12192000"/>
              <a:gd name="connsiteY80" fmla="*/ 6588979 h 6858000"/>
              <a:gd name="connsiteX81" fmla="*/ 10854204 w 12192000"/>
              <a:gd name="connsiteY81" fmla="*/ 6572074 h 6858000"/>
              <a:gd name="connsiteX82" fmla="*/ 10823486 w 12192000"/>
              <a:gd name="connsiteY82" fmla="*/ 6543019 h 6858000"/>
              <a:gd name="connsiteX83" fmla="*/ 10746799 w 12192000"/>
              <a:gd name="connsiteY83" fmla="*/ 6543019 h 6858000"/>
              <a:gd name="connsiteX84" fmla="*/ 10746799 w 12192000"/>
              <a:gd name="connsiteY84" fmla="*/ 6516596 h 6858000"/>
              <a:gd name="connsiteX85" fmla="*/ 10827285 w 12192000"/>
              <a:gd name="connsiteY85" fmla="*/ 6516596 h 6858000"/>
              <a:gd name="connsiteX86" fmla="*/ 10827285 w 12192000"/>
              <a:gd name="connsiteY86" fmla="*/ 6529905 h 6858000"/>
              <a:gd name="connsiteX87" fmla="*/ 10852526 w 12192000"/>
              <a:gd name="connsiteY87" fmla="*/ 6523954 h 6858000"/>
              <a:gd name="connsiteX88" fmla="*/ 10852526 w 12192000"/>
              <a:gd name="connsiteY88" fmla="*/ 6522074 h 6858000"/>
              <a:gd name="connsiteX89" fmla="*/ 10822049 w 12192000"/>
              <a:gd name="connsiteY89" fmla="*/ 6495162 h 6858000"/>
              <a:gd name="connsiteX90" fmla="*/ 11554221 w 12192000"/>
              <a:gd name="connsiteY90" fmla="*/ 6392873 h 6858000"/>
              <a:gd name="connsiteX91" fmla="*/ 11591123 w 12192000"/>
              <a:gd name="connsiteY91" fmla="*/ 6423591 h 6858000"/>
              <a:gd name="connsiteX92" fmla="*/ 11579695 w 12192000"/>
              <a:gd name="connsiteY92" fmla="*/ 6433349 h 6858000"/>
              <a:gd name="connsiteX93" fmla="*/ 11522795 w 12192000"/>
              <a:gd name="connsiteY93" fmla="*/ 6433349 h 6858000"/>
              <a:gd name="connsiteX94" fmla="*/ 11522795 w 12192000"/>
              <a:gd name="connsiteY94" fmla="*/ 6433342 h 6858000"/>
              <a:gd name="connsiteX95" fmla="*/ 11522795 w 12192000"/>
              <a:gd name="connsiteY95" fmla="*/ 6412396 h 6858000"/>
              <a:gd name="connsiteX96" fmla="*/ 10923532 w 12192000"/>
              <a:gd name="connsiteY96" fmla="*/ 6371439 h 6858000"/>
              <a:gd name="connsiteX97" fmla="*/ 10979491 w 12192000"/>
              <a:gd name="connsiteY97" fmla="*/ 6371439 h 6858000"/>
              <a:gd name="connsiteX98" fmla="*/ 10990685 w 12192000"/>
              <a:gd name="connsiteY98" fmla="*/ 6379534 h 6858000"/>
              <a:gd name="connsiteX99" fmla="*/ 10990685 w 12192000"/>
              <a:gd name="connsiteY99" fmla="*/ 6391203 h 6858000"/>
              <a:gd name="connsiteX100" fmla="*/ 10979491 w 12192000"/>
              <a:gd name="connsiteY100" fmla="*/ 6399298 h 6858000"/>
              <a:gd name="connsiteX101" fmla="*/ 10923532 w 12192000"/>
              <a:gd name="connsiteY101" fmla="*/ 6399298 h 6858000"/>
              <a:gd name="connsiteX102" fmla="*/ 11349305 w 12192000"/>
              <a:gd name="connsiteY102" fmla="*/ 6354060 h 6858000"/>
              <a:gd name="connsiteX103" fmla="*/ 11322868 w 12192000"/>
              <a:gd name="connsiteY103" fmla="*/ 6377879 h 6858000"/>
              <a:gd name="connsiteX104" fmla="*/ 11322868 w 12192000"/>
              <a:gd name="connsiteY104" fmla="*/ 6389074 h 6858000"/>
              <a:gd name="connsiteX105" fmla="*/ 11349305 w 12192000"/>
              <a:gd name="connsiteY105" fmla="*/ 6412878 h 6858000"/>
              <a:gd name="connsiteX106" fmla="*/ 11414541 w 12192000"/>
              <a:gd name="connsiteY106" fmla="*/ 6412878 h 6858000"/>
              <a:gd name="connsiteX107" fmla="*/ 11414541 w 12192000"/>
              <a:gd name="connsiteY107" fmla="*/ 6435983 h 6858000"/>
              <a:gd name="connsiteX108" fmla="*/ 11340480 w 12192000"/>
              <a:gd name="connsiteY108" fmla="*/ 6435983 h 6858000"/>
              <a:gd name="connsiteX109" fmla="*/ 11340480 w 12192000"/>
              <a:gd name="connsiteY109" fmla="*/ 6425375 h 6858000"/>
              <a:gd name="connsiteX110" fmla="*/ 11318587 w 12192000"/>
              <a:gd name="connsiteY110" fmla="*/ 6429430 h 6858000"/>
              <a:gd name="connsiteX111" fmla="*/ 11318587 w 12192000"/>
              <a:gd name="connsiteY111" fmla="*/ 6430980 h 6858000"/>
              <a:gd name="connsiteX112" fmla="*/ 11345009 w 12192000"/>
              <a:gd name="connsiteY112" fmla="*/ 6454784 h 6858000"/>
              <a:gd name="connsiteX113" fmla="*/ 11410501 w 12192000"/>
              <a:gd name="connsiteY113" fmla="*/ 6454784 h 6858000"/>
              <a:gd name="connsiteX114" fmla="*/ 11436690 w 12192000"/>
              <a:gd name="connsiteY114" fmla="*/ 6430980 h 6858000"/>
              <a:gd name="connsiteX115" fmla="*/ 11436690 w 12192000"/>
              <a:gd name="connsiteY115" fmla="*/ 6417166 h 6858000"/>
              <a:gd name="connsiteX116" fmla="*/ 11410501 w 12192000"/>
              <a:gd name="connsiteY116" fmla="*/ 6393362 h 6858000"/>
              <a:gd name="connsiteX117" fmla="*/ 11345009 w 12192000"/>
              <a:gd name="connsiteY117" fmla="*/ 6393362 h 6858000"/>
              <a:gd name="connsiteX118" fmla="*/ 11345009 w 12192000"/>
              <a:gd name="connsiteY118" fmla="*/ 6372154 h 6858000"/>
              <a:gd name="connsiteX119" fmla="*/ 11414300 w 12192000"/>
              <a:gd name="connsiteY119" fmla="*/ 6372154 h 6858000"/>
              <a:gd name="connsiteX120" fmla="*/ 11414300 w 12192000"/>
              <a:gd name="connsiteY120" fmla="*/ 6381565 h 6858000"/>
              <a:gd name="connsiteX121" fmla="*/ 11435486 w 12192000"/>
              <a:gd name="connsiteY121" fmla="*/ 6377051 h 6858000"/>
              <a:gd name="connsiteX122" fmla="*/ 11435486 w 12192000"/>
              <a:gd name="connsiteY122" fmla="*/ 6375968 h 6858000"/>
              <a:gd name="connsiteX123" fmla="*/ 11409064 w 12192000"/>
              <a:gd name="connsiteY123" fmla="*/ 6354060 h 6858000"/>
              <a:gd name="connsiteX124" fmla="*/ 11184971 w 12192000"/>
              <a:gd name="connsiteY124" fmla="*/ 6354060 h 6858000"/>
              <a:gd name="connsiteX125" fmla="*/ 11184971 w 12192000"/>
              <a:gd name="connsiteY125" fmla="*/ 6454776 h 6858000"/>
              <a:gd name="connsiteX126" fmla="*/ 11294264 w 12192000"/>
              <a:gd name="connsiteY126" fmla="*/ 6454776 h 6858000"/>
              <a:gd name="connsiteX127" fmla="*/ 11294264 w 12192000"/>
              <a:gd name="connsiteY127" fmla="*/ 6435967 h 6858000"/>
              <a:gd name="connsiteX128" fmla="*/ 11209738 w 12192000"/>
              <a:gd name="connsiteY128" fmla="*/ 6435967 h 6858000"/>
              <a:gd name="connsiteX129" fmla="*/ 11209738 w 12192000"/>
              <a:gd name="connsiteY129" fmla="*/ 6411200 h 6858000"/>
              <a:gd name="connsiteX130" fmla="*/ 11258310 w 12192000"/>
              <a:gd name="connsiteY130" fmla="*/ 6411200 h 6858000"/>
              <a:gd name="connsiteX131" fmla="*/ 11258310 w 12192000"/>
              <a:gd name="connsiteY131" fmla="*/ 6393821 h 6858000"/>
              <a:gd name="connsiteX132" fmla="*/ 11209738 w 12192000"/>
              <a:gd name="connsiteY132" fmla="*/ 6393821 h 6858000"/>
              <a:gd name="connsiteX133" fmla="*/ 11209738 w 12192000"/>
              <a:gd name="connsiteY133" fmla="*/ 6371913 h 6858000"/>
              <a:gd name="connsiteX134" fmla="*/ 11293083 w 12192000"/>
              <a:gd name="connsiteY134" fmla="*/ 6371913 h 6858000"/>
              <a:gd name="connsiteX135" fmla="*/ 11293083 w 12192000"/>
              <a:gd name="connsiteY135" fmla="*/ 6354060 h 6858000"/>
              <a:gd name="connsiteX136" fmla="*/ 11047262 w 12192000"/>
              <a:gd name="connsiteY136" fmla="*/ 6354060 h 6858000"/>
              <a:gd name="connsiteX137" fmla="*/ 11047262 w 12192000"/>
              <a:gd name="connsiteY137" fmla="*/ 6454776 h 6858000"/>
              <a:gd name="connsiteX138" fmla="*/ 11156555 w 12192000"/>
              <a:gd name="connsiteY138" fmla="*/ 6454776 h 6858000"/>
              <a:gd name="connsiteX139" fmla="*/ 11156555 w 12192000"/>
              <a:gd name="connsiteY139" fmla="*/ 6435967 h 6858000"/>
              <a:gd name="connsiteX140" fmla="*/ 11072029 w 12192000"/>
              <a:gd name="connsiteY140" fmla="*/ 6435967 h 6858000"/>
              <a:gd name="connsiteX141" fmla="*/ 11072029 w 12192000"/>
              <a:gd name="connsiteY141" fmla="*/ 6411200 h 6858000"/>
              <a:gd name="connsiteX142" fmla="*/ 11120601 w 12192000"/>
              <a:gd name="connsiteY142" fmla="*/ 6411200 h 6858000"/>
              <a:gd name="connsiteX143" fmla="*/ 11120601 w 12192000"/>
              <a:gd name="connsiteY143" fmla="*/ 6393821 h 6858000"/>
              <a:gd name="connsiteX144" fmla="*/ 11072029 w 12192000"/>
              <a:gd name="connsiteY144" fmla="*/ 6393821 h 6858000"/>
              <a:gd name="connsiteX145" fmla="*/ 11072029 w 12192000"/>
              <a:gd name="connsiteY145" fmla="*/ 6371913 h 6858000"/>
              <a:gd name="connsiteX146" fmla="*/ 11155374 w 12192000"/>
              <a:gd name="connsiteY146" fmla="*/ 6371913 h 6858000"/>
              <a:gd name="connsiteX147" fmla="*/ 11155374 w 12192000"/>
              <a:gd name="connsiteY147" fmla="*/ 6354060 h 6858000"/>
              <a:gd name="connsiteX148" fmla="*/ 10899246 w 12192000"/>
              <a:gd name="connsiteY148" fmla="*/ 6354060 h 6858000"/>
              <a:gd name="connsiteX149" fmla="*/ 10899246 w 12192000"/>
              <a:gd name="connsiteY149" fmla="*/ 6454776 h 6858000"/>
              <a:gd name="connsiteX150" fmla="*/ 10923539 w 12192000"/>
              <a:gd name="connsiteY150" fmla="*/ 6454776 h 6858000"/>
              <a:gd name="connsiteX151" fmla="*/ 10923539 w 12192000"/>
              <a:gd name="connsiteY151" fmla="*/ 6416670 h 6858000"/>
              <a:gd name="connsiteX152" fmla="*/ 10946636 w 12192000"/>
              <a:gd name="connsiteY152" fmla="*/ 6416670 h 6858000"/>
              <a:gd name="connsiteX153" fmla="*/ 10988782 w 12192000"/>
              <a:gd name="connsiteY153" fmla="*/ 6454776 h 6858000"/>
              <a:gd name="connsiteX154" fmla="*/ 11024029 w 12192000"/>
              <a:gd name="connsiteY154" fmla="*/ 6454776 h 6858000"/>
              <a:gd name="connsiteX155" fmla="*/ 10976158 w 12192000"/>
              <a:gd name="connsiteY155" fmla="*/ 6416670 h 6858000"/>
              <a:gd name="connsiteX156" fmla="*/ 10989971 w 12192000"/>
              <a:gd name="connsiteY156" fmla="*/ 6416670 h 6858000"/>
              <a:gd name="connsiteX157" fmla="*/ 11013549 w 12192000"/>
              <a:gd name="connsiteY157" fmla="*/ 6397395 h 6858000"/>
              <a:gd name="connsiteX158" fmla="*/ 11013549 w 12192000"/>
              <a:gd name="connsiteY158" fmla="*/ 6373583 h 6858000"/>
              <a:gd name="connsiteX159" fmla="*/ 10989971 w 12192000"/>
              <a:gd name="connsiteY159" fmla="*/ 6354060 h 6858000"/>
              <a:gd name="connsiteX160" fmla="*/ 10749425 w 12192000"/>
              <a:gd name="connsiteY160" fmla="*/ 6353819 h 6858000"/>
              <a:gd name="connsiteX161" fmla="*/ 10800140 w 12192000"/>
              <a:gd name="connsiteY161" fmla="*/ 6353819 h 6858000"/>
              <a:gd name="connsiteX162" fmla="*/ 10840624 w 12192000"/>
              <a:gd name="connsiteY162" fmla="*/ 6392158 h 6858000"/>
              <a:gd name="connsiteX163" fmla="*/ 10786327 w 12192000"/>
              <a:gd name="connsiteY163" fmla="*/ 6431686 h 6858000"/>
              <a:gd name="connsiteX164" fmla="*/ 10749425 w 12192000"/>
              <a:gd name="connsiteY164" fmla="*/ 6431686 h 6858000"/>
              <a:gd name="connsiteX165" fmla="*/ 11558990 w 12192000"/>
              <a:gd name="connsiteY165" fmla="*/ 6331911 h 6858000"/>
              <a:gd name="connsiteX166" fmla="*/ 11528513 w 12192000"/>
              <a:gd name="connsiteY166" fmla="*/ 6354293 h 6858000"/>
              <a:gd name="connsiteX167" fmla="*/ 11528513 w 12192000"/>
              <a:gd name="connsiteY167" fmla="*/ 6361192 h 6858000"/>
              <a:gd name="connsiteX168" fmla="*/ 11538993 w 12192000"/>
              <a:gd name="connsiteY168" fmla="*/ 6379767 h 6858000"/>
              <a:gd name="connsiteX169" fmla="*/ 11513978 w 12192000"/>
              <a:gd name="connsiteY169" fmla="*/ 6394776 h 6858000"/>
              <a:gd name="connsiteX170" fmla="*/ 11498743 w 12192000"/>
              <a:gd name="connsiteY170" fmla="*/ 6417633 h 6858000"/>
              <a:gd name="connsiteX171" fmla="*/ 11498743 w 12192000"/>
              <a:gd name="connsiteY171" fmla="*/ 6425728 h 6858000"/>
              <a:gd name="connsiteX172" fmla="*/ 11529454 w 12192000"/>
              <a:gd name="connsiteY172" fmla="*/ 6454776 h 6858000"/>
              <a:gd name="connsiteX173" fmla="*/ 11573270 w 12192000"/>
              <a:gd name="connsiteY173" fmla="*/ 6454776 h 6858000"/>
              <a:gd name="connsiteX174" fmla="*/ 11596367 w 12192000"/>
              <a:gd name="connsiteY174" fmla="*/ 6447388 h 6858000"/>
              <a:gd name="connsiteX175" fmla="*/ 11607321 w 12192000"/>
              <a:gd name="connsiteY175" fmla="*/ 6437630 h 6858000"/>
              <a:gd name="connsiteX176" fmla="*/ 11627559 w 12192000"/>
              <a:gd name="connsiteY176" fmla="*/ 6454776 h 6858000"/>
              <a:gd name="connsiteX177" fmla="*/ 11664950 w 12192000"/>
              <a:gd name="connsiteY177" fmla="*/ 6454776 h 6858000"/>
              <a:gd name="connsiteX178" fmla="*/ 11626137 w 12192000"/>
              <a:gd name="connsiteY178" fmla="*/ 6422147 h 6858000"/>
              <a:gd name="connsiteX179" fmla="*/ 11654470 w 12192000"/>
              <a:gd name="connsiteY179" fmla="*/ 6398583 h 6858000"/>
              <a:gd name="connsiteX180" fmla="*/ 11638272 w 12192000"/>
              <a:gd name="connsiteY180" fmla="*/ 6384537 h 6858000"/>
              <a:gd name="connsiteX181" fmla="*/ 11609698 w 12192000"/>
              <a:gd name="connsiteY181" fmla="*/ 6408341 h 6858000"/>
              <a:gd name="connsiteX182" fmla="*/ 11551836 w 12192000"/>
              <a:gd name="connsiteY182" fmla="*/ 6360244 h 6858000"/>
              <a:gd name="connsiteX183" fmla="*/ 11551836 w 12192000"/>
              <a:gd name="connsiteY183" fmla="*/ 6351434 h 6858000"/>
              <a:gd name="connsiteX184" fmla="*/ 11592086 w 12192000"/>
              <a:gd name="connsiteY184" fmla="*/ 6351434 h 6858000"/>
              <a:gd name="connsiteX185" fmla="*/ 11592086 w 12192000"/>
              <a:gd name="connsiteY185" fmla="*/ 6367873 h 6858000"/>
              <a:gd name="connsiteX186" fmla="*/ 11614220 w 12192000"/>
              <a:gd name="connsiteY186" fmla="*/ 6364066 h 6858000"/>
              <a:gd name="connsiteX187" fmla="*/ 11614220 w 12192000"/>
              <a:gd name="connsiteY187" fmla="*/ 6356678 h 6858000"/>
              <a:gd name="connsiteX188" fmla="*/ 11583742 w 12192000"/>
              <a:gd name="connsiteY188" fmla="*/ 6331911 h 6858000"/>
              <a:gd name="connsiteX189" fmla="*/ 10720851 w 12192000"/>
              <a:gd name="connsiteY189" fmla="*/ 6331911 h 6858000"/>
              <a:gd name="connsiteX190" fmla="*/ 10720851 w 12192000"/>
              <a:gd name="connsiteY190" fmla="*/ 6454776 h 6858000"/>
              <a:gd name="connsiteX191" fmla="*/ 10792527 w 12192000"/>
              <a:gd name="connsiteY191" fmla="*/ 6454776 h 6858000"/>
              <a:gd name="connsiteX192" fmla="*/ 10843009 w 12192000"/>
              <a:gd name="connsiteY192" fmla="*/ 6445259 h 6858000"/>
              <a:gd name="connsiteX193" fmla="*/ 10870146 w 12192000"/>
              <a:gd name="connsiteY193" fmla="*/ 6392632 h 6858000"/>
              <a:gd name="connsiteX194" fmla="*/ 10799900 w 12192000"/>
              <a:gd name="connsiteY194" fmla="*/ 6331911 h 6858000"/>
              <a:gd name="connsiteX195" fmla="*/ 0 w 12192000"/>
              <a:gd name="connsiteY195" fmla="*/ 0 h 6858000"/>
              <a:gd name="connsiteX196" fmla="*/ 6096000 w 12192000"/>
              <a:gd name="connsiteY196" fmla="*/ 0 h 6858000"/>
              <a:gd name="connsiteX197" fmla="*/ 6096000 w 12192000"/>
              <a:gd name="connsiteY197" fmla="*/ 1049867 h 6858000"/>
              <a:gd name="connsiteX198" fmla="*/ 11668801 w 12192000"/>
              <a:gd name="connsiteY198" fmla="*/ 1049867 h 6858000"/>
              <a:gd name="connsiteX199" fmla="*/ 11668801 w 12192000"/>
              <a:gd name="connsiteY199" fmla="*/ 0 h 6858000"/>
              <a:gd name="connsiteX200" fmla="*/ 12192000 w 12192000"/>
              <a:gd name="connsiteY200" fmla="*/ 0 h 6858000"/>
              <a:gd name="connsiteX201" fmla="*/ 12192000 w 12192000"/>
              <a:gd name="connsiteY201" fmla="*/ 6858000 h 6858000"/>
              <a:gd name="connsiteX202" fmla="*/ 0 w 12192000"/>
              <a:gd name="connsiteY20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12192000" h="6858000">
                <a:moveTo>
                  <a:pt x="10909343" y="6535879"/>
                </a:moveTo>
                <a:lnTo>
                  <a:pt x="10992168" y="6535879"/>
                </a:lnTo>
                <a:lnTo>
                  <a:pt x="10992168" y="6598745"/>
                </a:lnTo>
                <a:lnTo>
                  <a:pt x="10909343" y="6598745"/>
                </a:lnTo>
                <a:close/>
                <a:moveTo>
                  <a:pt x="11563256" y="6534690"/>
                </a:moveTo>
                <a:lnTo>
                  <a:pt x="11619215" y="6534690"/>
                </a:lnTo>
                <a:cubicBezTo>
                  <a:pt x="11626587" y="6534690"/>
                  <a:pt x="11630409" y="6536127"/>
                  <a:pt x="11630409" y="6542786"/>
                </a:cubicBezTo>
                <a:lnTo>
                  <a:pt x="11630409" y="6554455"/>
                </a:lnTo>
                <a:cubicBezTo>
                  <a:pt x="11630409" y="6561128"/>
                  <a:pt x="11626587" y="6562550"/>
                  <a:pt x="11619215" y="6562550"/>
                </a:cubicBezTo>
                <a:lnTo>
                  <a:pt x="11563256" y="6562550"/>
                </a:lnTo>
                <a:close/>
                <a:moveTo>
                  <a:pt x="10910306" y="6517318"/>
                </a:moveTo>
                <a:cubicBezTo>
                  <a:pt x="10890158" y="6517318"/>
                  <a:pt x="10883590" y="6521832"/>
                  <a:pt x="10883590" y="6541122"/>
                </a:cubicBezTo>
                <a:lnTo>
                  <a:pt x="10883590" y="6594223"/>
                </a:lnTo>
                <a:cubicBezTo>
                  <a:pt x="10883590" y="6613272"/>
                  <a:pt x="10889902" y="6618042"/>
                  <a:pt x="10910306" y="6618042"/>
                </a:cubicBezTo>
                <a:lnTo>
                  <a:pt x="10989730" y="6618042"/>
                </a:lnTo>
                <a:cubicBezTo>
                  <a:pt x="11009886" y="6618042"/>
                  <a:pt x="11016446" y="6613272"/>
                  <a:pt x="11016446" y="6594223"/>
                </a:cubicBezTo>
                <a:lnTo>
                  <a:pt x="11016446" y="6541122"/>
                </a:lnTo>
                <a:cubicBezTo>
                  <a:pt x="11016446" y="6521832"/>
                  <a:pt x="11009878" y="6517318"/>
                  <a:pt x="10989730" y="6517318"/>
                </a:cubicBezTo>
                <a:close/>
                <a:moveTo>
                  <a:pt x="11538985" y="6517311"/>
                </a:moveTo>
                <a:lnTo>
                  <a:pt x="11538985" y="6618035"/>
                </a:lnTo>
                <a:lnTo>
                  <a:pt x="11563263" y="6618035"/>
                </a:lnTo>
                <a:lnTo>
                  <a:pt x="11563263" y="6579929"/>
                </a:lnTo>
                <a:lnTo>
                  <a:pt x="11586360" y="6579929"/>
                </a:lnTo>
                <a:lnTo>
                  <a:pt x="11628506" y="6618035"/>
                </a:lnTo>
                <a:lnTo>
                  <a:pt x="11663753" y="6618035"/>
                </a:lnTo>
                <a:lnTo>
                  <a:pt x="11615897" y="6579929"/>
                </a:lnTo>
                <a:lnTo>
                  <a:pt x="11629710" y="6579929"/>
                </a:lnTo>
                <a:cubicBezTo>
                  <a:pt x="11645892" y="6579929"/>
                  <a:pt x="11653280" y="6574452"/>
                  <a:pt x="11653280" y="6560639"/>
                </a:cubicBezTo>
                <a:lnTo>
                  <a:pt x="11653280" y="6536835"/>
                </a:lnTo>
                <a:cubicBezTo>
                  <a:pt x="11653280" y="6522788"/>
                  <a:pt x="11645892" y="6517311"/>
                  <a:pt x="11629710" y="6517311"/>
                </a:cubicBezTo>
                <a:close/>
                <a:moveTo>
                  <a:pt x="11401645" y="6517311"/>
                </a:moveTo>
                <a:lnTo>
                  <a:pt x="11401645" y="6618035"/>
                </a:lnTo>
                <a:lnTo>
                  <a:pt x="11513119" y="6618035"/>
                </a:lnTo>
                <a:lnTo>
                  <a:pt x="11513119" y="6599219"/>
                </a:lnTo>
                <a:lnTo>
                  <a:pt x="11426909" y="6599219"/>
                </a:lnTo>
                <a:lnTo>
                  <a:pt x="11426909" y="6574452"/>
                </a:lnTo>
                <a:lnTo>
                  <a:pt x="11476458" y="6574452"/>
                </a:lnTo>
                <a:lnTo>
                  <a:pt x="11476458" y="6557073"/>
                </a:lnTo>
                <a:lnTo>
                  <a:pt x="11426909" y="6557073"/>
                </a:lnTo>
                <a:lnTo>
                  <a:pt x="11426909" y="6535179"/>
                </a:lnTo>
                <a:lnTo>
                  <a:pt x="11511908" y="6535179"/>
                </a:lnTo>
                <a:lnTo>
                  <a:pt x="11511908" y="6517311"/>
                </a:lnTo>
                <a:close/>
                <a:moveTo>
                  <a:pt x="11225454" y="6517311"/>
                </a:moveTo>
                <a:lnTo>
                  <a:pt x="11225454" y="6618035"/>
                </a:lnTo>
                <a:lnTo>
                  <a:pt x="11248423" y="6618035"/>
                </a:lnTo>
                <a:lnTo>
                  <a:pt x="11248423" y="6550414"/>
                </a:lnTo>
                <a:lnTo>
                  <a:pt x="11294805" y="6605892"/>
                </a:lnTo>
                <a:lnTo>
                  <a:pt x="11299665" y="6605892"/>
                </a:lnTo>
                <a:lnTo>
                  <a:pt x="11345558" y="6548737"/>
                </a:lnTo>
                <a:lnTo>
                  <a:pt x="11345558" y="6618035"/>
                </a:lnTo>
                <a:lnTo>
                  <a:pt x="11368873" y="6618035"/>
                </a:lnTo>
                <a:lnTo>
                  <a:pt x="11368873" y="6517311"/>
                </a:lnTo>
                <a:lnTo>
                  <a:pt x="11348725" y="6517311"/>
                </a:lnTo>
                <a:lnTo>
                  <a:pt x="11298687" y="6577070"/>
                </a:lnTo>
                <a:lnTo>
                  <a:pt x="11248423" y="6517311"/>
                </a:lnTo>
                <a:close/>
                <a:moveTo>
                  <a:pt x="11048135" y="6517311"/>
                </a:moveTo>
                <a:lnTo>
                  <a:pt x="11048135" y="6618035"/>
                </a:lnTo>
                <a:lnTo>
                  <a:pt x="11071096" y="6618035"/>
                </a:lnTo>
                <a:lnTo>
                  <a:pt x="11071096" y="6550414"/>
                </a:lnTo>
                <a:lnTo>
                  <a:pt x="11117478" y="6605892"/>
                </a:lnTo>
                <a:lnTo>
                  <a:pt x="11122331" y="6605892"/>
                </a:lnTo>
                <a:lnTo>
                  <a:pt x="11168239" y="6548737"/>
                </a:lnTo>
                <a:lnTo>
                  <a:pt x="11168239" y="6618035"/>
                </a:lnTo>
                <a:lnTo>
                  <a:pt x="11191554" y="6618035"/>
                </a:lnTo>
                <a:lnTo>
                  <a:pt x="11191554" y="6517311"/>
                </a:lnTo>
                <a:lnTo>
                  <a:pt x="11171399" y="6517311"/>
                </a:lnTo>
                <a:lnTo>
                  <a:pt x="11121368" y="6577070"/>
                </a:lnTo>
                <a:lnTo>
                  <a:pt x="11071096" y="6517311"/>
                </a:lnTo>
                <a:close/>
                <a:moveTo>
                  <a:pt x="10752277" y="6495162"/>
                </a:moveTo>
                <a:cubicBezTo>
                  <a:pt x="10729180" y="6495162"/>
                  <a:pt x="10721799" y="6501113"/>
                  <a:pt x="10721799" y="6524218"/>
                </a:cubicBezTo>
                <a:lnTo>
                  <a:pt x="10721799" y="6537775"/>
                </a:lnTo>
                <a:cubicBezTo>
                  <a:pt x="10721799" y="6560879"/>
                  <a:pt x="10729187" y="6566830"/>
                  <a:pt x="10752277" y="6566830"/>
                </a:cubicBezTo>
                <a:lnTo>
                  <a:pt x="10828955" y="6566830"/>
                </a:lnTo>
                <a:lnTo>
                  <a:pt x="10828955" y="6594930"/>
                </a:lnTo>
                <a:lnTo>
                  <a:pt x="10742052" y="6594930"/>
                </a:lnTo>
                <a:lnTo>
                  <a:pt x="10742052" y="6581704"/>
                </a:lnTo>
                <a:lnTo>
                  <a:pt x="10716796" y="6586948"/>
                </a:lnTo>
                <a:lnTo>
                  <a:pt x="10716796" y="6588979"/>
                </a:lnTo>
                <a:cubicBezTo>
                  <a:pt x="10716796" y="6612076"/>
                  <a:pt x="10724417" y="6618027"/>
                  <a:pt x="10747514" y="6618027"/>
                </a:cubicBezTo>
                <a:lnTo>
                  <a:pt x="10823486" y="6618027"/>
                </a:lnTo>
                <a:cubicBezTo>
                  <a:pt x="10846583" y="6618027"/>
                  <a:pt x="10854204" y="6612076"/>
                  <a:pt x="10854204" y="6588979"/>
                </a:cubicBezTo>
                <a:lnTo>
                  <a:pt x="10854204" y="6572074"/>
                </a:lnTo>
                <a:cubicBezTo>
                  <a:pt x="10854204" y="6548970"/>
                  <a:pt x="10846583" y="6543019"/>
                  <a:pt x="10823486" y="6543019"/>
                </a:cubicBezTo>
                <a:lnTo>
                  <a:pt x="10746799" y="6543019"/>
                </a:lnTo>
                <a:lnTo>
                  <a:pt x="10746799" y="6516596"/>
                </a:lnTo>
                <a:lnTo>
                  <a:pt x="10827285" y="6516596"/>
                </a:lnTo>
                <a:lnTo>
                  <a:pt x="10827285" y="6529905"/>
                </a:lnTo>
                <a:lnTo>
                  <a:pt x="10852526" y="6523954"/>
                </a:lnTo>
                <a:lnTo>
                  <a:pt x="10852526" y="6522074"/>
                </a:lnTo>
                <a:cubicBezTo>
                  <a:pt x="10852526" y="6500872"/>
                  <a:pt x="10843957" y="6495162"/>
                  <a:pt x="10822049" y="6495162"/>
                </a:cubicBezTo>
                <a:close/>
                <a:moveTo>
                  <a:pt x="11554221" y="6392873"/>
                </a:moveTo>
                <a:lnTo>
                  <a:pt x="11591123" y="6423591"/>
                </a:lnTo>
                <a:lnTo>
                  <a:pt x="11579695" y="6433349"/>
                </a:lnTo>
                <a:lnTo>
                  <a:pt x="11522795" y="6433349"/>
                </a:lnTo>
                <a:lnTo>
                  <a:pt x="11522795" y="6433342"/>
                </a:lnTo>
                <a:lnTo>
                  <a:pt x="11522795" y="6412396"/>
                </a:lnTo>
                <a:close/>
                <a:moveTo>
                  <a:pt x="10923532" y="6371439"/>
                </a:moveTo>
                <a:lnTo>
                  <a:pt x="10979491" y="6371439"/>
                </a:lnTo>
                <a:cubicBezTo>
                  <a:pt x="10986864" y="6371439"/>
                  <a:pt x="10990685" y="6372876"/>
                  <a:pt x="10990685" y="6379534"/>
                </a:cubicBezTo>
                <a:lnTo>
                  <a:pt x="10990685" y="6391203"/>
                </a:lnTo>
                <a:cubicBezTo>
                  <a:pt x="10990685" y="6397876"/>
                  <a:pt x="10986864" y="6399298"/>
                  <a:pt x="10979491" y="6399298"/>
                </a:cubicBezTo>
                <a:lnTo>
                  <a:pt x="10923532" y="6399298"/>
                </a:lnTo>
                <a:close/>
                <a:moveTo>
                  <a:pt x="11349305" y="6354060"/>
                </a:moveTo>
                <a:cubicBezTo>
                  <a:pt x="11329541" y="6354060"/>
                  <a:pt x="11322868" y="6358830"/>
                  <a:pt x="11322868" y="6377879"/>
                </a:cubicBezTo>
                <a:lnTo>
                  <a:pt x="11322868" y="6389074"/>
                </a:lnTo>
                <a:cubicBezTo>
                  <a:pt x="11322868" y="6408123"/>
                  <a:pt x="11329541" y="6412878"/>
                  <a:pt x="11349305" y="6412878"/>
                </a:cubicBezTo>
                <a:lnTo>
                  <a:pt x="11414541" y="6412878"/>
                </a:lnTo>
                <a:lnTo>
                  <a:pt x="11414541" y="6435983"/>
                </a:lnTo>
                <a:lnTo>
                  <a:pt x="11340480" y="6435983"/>
                </a:lnTo>
                <a:lnTo>
                  <a:pt x="11340480" y="6425375"/>
                </a:lnTo>
                <a:lnTo>
                  <a:pt x="11318587" y="6429430"/>
                </a:lnTo>
                <a:lnTo>
                  <a:pt x="11318587" y="6430980"/>
                </a:lnTo>
                <a:cubicBezTo>
                  <a:pt x="11318587" y="6449796"/>
                  <a:pt x="11325012" y="6454784"/>
                  <a:pt x="11345009" y="6454784"/>
                </a:cubicBezTo>
                <a:lnTo>
                  <a:pt x="11410501" y="6454784"/>
                </a:lnTo>
                <a:cubicBezTo>
                  <a:pt x="11430498" y="6454784"/>
                  <a:pt x="11436690" y="6449796"/>
                  <a:pt x="11436690" y="6430980"/>
                </a:cubicBezTo>
                <a:lnTo>
                  <a:pt x="11436690" y="6417166"/>
                </a:lnTo>
                <a:cubicBezTo>
                  <a:pt x="11436690" y="6398117"/>
                  <a:pt x="11430506" y="6393362"/>
                  <a:pt x="11410501" y="6393362"/>
                </a:cubicBezTo>
                <a:lnTo>
                  <a:pt x="11345009" y="6393362"/>
                </a:lnTo>
                <a:lnTo>
                  <a:pt x="11345009" y="6372154"/>
                </a:lnTo>
                <a:lnTo>
                  <a:pt x="11414300" y="6372154"/>
                </a:lnTo>
                <a:lnTo>
                  <a:pt x="11414300" y="6381565"/>
                </a:lnTo>
                <a:lnTo>
                  <a:pt x="11435486" y="6377051"/>
                </a:lnTo>
                <a:lnTo>
                  <a:pt x="11435486" y="6375968"/>
                </a:lnTo>
                <a:cubicBezTo>
                  <a:pt x="11435486" y="6358356"/>
                  <a:pt x="11427639" y="6354060"/>
                  <a:pt x="11409064" y="6354060"/>
                </a:cubicBezTo>
                <a:close/>
                <a:moveTo>
                  <a:pt x="11184971" y="6354060"/>
                </a:moveTo>
                <a:lnTo>
                  <a:pt x="11184971" y="6454776"/>
                </a:lnTo>
                <a:lnTo>
                  <a:pt x="11294264" y="6454776"/>
                </a:lnTo>
                <a:lnTo>
                  <a:pt x="11294264" y="6435967"/>
                </a:lnTo>
                <a:lnTo>
                  <a:pt x="11209738" y="6435967"/>
                </a:lnTo>
                <a:lnTo>
                  <a:pt x="11209738" y="6411200"/>
                </a:lnTo>
                <a:lnTo>
                  <a:pt x="11258310" y="6411200"/>
                </a:lnTo>
                <a:lnTo>
                  <a:pt x="11258310" y="6393821"/>
                </a:lnTo>
                <a:lnTo>
                  <a:pt x="11209738" y="6393821"/>
                </a:lnTo>
                <a:lnTo>
                  <a:pt x="11209738" y="6371913"/>
                </a:lnTo>
                <a:lnTo>
                  <a:pt x="11293083" y="6371913"/>
                </a:lnTo>
                <a:lnTo>
                  <a:pt x="11293083" y="6354060"/>
                </a:lnTo>
                <a:close/>
                <a:moveTo>
                  <a:pt x="11047262" y="6354060"/>
                </a:moveTo>
                <a:lnTo>
                  <a:pt x="11047262" y="6454776"/>
                </a:lnTo>
                <a:lnTo>
                  <a:pt x="11156555" y="6454776"/>
                </a:lnTo>
                <a:lnTo>
                  <a:pt x="11156555" y="6435967"/>
                </a:lnTo>
                <a:lnTo>
                  <a:pt x="11072029" y="6435967"/>
                </a:lnTo>
                <a:lnTo>
                  <a:pt x="11072029" y="6411200"/>
                </a:lnTo>
                <a:lnTo>
                  <a:pt x="11120601" y="6411200"/>
                </a:lnTo>
                <a:lnTo>
                  <a:pt x="11120601" y="6393821"/>
                </a:lnTo>
                <a:lnTo>
                  <a:pt x="11072029" y="6393821"/>
                </a:lnTo>
                <a:lnTo>
                  <a:pt x="11072029" y="6371913"/>
                </a:lnTo>
                <a:lnTo>
                  <a:pt x="11155374" y="6371913"/>
                </a:lnTo>
                <a:lnTo>
                  <a:pt x="11155374" y="6354060"/>
                </a:lnTo>
                <a:close/>
                <a:moveTo>
                  <a:pt x="10899246" y="6354060"/>
                </a:moveTo>
                <a:lnTo>
                  <a:pt x="10899246" y="6454776"/>
                </a:lnTo>
                <a:lnTo>
                  <a:pt x="10923539" y="6454776"/>
                </a:lnTo>
                <a:lnTo>
                  <a:pt x="10923539" y="6416670"/>
                </a:lnTo>
                <a:lnTo>
                  <a:pt x="10946636" y="6416670"/>
                </a:lnTo>
                <a:lnTo>
                  <a:pt x="10988782" y="6454776"/>
                </a:lnTo>
                <a:lnTo>
                  <a:pt x="11024029" y="6454776"/>
                </a:lnTo>
                <a:lnTo>
                  <a:pt x="10976158" y="6416670"/>
                </a:lnTo>
                <a:lnTo>
                  <a:pt x="10989971" y="6416670"/>
                </a:lnTo>
                <a:cubicBezTo>
                  <a:pt x="11006169" y="6416670"/>
                  <a:pt x="11013549" y="6411193"/>
                  <a:pt x="11013549" y="6397395"/>
                </a:cubicBezTo>
                <a:lnTo>
                  <a:pt x="11013549" y="6373583"/>
                </a:lnTo>
                <a:cubicBezTo>
                  <a:pt x="11013549" y="6359537"/>
                  <a:pt x="11006161" y="6354060"/>
                  <a:pt x="10989971" y="6354060"/>
                </a:cubicBezTo>
                <a:close/>
                <a:moveTo>
                  <a:pt x="10749425" y="6353819"/>
                </a:moveTo>
                <a:lnTo>
                  <a:pt x="10800140" y="6353819"/>
                </a:lnTo>
                <a:cubicBezTo>
                  <a:pt x="10827052" y="6353819"/>
                  <a:pt x="10840624" y="6367158"/>
                  <a:pt x="10840624" y="6392158"/>
                </a:cubicBezTo>
                <a:cubicBezTo>
                  <a:pt x="10840624" y="6422636"/>
                  <a:pt x="10822523" y="6431686"/>
                  <a:pt x="10786327" y="6431686"/>
                </a:cubicBezTo>
                <a:lnTo>
                  <a:pt x="10749425" y="6431686"/>
                </a:lnTo>
                <a:close/>
                <a:moveTo>
                  <a:pt x="11558990" y="6331911"/>
                </a:moveTo>
                <a:cubicBezTo>
                  <a:pt x="11538030" y="6331911"/>
                  <a:pt x="11528513" y="6336681"/>
                  <a:pt x="11528513" y="6354293"/>
                </a:cubicBezTo>
                <a:lnTo>
                  <a:pt x="11528513" y="6361192"/>
                </a:lnTo>
                <a:cubicBezTo>
                  <a:pt x="11528513" y="6368339"/>
                  <a:pt x="11531846" y="6373816"/>
                  <a:pt x="11538993" y="6379767"/>
                </a:cubicBezTo>
                <a:lnTo>
                  <a:pt x="11513978" y="6394776"/>
                </a:lnTo>
                <a:cubicBezTo>
                  <a:pt x="11503272" y="6401202"/>
                  <a:pt x="11498743" y="6405008"/>
                  <a:pt x="11498743" y="6417633"/>
                </a:cubicBezTo>
                <a:lnTo>
                  <a:pt x="11498743" y="6425728"/>
                </a:lnTo>
                <a:cubicBezTo>
                  <a:pt x="11498743" y="6448825"/>
                  <a:pt x="11506364" y="6454776"/>
                  <a:pt x="11529454" y="6454776"/>
                </a:cubicBezTo>
                <a:lnTo>
                  <a:pt x="11573270" y="6454776"/>
                </a:lnTo>
                <a:cubicBezTo>
                  <a:pt x="11583502" y="6454776"/>
                  <a:pt x="11588505" y="6454302"/>
                  <a:pt x="11596367" y="6447388"/>
                </a:cubicBezTo>
                <a:lnTo>
                  <a:pt x="11607321" y="6437630"/>
                </a:lnTo>
                <a:lnTo>
                  <a:pt x="11627559" y="6454776"/>
                </a:lnTo>
                <a:lnTo>
                  <a:pt x="11664950" y="6454776"/>
                </a:lnTo>
                <a:lnTo>
                  <a:pt x="11626137" y="6422147"/>
                </a:lnTo>
                <a:lnTo>
                  <a:pt x="11654470" y="6398583"/>
                </a:lnTo>
                <a:lnTo>
                  <a:pt x="11638272" y="6384537"/>
                </a:lnTo>
                <a:lnTo>
                  <a:pt x="11609698" y="6408341"/>
                </a:lnTo>
                <a:lnTo>
                  <a:pt x="11551836" y="6360244"/>
                </a:lnTo>
                <a:lnTo>
                  <a:pt x="11551836" y="6351434"/>
                </a:lnTo>
                <a:lnTo>
                  <a:pt x="11592086" y="6351434"/>
                </a:lnTo>
                <a:lnTo>
                  <a:pt x="11592086" y="6367873"/>
                </a:lnTo>
                <a:lnTo>
                  <a:pt x="11614220" y="6364066"/>
                </a:lnTo>
                <a:lnTo>
                  <a:pt x="11614220" y="6356678"/>
                </a:lnTo>
                <a:cubicBezTo>
                  <a:pt x="11614220" y="6336681"/>
                  <a:pt x="11605884" y="6331911"/>
                  <a:pt x="11583742" y="6331911"/>
                </a:cubicBezTo>
                <a:close/>
                <a:moveTo>
                  <a:pt x="10720851" y="6331911"/>
                </a:moveTo>
                <a:lnTo>
                  <a:pt x="10720851" y="6454776"/>
                </a:lnTo>
                <a:lnTo>
                  <a:pt x="10792527" y="6454776"/>
                </a:lnTo>
                <a:cubicBezTo>
                  <a:pt x="10814420" y="6454776"/>
                  <a:pt x="10831092" y="6452632"/>
                  <a:pt x="10843009" y="6445259"/>
                </a:cubicBezTo>
                <a:cubicBezTo>
                  <a:pt x="10860155" y="6434779"/>
                  <a:pt x="10870146" y="6415729"/>
                  <a:pt x="10870146" y="6392632"/>
                </a:cubicBezTo>
                <a:cubicBezTo>
                  <a:pt x="10870146" y="6354534"/>
                  <a:pt x="10845868" y="6331911"/>
                  <a:pt x="10799900" y="6331911"/>
                </a:cubicBezTo>
                <a:close/>
                <a:moveTo>
                  <a:pt x="0" y="0"/>
                </a:moveTo>
                <a:lnTo>
                  <a:pt x="6096000" y="0"/>
                </a:lnTo>
                <a:lnTo>
                  <a:pt x="6096000" y="1049867"/>
                </a:lnTo>
                <a:lnTo>
                  <a:pt x="11668801" y="1049867"/>
                </a:lnTo>
                <a:lnTo>
                  <a:pt x="11668801" y="0"/>
                </a:lnTo>
                <a:lnTo>
                  <a:pt x="12192000" y="0"/>
                </a:lnTo>
                <a:lnTo>
                  <a:pt x="12192000" y="6858000"/>
                </a:lnTo>
                <a:lnTo>
                  <a:pt x="0" y="6858000"/>
                </a:lnTo>
                <a:close/>
              </a:path>
            </a:pathLst>
          </a:custGeom>
          <a:pattFill prst="ltUpDiag">
            <a:fgClr>
              <a:schemeClr val="bg1">
                <a:lumMod val="95000"/>
              </a:schemeClr>
            </a:fgClr>
            <a:bgClr>
              <a:schemeClr val="bg1"/>
            </a:bgClr>
          </a:pattFill>
        </p:spPr>
        <p:txBody>
          <a:bodyPr wrap="square">
            <a:noAutofit/>
          </a:bodyPr>
          <a:lstStyle/>
          <a:p>
            <a:endParaRPr lang="en-US"/>
          </a:p>
        </p:txBody>
      </p:sp>
      <p:sp>
        <p:nvSpPr>
          <p:cNvPr id="2" name="title">
            <a:extLst>
              <a:ext uri="{FF2B5EF4-FFF2-40B4-BE49-F238E27FC236}">
                <a16:creationId xmlns:a16="http://schemas.microsoft.com/office/drawing/2014/main" id="{8FFCB50B-5503-4467-8A0F-9FBB8B48B97D}"/>
              </a:ext>
            </a:extLst>
          </p:cNvPr>
          <p:cNvSpPr>
            <a:spLocks noGrp="1"/>
          </p:cNvSpPr>
          <p:nvPr userDrawn="1">
            <p:ph type="title"/>
          </p:nvPr>
        </p:nvSpPr>
        <p:spPr bwMode="gray">
          <a:xfrm>
            <a:off x="6096000" y="671514"/>
            <a:ext cx="5572801" cy="1168035"/>
          </a:xfrm>
          <a:solidFill>
            <a:schemeClr val="bg1"/>
          </a:solidFill>
        </p:spPr>
        <p:txBody>
          <a:bodyPr wrap="square" lIns="432000" tIns="0" rIns="432000" bIns="288000">
            <a:spAutoFit/>
          </a:bodyPr>
          <a:lstStyle>
            <a:lvl1pPr>
              <a:defRPr sz="3200"/>
            </a:lvl1pPr>
          </a:lstStyle>
          <a:p>
            <a:r>
              <a:rPr lang="de-DE"/>
              <a:t>Mastertitelformat bearbeiten</a:t>
            </a:r>
            <a:endParaRPr lang="en-US"/>
          </a:p>
        </p:txBody>
      </p:sp>
      <p:sp>
        <p:nvSpPr>
          <p:cNvPr id="16" name="logo drees&amp;sommer white">
            <a:extLst>
              <a:ext uri="{FF2B5EF4-FFF2-40B4-BE49-F238E27FC236}">
                <a16:creationId xmlns:a16="http://schemas.microsoft.com/office/drawing/2014/main" id="{C5A4F7E3-6A86-447A-9CFF-A1484D8D1910}"/>
              </a:ext>
            </a:extLst>
          </p:cNvPr>
          <p:cNvSpPr>
            <a:spLocks noGrp="1"/>
          </p:cNvSpPr>
          <p:nvPr>
            <p:ph type="media" sz="quarter" idx="20"/>
          </p:nvPr>
        </p:nvSpPr>
        <p:spPr bwMode="gray">
          <a:xfrm>
            <a:off x="10716797" y="6330042"/>
            <a:ext cx="946800" cy="288000"/>
          </a:xfrm>
          <a:blipFill>
            <a:blip r:embed="rId2" cstate="print">
              <a:extLst>
                <a:ext uri="{28A0092B-C50C-407E-A947-70E740481C1C}">
                  <a14:useLocalDpi xmlns:a14="http://schemas.microsoft.com/office/drawing/2010/main"/>
                </a:ext>
              </a:extLst>
            </a:blip>
            <a:stretch>
              <a:fillRect/>
            </a:stretch>
          </a:blipFill>
          <a:ln w="15875" cap="flat">
            <a:noFill/>
            <a:prstDash val="lgDash"/>
          </a:ln>
        </p:spPr>
        <p:txBody>
          <a:bodyPr/>
          <a:lstStyle>
            <a:lvl1pPr>
              <a:defRPr sz="100">
                <a:solidFill>
                  <a:schemeClr val="bg1"/>
                </a:solidFill>
              </a:defRPr>
            </a:lvl1pPr>
          </a:lstStyle>
          <a:p>
            <a:endParaRPr lang="de-DE"/>
          </a:p>
        </p:txBody>
      </p:sp>
      <p:sp>
        <p:nvSpPr>
          <p:cNvPr id="17" name="info">
            <a:extLst>
              <a:ext uri="{FF2B5EF4-FFF2-40B4-BE49-F238E27FC236}">
                <a16:creationId xmlns:a16="http://schemas.microsoft.com/office/drawing/2014/main" id="{027ABA06-B9A1-4909-844B-552763C797C1}"/>
              </a:ext>
            </a:extLst>
          </p:cNvPr>
          <p:cNvSpPr/>
          <p:nvPr userDrawn="1"/>
        </p:nvSpPr>
        <p:spPr bwMode="gray">
          <a:xfrm flipH="1">
            <a:off x="12247320" y="6288645"/>
            <a:ext cx="1579616" cy="370793"/>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36000" rtlCol="0" anchor="ctr">
            <a:spAutoFit/>
          </a:bodyPr>
          <a:lstStyle/>
          <a:p>
            <a:pPr algn="ctr">
              <a:lnSpc>
                <a:spcPct val="80000"/>
              </a:lnSpc>
              <a:spcBef>
                <a:spcPts val="400"/>
              </a:spcBef>
              <a:spcAft>
                <a:spcPts val="400"/>
              </a:spcAft>
            </a:pPr>
            <a:r>
              <a:rPr lang="en-US" sz="1050">
                <a:solidFill>
                  <a:schemeClr val="bg1"/>
                </a:solidFill>
              </a:rPr>
              <a:t>delete the white logo </a:t>
            </a:r>
            <a:br>
              <a:rPr lang="en-US" sz="1050">
                <a:solidFill>
                  <a:schemeClr val="bg1"/>
                </a:solidFill>
              </a:rPr>
            </a:br>
            <a:r>
              <a:rPr lang="en-US" sz="1050">
                <a:solidFill>
                  <a:schemeClr val="bg1"/>
                </a:solidFill>
              </a:rPr>
              <a:t>to get the BLUE LOGO</a:t>
            </a:r>
            <a:endParaRPr lang="de-DE" sz="1050">
              <a:solidFill>
                <a:schemeClr val="bg1"/>
              </a:solidFill>
            </a:endParaRPr>
          </a:p>
        </p:txBody>
      </p:sp>
      <p:sp>
        <p:nvSpPr>
          <p:cNvPr id="6" name="slide number">
            <a:extLst>
              <a:ext uri="{FF2B5EF4-FFF2-40B4-BE49-F238E27FC236}">
                <a16:creationId xmlns:a16="http://schemas.microsoft.com/office/drawing/2014/main" id="{90B54C2D-8235-4852-8EB7-5E05529B2499}"/>
              </a:ext>
            </a:extLst>
          </p:cNvPr>
          <p:cNvSpPr>
            <a:spLocks noGrp="1"/>
          </p:cNvSpPr>
          <p:nvPr userDrawn="1">
            <p:ph type="sldNum" sz="quarter" idx="12"/>
          </p:nvPr>
        </p:nvSpPr>
        <p:spPr bwMode="gray">
          <a:xfrm>
            <a:off x="525600" y="7200000"/>
            <a:ext cx="234000" cy="180000"/>
          </a:xfrm>
        </p:spPr>
        <p:txBody>
          <a:bodyPr lIns="0" tIns="0" rIns="0" bIns="0"/>
          <a:lstStyle/>
          <a:p>
            <a:fld id="{9829449A-3FF3-45CE-9F4F-09BADC0910C6}" type="slidenum">
              <a:rPr lang="en-US" smtClean="0"/>
              <a:t>‹Nr.›</a:t>
            </a:fld>
            <a:endParaRPr lang="en-US"/>
          </a:p>
        </p:txBody>
      </p:sp>
      <p:sp>
        <p:nvSpPr>
          <p:cNvPr id="5" name="footer">
            <a:extLst>
              <a:ext uri="{FF2B5EF4-FFF2-40B4-BE49-F238E27FC236}">
                <a16:creationId xmlns:a16="http://schemas.microsoft.com/office/drawing/2014/main" id="{A4534FC4-D037-44B0-B266-D9E820FC1DF2}"/>
              </a:ext>
            </a:extLst>
          </p:cNvPr>
          <p:cNvSpPr>
            <a:spLocks noGrp="1"/>
          </p:cNvSpPr>
          <p:nvPr userDrawn="1">
            <p:ph type="ftr" sz="quarter" idx="11"/>
          </p:nvPr>
        </p:nvSpPr>
        <p:spPr bwMode="gray">
          <a:xfrm>
            <a:off x="763200" y="7200000"/>
            <a:ext cx="7880400" cy="180000"/>
          </a:xfrm>
        </p:spPr>
        <p:txBody>
          <a:bodyPr lIns="0" tIns="0" rIns="0" bIns="0"/>
          <a:lstStyle/>
          <a:p>
            <a:endParaRPr lang="en-US"/>
          </a:p>
        </p:txBody>
      </p:sp>
    </p:spTree>
    <p:extLst>
      <p:ext uri="{BB962C8B-B14F-4D97-AF65-F5344CB8AC3E}">
        <p14:creationId xmlns:p14="http://schemas.microsoft.com/office/powerpoint/2010/main" val="496892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ote blank without bars">
    <p:spTree>
      <p:nvGrpSpPr>
        <p:cNvPr id="1" name=""/>
        <p:cNvGrpSpPr/>
        <p:nvPr/>
      </p:nvGrpSpPr>
      <p:grpSpPr>
        <a:xfrm>
          <a:off x="0" y="0"/>
          <a:ext cx="0" cy="0"/>
          <a:chOff x="0" y="0"/>
          <a:chExt cx="0" cy="0"/>
        </a:xfrm>
      </p:grpSpPr>
      <p:sp>
        <p:nvSpPr>
          <p:cNvPr id="14" name="logo drees&amp;sommer blue mask">
            <a:extLst>
              <a:ext uri="{FF2B5EF4-FFF2-40B4-BE49-F238E27FC236}">
                <a16:creationId xmlns:a16="http://schemas.microsoft.com/office/drawing/2014/main" id="{7DFCFBB7-6B39-4D0E-BE6B-B3B479E24FA2}"/>
              </a:ext>
            </a:extLst>
          </p:cNvPr>
          <p:cNvSpPr/>
          <p:nvPr userDrawn="1"/>
        </p:nvSpPr>
        <p:spPr>
          <a:xfrm>
            <a:off x="10579100" y="6197600"/>
            <a:ext cx="1270000" cy="584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400"/>
              </a:spcBef>
              <a:spcAft>
                <a:spcPts val="400"/>
              </a:spcAft>
            </a:pPr>
            <a:endParaRPr lang="de-DE" sz="1400" err="1"/>
          </a:p>
        </p:txBody>
      </p:sp>
      <p:sp>
        <p:nvSpPr>
          <p:cNvPr id="8" name="picture">
            <a:extLst>
              <a:ext uri="{FF2B5EF4-FFF2-40B4-BE49-F238E27FC236}">
                <a16:creationId xmlns:a16="http://schemas.microsoft.com/office/drawing/2014/main" id="{6707D371-3415-428D-904A-4D82FA14AD50}"/>
              </a:ext>
            </a:extLst>
          </p:cNvPr>
          <p:cNvSpPr>
            <a:spLocks noGrp="1"/>
          </p:cNvSpPr>
          <p:nvPr>
            <p:ph type="pic" sz="quarter" idx="18" hasCustomPrompt="1"/>
          </p:nvPr>
        </p:nvSpPr>
        <p:spPr>
          <a:xfrm>
            <a:off x="0" y="0"/>
            <a:ext cx="12192000" cy="6858000"/>
          </a:xfrm>
          <a:custGeom>
            <a:avLst/>
            <a:gdLst>
              <a:gd name="connsiteX0" fmla="*/ 10909343 w 12192000"/>
              <a:gd name="connsiteY0" fmla="*/ 6535879 h 6858000"/>
              <a:gd name="connsiteX1" fmla="*/ 10992168 w 12192000"/>
              <a:gd name="connsiteY1" fmla="*/ 6535879 h 6858000"/>
              <a:gd name="connsiteX2" fmla="*/ 10992168 w 12192000"/>
              <a:gd name="connsiteY2" fmla="*/ 6598745 h 6858000"/>
              <a:gd name="connsiteX3" fmla="*/ 10909343 w 12192000"/>
              <a:gd name="connsiteY3" fmla="*/ 6598745 h 6858000"/>
              <a:gd name="connsiteX4" fmla="*/ 11563256 w 12192000"/>
              <a:gd name="connsiteY4" fmla="*/ 6534690 h 6858000"/>
              <a:gd name="connsiteX5" fmla="*/ 11619215 w 12192000"/>
              <a:gd name="connsiteY5" fmla="*/ 6534690 h 6858000"/>
              <a:gd name="connsiteX6" fmla="*/ 11630409 w 12192000"/>
              <a:gd name="connsiteY6" fmla="*/ 6542786 h 6858000"/>
              <a:gd name="connsiteX7" fmla="*/ 11630409 w 12192000"/>
              <a:gd name="connsiteY7" fmla="*/ 6554455 h 6858000"/>
              <a:gd name="connsiteX8" fmla="*/ 11619215 w 12192000"/>
              <a:gd name="connsiteY8" fmla="*/ 6562550 h 6858000"/>
              <a:gd name="connsiteX9" fmla="*/ 11563256 w 12192000"/>
              <a:gd name="connsiteY9" fmla="*/ 6562550 h 6858000"/>
              <a:gd name="connsiteX10" fmla="*/ 10910306 w 12192000"/>
              <a:gd name="connsiteY10" fmla="*/ 6517318 h 6858000"/>
              <a:gd name="connsiteX11" fmla="*/ 10883590 w 12192000"/>
              <a:gd name="connsiteY11" fmla="*/ 6541122 h 6858000"/>
              <a:gd name="connsiteX12" fmla="*/ 10883590 w 12192000"/>
              <a:gd name="connsiteY12" fmla="*/ 6594223 h 6858000"/>
              <a:gd name="connsiteX13" fmla="*/ 10910306 w 12192000"/>
              <a:gd name="connsiteY13" fmla="*/ 6618042 h 6858000"/>
              <a:gd name="connsiteX14" fmla="*/ 10989730 w 12192000"/>
              <a:gd name="connsiteY14" fmla="*/ 6618042 h 6858000"/>
              <a:gd name="connsiteX15" fmla="*/ 11016446 w 12192000"/>
              <a:gd name="connsiteY15" fmla="*/ 6594223 h 6858000"/>
              <a:gd name="connsiteX16" fmla="*/ 11016446 w 12192000"/>
              <a:gd name="connsiteY16" fmla="*/ 6541122 h 6858000"/>
              <a:gd name="connsiteX17" fmla="*/ 10989730 w 12192000"/>
              <a:gd name="connsiteY17" fmla="*/ 6517318 h 6858000"/>
              <a:gd name="connsiteX18" fmla="*/ 11538985 w 12192000"/>
              <a:gd name="connsiteY18" fmla="*/ 6517311 h 6858000"/>
              <a:gd name="connsiteX19" fmla="*/ 11538985 w 12192000"/>
              <a:gd name="connsiteY19" fmla="*/ 6618035 h 6858000"/>
              <a:gd name="connsiteX20" fmla="*/ 11563263 w 12192000"/>
              <a:gd name="connsiteY20" fmla="*/ 6618035 h 6858000"/>
              <a:gd name="connsiteX21" fmla="*/ 11563263 w 12192000"/>
              <a:gd name="connsiteY21" fmla="*/ 6579929 h 6858000"/>
              <a:gd name="connsiteX22" fmla="*/ 11586360 w 12192000"/>
              <a:gd name="connsiteY22" fmla="*/ 6579929 h 6858000"/>
              <a:gd name="connsiteX23" fmla="*/ 11628506 w 12192000"/>
              <a:gd name="connsiteY23" fmla="*/ 6618035 h 6858000"/>
              <a:gd name="connsiteX24" fmla="*/ 11663753 w 12192000"/>
              <a:gd name="connsiteY24" fmla="*/ 6618035 h 6858000"/>
              <a:gd name="connsiteX25" fmla="*/ 11615897 w 12192000"/>
              <a:gd name="connsiteY25" fmla="*/ 6579929 h 6858000"/>
              <a:gd name="connsiteX26" fmla="*/ 11629710 w 12192000"/>
              <a:gd name="connsiteY26" fmla="*/ 6579929 h 6858000"/>
              <a:gd name="connsiteX27" fmla="*/ 11653280 w 12192000"/>
              <a:gd name="connsiteY27" fmla="*/ 6560639 h 6858000"/>
              <a:gd name="connsiteX28" fmla="*/ 11653280 w 12192000"/>
              <a:gd name="connsiteY28" fmla="*/ 6536835 h 6858000"/>
              <a:gd name="connsiteX29" fmla="*/ 11629710 w 12192000"/>
              <a:gd name="connsiteY29" fmla="*/ 6517311 h 6858000"/>
              <a:gd name="connsiteX30" fmla="*/ 11401645 w 12192000"/>
              <a:gd name="connsiteY30" fmla="*/ 6517311 h 6858000"/>
              <a:gd name="connsiteX31" fmla="*/ 11401645 w 12192000"/>
              <a:gd name="connsiteY31" fmla="*/ 6618035 h 6858000"/>
              <a:gd name="connsiteX32" fmla="*/ 11513119 w 12192000"/>
              <a:gd name="connsiteY32" fmla="*/ 6618035 h 6858000"/>
              <a:gd name="connsiteX33" fmla="*/ 11513119 w 12192000"/>
              <a:gd name="connsiteY33" fmla="*/ 6599219 h 6858000"/>
              <a:gd name="connsiteX34" fmla="*/ 11426909 w 12192000"/>
              <a:gd name="connsiteY34" fmla="*/ 6599219 h 6858000"/>
              <a:gd name="connsiteX35" fmla="*/ 11426909 w 12192000"/>
              <a:gd name="connsiteY35" fmla="*/ 6574452 h 6858000"/>
              <a:gd name="connsiteX36" fmla="*/ 11476458 w 12192000"/>
              <a:gd name="connsiteY36" fmla="*/ 6574452 h 6858000"/>
              <a:gd name="connsiteX37" fmla="*/ 11476458 w 12192000"/>
              <a:gd name="connsiteY37" fmla="*/ 6557073 h 6858000"/>
              <a:gd name="connsiteX38" fmla="*/ 11426909 w 12192000"/>
              <a:gd name="connsiteY38" fmla="*/ 6557073 h 6858000"/>
              <a:gd name="connsiteX39" fmla="*/ 11426909 w 12192000"/>
              <a:gd name="connsiteY39" fmla="*/ 6535179 h 6858000"/>
              <a:gd name="connsiteX40" fmla="*/ 11511908 w 12192000"/>
              <a:gd name="connsiteY40" fmla="*/ 6535179 h 6858000"/>
              <a:gd name="connsiteX41" fmla="*/ 11511908 w 12192000"/>
              <a:gd name="connsiteY41" fmla="*/ 6517311 h 6858000"/>
              <a:gd name="connsiteX42" fmla="*/ 11225454 w 12192000"/>
              <a:gd name="connsiteY42" fmla="*/ 6517311 h 6858000"/>
              <a:gd name="connsiteX43" fmla="*/ 11225454 w 12192000"/>
              <a:gd name="connsiteY43" fmla="*/ 6618035 h 6858000"/>
              <a:gd name="connsiteX44" fmla="*/ 11248423 w 12192000"/>
              <a:gd name="connsiteY44" fmla="*/ 6618035 h 6858000"/>
              <a:gd name="connsiteX45" fmla="*/ 11248423 w 12192000"/>
              <a:gd name="connsiteY45" fmla="*/ 6550414 h 6858000"/>
              <a:gd name="connsiteX46" fmla="*/ 11294805 w 12192000"/>
              <a:gd name="connsiteY46" fmla="*/ 6605892 h 6858000"/>
              <a:gd name="connsiteX47" fmla="*/ 11299665 w 12192000"/>
              <a:gd name="connsiteY47" fmla="*/ 6605892 h 6858000"/>
              <a:gd name="connsiteX48" fmla="*/ 11345558 w 12192000"/>
              <a:gd name="connsiteY48" fmla="*/ 6548737 h 6858000"/>
              <a:gd name="connsiteX49" fmla="*/ 11345558 w 12192000"/>
              <a:gd name="connsiteY49" fmla="*/ 6618035 h 6858000"/>
              <a:gd name="connsiteX50" fmla="*/ 11368873 w 12192000"/>
              <a:gd name="connsiteY50" fmla="*/ 6618035 h 6858000"/>
              <a:gd name="connsiteX51" fmla="*/ 11368873 w 12192000"/>
              <a:gd name="connsiteY51" fmla="*/ 6517311 h 6858000"/>
              <a:gd name="connsiteX52" fmla="*/ 11348725 w 12192000"/>
              <a:gd name="connsiteY52" fmla="*/ 6517311 h 6858000"/>
              <a:gd name="connsiteX53" fmla="*/ 11298687 w 12192000"/>
              <a:gd name="connsiteY53" fmla="*/ 6577070 h 6858000"/>
              <a:gd name="connsiteX54" fmla="*/ 11248423 w 12192000"/>
              <a:gd name="connsiteY54" fmla="*/ 6517311 h 6858000"/>
              <a:gd name="connsiteX55" fmla="*/ 11048135 w 12192000"/>
              <a:gd name="connsiteY55" fmla="*/ 6517311 h 6858000"/>
              <a:gd name="connsiteX56" fmla="*/ 11048135 w 12192000"/>
              <a:gd name="connsiteY56" fmla="*/ 6618035 h 6858000"/>
              <a:gd name="connsiteX57" fmla="*/ 11071096 w 12192000"/>
              <a:gd name="connsiteY57" fmla="*/ 6618035 h 6858000"/>
              <a:gd name="connsiteX58" fmla="*/ 11071096 w 12192000"/>
              <a:gd name="connsiteY58" fmla="*/ 6550414 h 6858000"/>
              <a:gd name="connsiteX59" fmla="*/ 11117478 w 12192000"/>
              <a:gd name="connsiteY59" fmla="*/ 6605892 h 6858000"/>
              <a:gd name="connsiteX60" fmla="*/ 11122331 w 12192000"/>
              <a:gd name="connsiteY60" fmla="*/ 6605892 h 6858000"/>
              <a:gd name="connsiteX61" fmla="*/ 11168239 w 12192000"/>
              <a:gd name="connsiteY61" fmla="*/ 6548737 h 6858000"/>
              <a:gd name="connsiteX62" fmla="*/ 11168239 w 12192000"/>
              <a:gd name="connsiteY62" fmla="*/ 6618035 h 6858000"/>
              <a:gd name="connsiteX63" fmla="*/ 11191554 w 12192000"/>
              <a:gd name="connsiteY63" fmla="*/ 6618035 h 6858000"/>
              <a:gd name="connsiteX64" fmla="*/ 11191554 w 12192000"/>
              <a:gd name="connsiteY64" fmla="*/ 6517311 h 6858000"/>
              <a:gd name="connsiteX65" fmla="*/ 11171399 w 12192000"/>
              <a:gd name="connsiteY65" fmla="*/ 6517311 h 6858000"/>
              <a:gd name="connsiteX66" fmla="*/ 11121368 w 12192000"/>
              <a:gd name="connsiteY66" fmla="*/ 6577070 h 6858000"/>
              <a:gd name="connsiteX67" fmla="*/ 11071096 w 12192000"/>
              <a:gd name="connsiteY67" fmla="*/ 6517311 h 6858000"/>
              <a:gd name="connsiteX68" fmla="*/ 10752277 w 12192000"/>
              <a:gd name="connsiteY68" fmla="*/ 6495162 h 6858000"/>
              <a:gd name="connsiteX69" fmla="*/ 10721799 w 12192000"/>
              <a:gd name="connsiteY69" fmla="*/ 6524218 h 6858000"/>
              <a:gd name="connsiteX70" fmla="*/ 10721799 w 12192000"/>
              <a:gd name="connsiteY70" fmla="*/ 6537775 h 6858000"/>
              <a:gd name="connsiteX71" fmla="*/ 10752277 w 12192000"/>
              <a:gd name="connsiteY71" fmla="*/ 6566830 h 6858000"/>
              <a:gd name="connsiteX72" fmla="*/ 10828955 w 12192000"/>
              <a:gd name="connsiteY72" fmla="*/ 6566830 h 6858000"/>
              <a:gd name="connsiteX73" fmla="*/ 10828955 w 12192000"/>
              <a:gd name="connsiteY73" fmla="*/ 6594930 h 6858000"/>
              <a:gd name="connsiteX74" fmla="*/ 10742052 w 12192000"/>
              <a:gd name="connsiteY74" fmla="*/ 6594930 h 6858000"/>
              <a:gd name="connsiteX75" fmla="*/ 10742052 w 12192000"/>
              <a:gd name="connsiteY75" fmla="*/ 6581704 h 6858000"/>
              <a:gd name="connsiteX76" fmla="*/ 10716796 w 12192000"/>
              <a:gd name="connsiteY76" fmla="*/ 6586948 h 6858000"/>
              <a:gd name="connsiteX77" fmla="*/ 10716796 w 12192000"/>
              <a:gd name="connsiteY77" fmla="*/ 6588979 h 6858000"/>
              <a:gd name="connsiteX78" fmla="*/ 10747514 w 12192000"/>
              <a:gd name="connsiteY78" fmla="*/ 6618027 h 6858000"/>
              <a:gd name="connsiteX79" fmla="*/ 10823486 w 12192000"/>
              <a:gd name="connsiteY79" fmla="*/ 6618027 h 6858000"/>
              <a:gd name="connsiteX80" fmla="*/ 10854204 w 12192000"/>
              <a:gd name="connsiteY80" fmla="*/ 6588979 h 6858000"/>
              <a:gd name="connsiteX81" fmla="*/ 10854204 w 12192000"/>
              <a:gd name="connsiteY81" fmla="*/ 6572074 h 6858000"/>
              <a:gd name="connsiteX82" fmla="*/ 10823486 w 12192000"/>
              <a:gd name="connsiteY82" fmla="*/ 6543019 h 6858000"/>
              <a:gd name="connsiteX83" fmla="*/ 10746799 w 12192000"/>
              <a:gd name="connsiteY83" fmla="*/ 6543019 h 6858000"/>
              <a:gd name="connsiteX84" fmla="*/ 10746799 w 12192000"/>
              <a:gd name="connsiteY84" fmla="*/ 6516596 h 6858000"/>
              <a:gd name="connsiteX85" fmla="*/ 10827285 w 12192000"/>
              <a:gd name="connsiteY85" fmla="*/ 6516596 h 6858000"/>
              <a:gd name="connsiteX86" fmla="*/ 10827285 w 12192000"/>
              <a:gd name="connsiteY86" fmla="*/ 6529905 h 6858000"/>
              <a:gd name="connsiteX87" fmla="*/ 10852526 w 12192000"/>
              <a:gd name="connsiteY87" fmla="*/ 6523954 h 6858000"/>
              <a:gd name="connsiteX88" fmla="*/ 10852526 w 12192000"/>
              <a:gd name="connsiteY88" fmla="*/ 6522074 h 6858000"/>
              <a:gd name="connsiteX89" fmla="*/ 10822049 w 12192000"/>
              <a:gd name="connsiteY89" fmla="*/ 6495162 h 6858000"/>
              <a:gd name="connsiteX90" fmla="*/ 11554221 w 12192000"/>
              <a:gd name="connsiteY90" fmla="*/ 6392873 h 6858000"/>
              <a:gd name="connsiteX91" fmla="*/ 11591123 w 12192000"/>
              <a:gd name="connsiteY91" fmla="*/ 6423591 h 6858000"/>
              <a:gd name="connsiteX92" fmla="*/ 11579695 w 12192000"/>
              <a:gd name="connsiteY92" fmla="*/ 6433349 h 6858000"/>
              <a:gd name="connsiteX93" fmla="*/ 11522795 w 12192000"/>
              <a:gd name="connsiteY93" fmla="*/ 6433349 h 6858000"/>
              <a:gd name="connsiteX94" fmla="*/ 11522795 w 12192000"/>
              <a:gd name="connsiteY94" fmla="*/ 6433342 h 6858000"/>
              <a:gd name="connsiteX95" fmla="*/ 11522795 w 12192000"/>
              <a:gd name="connsiteY95" fmla="*/ 6412396 h 6858000"/>
              <a:gd name="connsiteX96" fmla="*/ 10923532 w 12192000"/>
              <a:gd name="connsiteY96" fmla="*/ 6371439 h 6858000"/>
              <a:gd name="connsiteX97" fmla="*/ 10979491 w 12192000"/>
              <a:gd name="connsiteY97" fmla="*/ 6371439 h 6858000"/>
              <a:gd name="connsiteX98" fmla="*/ 10990685 w 12192000"/>
              <a:gd name="connsiteY98" fmla="*/ 6379534 h 6858000"/>
              <a:gd name="connsiteX99" fmla="*/ 10990685 w 12192000"/>
              <a:gd name="connsiteY99" fmla="*/ 6391203 h 6858000"/>
              <a:gd name="connsiteX100" fmla="*/ 10979491 w 12192000"/>
              <a:gd name="connsiteY100" fmla="*/ 6399298 h 6858000"/>
              <a:gd name="connsiteX101" fmla="*/ 10923532 w 12192000"/>
              <a:gd name="connsiteY101" fmla="*/ 6399298 h 6858000"/>
              <a:gd name="connsiteX102" fmla="*/ 11349305 w 12192000"/>
              <a:gd name="connsiteY102" fmla="*/ 6354060 h 6858000"/>
              <a:gd name="connsiteX103" fmla="*/ 11322868 w 12192000"/>
              <a:gd name="connsiteY103" fmla="*/ 6377879 h 6858000"/>
              <a:gd name="connsiteX104" fmla="*/ 11322868 w 12192000"/>
              <a:gd name="connsiteY104" fmla="*/ 6389074 h 6858000"/>
              <a:gd name="connsiteX105" fmla="*/ 11349305 w 12192000"/>
              <a:gd name="connsiteY105" fmla="*/ 6412878 h 6858000"/>
              <a:gd name="connsiteX106" fmla="*/ 11414541 w 12192000"/>
              <a:gd name="connsiteY106" fmla="*/ 6412878 h 6858000"/>
              <a:gd name="connsiteX107" fmla="*/ 11414541 w 12192000"/>
              <a:gd name="connsiteY107" fmla="*/ 6435983 h 6858000"/>
              <a:gd name="connsiteX108" fmla="*/ 11340480 w 12192000"/>
              <a:gd name="connsiteY108" fmla="*/ 6435983 h 6858000"/>
              <a:gd name="connsiteX109" fmla="*/ 11340480 w 12192000"/>
              <a:gd name="connsiteY109" fmla="*/ 6425375 h 6858000"/>
              <a:gd name="connsiteX110" fmla="*/ 11318587 w 12192000"/>
              <a:gd name="connsiteY110" fmla="*/ 6429430 h 6858000"/>
              <a:gd name="connsiteX111" fmla="*/ 11318587 w 12192000"/>
              <a:gd name="connsiteY111" fmla="*/ 6430980 h 6858000"/>
              <a:gd name="connsiteX112" fmla="*/ 11345009 w 12192000"/>
              <a:gd name="connsiteY112" fmla="*/ 6454784 h 6858000"/>
              <a:gd name="connsiteX113" fmla="*/ 11410501 w 12192000"/>
              <a:gd name="connsiteY113" fmla="*/ 6454784 h 6858000"/>
              <a:gd name="connsiteX114" fmla="*/ 11436690 w 12192000"/>
              <a:gd name="connsiteY114" fmla="*/ 6430980 h 6858000"/>
              <a:gd name="connsiteX115" fmla="*/ 11436690 w 12192000"/>
              <a:gd name="connsiteY115" fmla="*/ 6417166 h 6858000"/>
              <a:gd name="connsiteX116" fmla="*/ 11410501 w 12192000"/>
              <a:gd name="connsiteY116" fmla="*/ 6393362 h 6858000"/>
              <a:gd name="connsiteX117" fmla="*/ 11345009 w 12192000"/>
              <a:gd name="connsiteY117" fmla="*/ 6393362 h 6858000"/>
              <a:gd name="connsiteX118" fmla="*/ 11345009 w 12192000"/>
              <a:gd name="connsiteY118" fmla="*/ 6372154 h 6858000"/>
              <a:gd name="connsiteX119" fmla="*/ 11414300 w 12192000"/>
              <a:gd name="connsiteY119" fmla="*/ 6372154 h 6858000"/>
              <a:gd name="connsiteX120" fmla="*/ 11414300 w 12192000"/>
              <a:gd name="connsiteY120" fmla="*/ 6381565 h 6858000"/>
              <a:gd name="connsiteX121" fmla="*/ 11435486 w 12192000"/>
              <a:gd name="connsiteY121" fmla="*/ 6377051 h 6858000"/>
              <a:gd name="connsiteX122" fmla="*/ 11435486 w 12192000"/>
              <a:gd name="connsiteY122" fmla="*/ 6375968 h 6858000"/>
              <a:gd name="connsiteX123" fmla="*/ 11409064 w 12192000"/>
              <a:gd name="connsiteY123" fmla="*/ 6354060 h 6858000"/>
              <a:gd name="connsiteX124" fmla="*/ 11184971 w 12192000"/>
              <a:gd name="connsiteY124" fmla="*/ 6354060 h 6858000"/>
              <a:gd name="connsiteX125" fmla="*/ 11184971 w 12192000"/>
              <a:gd name="connsiteY125" fmla="*/ 6454776 h 6858000"/>
              <a:gd name="connsiteX126" fmla="*/ 11294264 w 12192000"/>
              <a:gd name="connsiteY126" fmla="*/ 6454776 h 6858000"/>
              <a:gd name="connsiteX127" fmla="*/ 11294264 w 12192000"/>
              <a:gd name="connsiteY127" fmla="*/ 6435967 h 6858000"/>
              <a:gd name="connsiteX128" fmla="*/ 11209738 w 12192000"/>
              <a:gd name="connsiteY128" fmla="*/ 6435967 h 6858000"/>
              <a:gd name="connsiteX129" fmla="*/ 11209738 w 12192000"/>
              <a:gd name="connsiteY129" fmla="*/ 6411200 h 6858000"/>
              <a:gd name="connsiteX130" fmla="*/ 11258310 w 12192000"/>
              <a:gd name="connsiteY130" fmla="*/ 6411200 h 6858000"/>
              <a:gd name="connsiteX131" fmla="*/ 11258310 w 12192000"/>
              <a:gd name="connsiteY131" fmla="*/ 6393821 h 6858000"/>
              <a:gd name="connsiteX132" fmla="*/ 11209738 w 12192000"/>
              <a:gd name="connsiteY132" fmla="*/ 6393821 h 6858000"/>
              <a:gd name="connsiteX133" fmla="*/ 11209738 w 12192000"/>
              <a:gd name="connsiteY133" fmla="*/ 6371913 h 6858000"/>
              <a:gd name="connsiteX134" fmla="*/ 11293083 w 12192000"/>
              <a:gd name="connsiteY134" fmla="*/ 6371913 h 6858000"/>
              <a:gd name="connsiteX135" fmla="*/ 11293083 w 12192000"/>
              <a:gd name="connsiteY135" fmla="*/ 6354060 h 6858000"/>
              <a:gd name="connsiteX136" fmla="*/ 11047262 w 12192000"/>
              <a:gd name="connsiteY136" fmla="*/ 6354060 h 6858000"/>
              <a:gd name="connsiteX137" fmla="*/ 11047262 w 12192000"/>
              <a:gd name="connsiteY137" fmla="*/ 6454776 h 6858000"/>
              <a:gd name="connsiteX138" fmla="*/ 11156555 w 12192000"/>
              <a:gd name="connsiteY138" fmla="*/ 6454776 h 6858000"/>
              <a:gd name="connsiteX139" fmla="*/ 11156555 w 12192000"/>
              <a:gd name="connsiteY139" fmla="*/ 6435967 h 6858000"/>
              <a:gd name="connsiteX140" fmla="*/ 11072029 w 12192000"/>
              <a:gd name="connsiteY140" fmla="*/ 6435967 h 6858000"/>
              <a:gd name="connsiteX141" fmla="*/ 11072029 w 12192000"/>
              <a:gd name="connsiteY141" fmla="*/ 6411200 h 6858000"/>
              <a:gd name="connsiteX142" fmla="*/ 11120601 w 12192000"/>
              <a:gd name="connsiteY142" fmla="*/ 6411200 h 6858000"/>
              <a:gd name="connsiteX143" fmla="*/ 11120601 w 12192000"/>
              <a:gd name="connsiteY143" fmla="*/ 6393821 h 6858000"/>
              <a:gd name="connsiteX144" fmla="*/ 11072029 w 12192000"/>
              <a:gd name="connsiteY144" fmla="*/ 6393821 h 6858000"/>
              <a:gd name="connsiteX145" fmla="*/ 11072029 w 12192000"/>
              <a:gd name="connsiteY145" fmla="*/ 6371913 h 6858000"/>
              <a:gd name="connsiteX146" fmla="*/ 11155374 w 12192000"/>
              <a:gd name="connsiteY146" fmla="*/ 6371913 h 6858000"/>
              <a:gd name="connsiteX147" fmla="*/ 11155374 w 12192000"/>
              <a:gd name="connsiteY147" fmla="*/ 6354060 h 6858000"/>
              <a:gd name="connsiteX148" fmla="*/ 10899246 w 12192000"/>
              <a:gd name="connsiteY148" fmla="*/ 6354060 h 6858000"/>
              <a:gd name="connsiteX149" fmla="*/ 10899246 w 12192000"/>
              <a:gd name="connsiteY149" fmla="*/ 6454776 h 6858000"/>
              <a:gd name="connsiteX150" fmla="*/ 10923539 w 12192000"/>
              <a:gd name="connsiteY150" fmla="*/ 6454776 h 6858000"/>
              <a:gd name="connsiteX151" fmla="*/ 10923539 w 12192000"/>
              <a:gd name="connsiteY151" fmla="*/ 6416670 h 6858000"/>
              <a:gd name="connsiteX152" fmla="*/ 10946636 w 12192000"/>
              <a:gd name="connsiteY152" fmla="*/ 6416670 h 6858000"/>
              <a:gd name="connsiteX153" fmla="*/ 10988782 w 12192000"/>
              <a:gd name="connsiteY153" fmla="*/ 6454776 h 6858000"/>
              <a:gd name="connsiteX154" fmla="*/ 11024029 w 12192000"/>
              <a:gd name="connsiteY154" fmla="*/ 6454776 h 6858000"/>
              <a:gd name="connsiteX155" fmla="*/ 10976158 w 12192000"/>
              <a:gd name="connsiteY155" fmla="*/ 6416670 h 6858000"/>
              <a:gd name="connsiteX156" fmla="*/ 10989971 w 12192000"/>
              <a:gd name="connsiteY156" fmla="*/ 6416670 h 6858000"/>
              <a:gd name="connsiteX157" fmla="*/ 11013549 w 12192000"/>
              <a:gd name="connsiteY157" fmla="*/ 6397395 h 6858000"/>
              <a:gd name="connsiteX158" fmla="*/ 11013549 w 12192000"/>
              <a:gd name="connsiteY158" fmla="*/ 6373583 h 6858000"/>
              <a:gd name="connsiteX159" fmla="*/ 10989971 w 12192000"/>
              <a:gd name="connsiteY159" fmla="*/ 6354060 h 6858000"/>
              <a:gd name="connsiteX160" fmla="*/ 10749425 w 12192000"/>
              <a:gd name="connsiteY160" fmla="*/ 6353819 h 6858000"/>
              <a:gd name="connsiteX161" fmla="*/ 10800140 w 12192000"/>
              <a:gd name="connsiteY161" fmla="*/ 6353819 h 6858000"/>
              <a:gd name="connsiteX162" fmla="*/ 10840624 w 12192000"/>
              <a:gd name="connsiteY162" fmla="*/ 6392158 h 6858000"/>
              <a:gd name="connsiteX163" fmla="*/ 10786327 w 12192000"/>
              <a:gd name="connsiteY163" fmla="*/ 6431686 h 6858000"/>
              <a:gd name="connsiteX164" fmla="*/ 10749425 w 12192000"/>
              <a:gd name="connsiteY164" fmla="*/ 6431686 h 6858000"/>
              <a:gd name="connsiteX165" fmla="*/ 11558990 w 12192000"/>
              <a:gd name="connsiteY165" fmla="*/ 6331911 h 6858000"/>
              <a:gd name="connsiteX166" fmla="*/ 11528513 w 12192000"/>
              <a:gd name="connsiteY166" fmla="*/ 6354293 h 6858000"/>
              <a:gd name="connsiteX167" fmla="*/ 11528513 w 12192000"/>
              <a:gd name="connsiteY167" fmla="*/ 6361192 h 6858000"/>
              <a:gd name="connsiteX168" fmla="*/ 11538993 w 12192000"/>
              <a:gd name="connsiteY168" fmla="*/ 6379767 h 6858000"/>
              <a:gd name="connsiteX169" fmla="*/ 11513978 w 12192000"/>
              <a:gd name="connsiteY169" fmla="*/ 6394776 h 6858000"/>
              <a:gd name="connsiteX170" fmla="*/ 11498743 w 12192000"/>
              <a:gd name="connsiteY170" fmla="*/ 6417633 h 6858000"/>
              <a:gd name="connsiteX171" fmla="*/ 11498743 w 12192000"/>
              <a:gd name="connsiteY171" fmla="*/ 6425728 h 6858000"/>
              <a:gd name="connsiteX172" fmla="*/ 11529454 w 12192000"/>
              <a:gd name="connsiteY172" fmla="*/ 6454776 h 6858000"/>
              <a:gd name="connsiteX173" fmla="*/ 11573270 w 12192000"/>
              <a:gd name="connsiteY173" fmla="*/ 6454776 h 6858000"/>
              <a:gd name="connsiteX174" fmla="*/ 11596367 w 12192000"/>
              <a:gd name="connsiteY174" fmla="*/ 6447388 h 6858000"/>
              <a:gd name="connsiteX175" fmla="*/ 11607321 w 12192000"/>
              <a:gd name="connsiteY175" fmla="*/ 6437630 h 6858000"/>
              <a:gd name="connsiteX176" fmla="*/ 11627559 w 12192000"/>
              <a:gd name="connsiteY176" fmla="*/ 6454776 h 6858000"/>
              <a:gd name="connsiteX177" fmla="*/ 11664950 w 12192000"/>
              <a:gd name="connsiteY177" fmla="*/ 6454776 h 6858000"/>
              <a:gd name="connsiteX178" fmla="*/ 11626137 w 12192000"/>
              <a:gd name="connsiteY178" fmla="*/ 6422147 h 6858000"/>
              <a:gd name="connsiteX179" fmla="*/ 11654470 w 12192000"/>
              <a:gd name="connsiteY179" fmla="*/ 6398583 h 6858000"/>
              <a:gd name="connsiteX180" fmla="*/ 11638272 w 12192000"/>
              <a:gd name="connsiteY180" fmla="*/ 6384537 h 6858000"/>
              <a:gd name="connsiteX181" fmla="*/ 11609698 w 12192000"/>
              <a:gd name="connsiteY181" fmla="*/ 6408341 h 6858000"/>
              <a:gd name="connsiteX182" fmla="*/ 11551836 w 12192000"/>
              <a:gd name="connsiteY182" fmla="*/ 6360244 h 6858000"/>
              <a:gd name="connsiteX183" fmla="*/ 11551836 w 12192000"/>
              <a:gd name="connsiteY183" fmla="*/ 6351434 h 6858000"/>
              <a:gd name="connsiteX184" fmla="*/ 11592086 w 12192000"/>
              <a:gd name="connsiteY184" fmla="*/ 6351434 h 6858000"/>
              <a:gd name="connsiteX185" fmla="*/ 11592086 w 12192000"/>
              <a:gd name="connsiteY185" fmla="*/ 6367873 h 6858000"/>
              <a:gd name="connsiteX186" fmla="*/ 11614220 w 12192000"/>
              <a:gd name="connsiteY186" fmla="*/ 6364066 h 6858000"/>
              <a:gd name="connsiteX187" fmla="*/ 11614220 w 12192000"/>
              <a:gd name="connsiteY187" fmla="*/ 6356678 h 6858000"/>
              <a:gd name="connsiteX188" fmla="*/ 11583742 w 12192000"/>
              <a:gd name="connsiteY188" fmla="*/ 6331911 h 6858000"/>
              <a:gd name="connsiteX189" fmla="*/ 10720851 w 12192000"/>
              <a:gd name="connsiteY189" fmla="*/ 6331911 h 6858000"/>
              <a:gd name="connsiteX190" fmla="*/ 10720851 w 12192000"/>
              <a:gd name="connsiteY190" fmla="*/ 6454776 h 6858000"/>
              <a:gd name="connsiteX191" fmla="*/ 10792527 w 12192000"/>
              <a:gd name="connsiteY191" fmla="*/ 6454776 h 6858000"/>
              <a:gd name="connsiteX192" fmla="*/ 10843009 w 12192000"/>
              <a:gd name="connsiteY192" fmla="*/ 6445259 h 6858000"/>
              <a:gd name="connsiteX193" fmla="*/ 10870146 w 12192000"/>
              <a:gd name="connsiteY193" fmla="*/ 6392632 h 6858000"/>
              <a:gd name="connsiteX194" fmla="*/ 10799900 w 12192000"/>
              <a:gd name="connsiteY194" fmla="*/ 6331911 h 6858000"/>
              <a:gd name="connsiteX195" fmla="*/ 0 w 12192000"/>
              <a:gd name="connsiteY195" fmla="*/ 0 h 6858000"/>
              <a:gd name="connsiteX196" fmla="*/ 12192000 w 12192000"/>
              <a:gd name="connsiteY196" fmla="*/ 0 h 6858000"/>
              <a:gd name="connsiteX197" fmla="*/ 12192000 w 12192000"/>
              <a:gd name="connsiteY197" fmla="*/ 6858000 h 6858000"/>
              <a:gd name="connsiteX198" fmla="*/ 0 w 12192000"/>
              <a:gd name="connsiteY19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Lst>
            <a:rect l="l" t="t" r="r" b="b"/>
            <a:pathLst>
              <a:path w="12192000" h="6858000">
                <a:moveTo>
                  <a:pt x="10909343" y="6535879"/>
                </a:moveTo>
                <a:lnTo>
                  <a:pt x="10992168" y="6535879"/>
                </a:lnTo>
                <a:lnTo>
                  <a:pt x="10992168" y="6598745"/>
                </a:lnTo>
                <a:lnTo>
                  <a:pt x="10909343" y="6598745"/>
                </a:lnTo>
                <a:close/>
                <a:moveTo>
                  <a:pt x="11563256" y="6534690"/>
                </a:moveTo>
                <a:lnTo>
                  <a:pt x="11619215" y="6534690"/>
                </a:lnTo>
                <a:cubicBezTo>
                  <a:pt x="11626587" y="6534690"/>
                  <a:pt x="11630409" y="6536127"/>
                  <a:pt x="11630409" y="6542786"/>
                </a:cubicBezTo>
                <a:lnTo>
                  <a:pt x="11630409" y="6554455"/>
                </a:lnTo>
                <a:cubicBezTo>
                  <a:pt x="11630409" y="6561128"/>
                  <a:pt x="11626587" y="6562550"/>
                  <a:pt x="11619215" y="6562550"/>
                </a:cubicBezTo>
                <a:lnTo>
                  <a:pt x="11563256" y="6562550"/>
                </a:lnTo>
                <a:close/>
                <a:moveTo>
                  <a:pt x="10910306" y="6517318"/>
                </a:moveTo>
                <a:cubicBezTo>
                  <a:pt x="10890158" y="6517318"/>
                  <a:pt x="10883590" y="6521832"/>
                  <a:pt x="10883590" y="6541122"/>
                </a:cubicBezTo>
                <a:lnTo>
                  <a:pt x="10883590" y="6594223"/>
                </a:lnTo>
                <a:cubicBezTo>
                  <a:pt x="10883590" y="6613272"/>
                  <a:pt x="10889902" y="6618042"/>
                  <a:pt x="10910306" y="6618042"/>
                </a:cubicBezTo>
                <a:lnTo>
                  <a:pt x="10989730" y="6618042"/>
                </a:lnTo>
                <a:cubicBezTo>
                  <a:pt x="11009886" y="6618042"/>
                  <a:pt x="11016446" y="6613272"/>
                  <a:pt x="11016446" y="6594223"/>
                </a:cubicBezTo>
                <a:lnTo>
                  <a:pt x="11016446" y="6541122"/>
                </a:lnTo>
                <a:cubicBezTo>
                  <a:pt x="11016446" y="6521832"/>
                  <a:pt x="11009878" y="6517318"/>
                  <a:pt x="10989730" y="6517318"/>
                </a:cubicBezTo>
                <a:close/>
                <a:moveTo>
                  <a:pt x="11538985" y="6517311"/>
                </a:moveTo>
                <a:lnTo>
                  <a:pt x="11538985" y="6618035"/>
                </a:lnTo>
                <a:lnTo>
                  <a:pt x="11563263" y="6618035"/>
                </a:lnTo>
                <a:lnTo>
                  <a:pt x="11563263" y="6579929"/>
                </a:lnTo>
                <a:lnTo>
                  <a:pt x="11586360" y="6579929"/>
                </a:lnTo>
                <a:lnTo>
                  <a:pt x="11628506" y="6618035"/>
                </a:lnTo>
                <a:lnTo>
                  <a:pt x="11663753" y="6618035"/>
                </a:lnTo>
                <a:lnTo>
                  <a:pt x="11615897" y="6579929"/>
                </a:lnTo>
                <a:lnTo>
                  <a:pt x="11629710" y="6579929"/>
                </a:lnTo>
                <a:cubicBezTo>
                  <a:pt x="11645892" y="6579929"/>
                  <a:pt x="11653280" y="6574452"/>
                  <a:pt x="11653280" y="6560639"/>
                </a:cubicBezTo>
                <a:lnTo>
                  <a:pt x="11653280" y="6536835"/>
                </a:lnTo>
                <a:cubicBezTo>
                  <a:pt x="11653280" y="6522788"/>
                  <a:pt x="11645892" y="6517311"/>
                  <a:pt x="11629710" y="6517311"/>
                </a:cubicBezTo>
                <a:close/>
                <a:moveTo>
                  <a:pt x="11401645" y="6517311"/>
                </a:moveTo>
                <a:lnTo>
                  <a:pt x="11401645" y="6618035"/>
                </a:lnTo>
                <a:lnTo>
                  <a:pt x="11513119" y="6618035"/>
                </a:lnTo>
                <a:lnTo>
                  <a:pt x="11513119" y="6599219"/>
                </a:lnTo>
                <a:lnTo>
                  <a:pt x="11426909" y="6599219"/>
                </a:lnTo>
                <a:lnTo>
                  <a:pt x="11426909" y="6574452"/>
                </a:lnTo>
                <a:lnTo>
                  <a:pt x="11476458" y="6574452"/>
                </a:lnTo>
                <a:lnTo>
                  <a:pt x="11476458" y="6557073"/>
                </a:lnTo>
                <a:lnTo>
                  <a:pt x="11426909" y="6557073"/>
                </a:lnTo>
                <a:lnTo>
                  <a:pt x="11426909" y="6535179"/>
                </a:lnTo>
                <a:lnTo>
                  <a:pt x="11511908" y="6535179"/>
                </a:lnTo>
                <a:lnTo>
                  <a:pt x="11511908" y="6517311"/>
                </a:lnTo>
                <a:close/>
                <a:moveTo>
                  <a:pt x="11225454" y="6517311"/>
                </a:moveTo>
                <a:lnTo>
                  <a:pt x="11225454" y="6618035"/>
                </a:lnTo>
                <a:lnTo>
                  <a:pt x="11248423" y="6618035"/>
                </a:lnTo>
                <a:lnTo>
                  <a:pt x="11248423" y="6550414"/>
                </a:lnTo>
                <a:lnTo>
                  <a:pt x="11294805" y="6605892"/>
                </a:lnTo>
                <a:lnTo>
                  <a:pt x="11299665" y="6605892"/>
                </a:lnTo>
                <a:lnTo>
                  <a:pt x="11345558" y="6548737"/>
                </a:lnTo>
                <a:lnTo>
                  <a:pt x="11345558" y="6618035"/>
                </a:lnTo>
                <a:lnTo>
                  <a:pt x="11368873" y="6618035"/>
                </a:lnTo>
                <a:lnTo>
                  <a:pt x="11368873" y="6517311"/>
                </a:lnTo>
                <a:lnTo>
                  <a:pt x="11348725" y="6517311"/>
                </a:lnTo>
                <a:lnTo>
                  <a:pt x="11298687" y="6577070"/>
                </a:lnTo>
                <a:lnTo>
                  <a:pt x="11248423" y="6517311"/>
                </a:lnTo>
                <a:close/>
                <a:moveTo>
                  <a:pt x="11048135" y="6517311"/>
                </a:moveTo>
                <a:lnTo>
                  <a:pt x="11048135" y="6618035"/>
                </a:lnTo>
                <a:lnTo>
                  <a:pt x="11071096" y="6618035"/>
                </a:lnTo>
                <a:lnTo>
                  <a:pt x="11071096" y="6550414"/>
                </a:lnTo>
                <a:lnTo>
                  <a:pt x="11117478" y="6605892"/>
                </a:lnTo>
                <a:lnTo>
                  <a:pt x="11122331" y="6605892"/>
                </a:lnTo>
                <a:lnTo>
                  <a:pt x="11168239" y="6548737"/>
                </a:lnTo>
                <a:lnTo>
                  <a:pt x="11168239" y="6618035"/>
                </a:lnTo>
                <a:lnTo>
                  <a:pt x="11191554" y="6618035"/>
                </a:lnTo>
                <a:lnTo>
                  <a:pt x="11191554" y="6517311"/>
                </a:lnTo>
                <a:lnTo>
                  <a:pt x="11171399" y="6517311"/>
                </a:lnTo>
                <a:lnTo>
                  <a:pt x="11121368" y="6577070"/>
                </a:lnTo>
                <a:lnTo>
                  <a:pt x="11071096" y="6517311"/>
                </a:lnTo>
                <a:close/>
                <a:moveTo>
                  <a:pt x="10752277" y="6495162"/>
                </a:moveTo>
                <a:cubicBezTo>
                  <a:pt x="10729180" y="6495162"/>
                  <a:pt x="10721799" y="6501113"/>
                  <a:pt x="10721799" y="6524218"/>
                </a:cubicBezTo>
                <a:lnTo>
                  <a:pt x="10721799" y="6537775"/>
                </a:lnTo>
                <a:cubicBezTo>
                  <a:pt x="10721799" y="6560879"/>
                  <a:pt x="10729187" y="6566830"/>
                  <a:pt x="10752277" y="6566830"/>
                </a:cubicBezTo>
                <a:lnTo>
                  <a:pt x="10828955" y="6566830"/>
                </a:lnTo>
                <a:lnTo>
                  <a:pt x="10828955" y="6594930"/>
                </a:lnTo>
                <a:lnTo>
                  <a:pt x="10742052" y="6594930"/>
                </a:lnTo>
                <a:lnTo>
                  <a:pt x="10742052" y="6581704"/>
                </a:lnTo>
                <a:lnTo>
                  <a:pt x="10716796" y="6586948"/>
                </a:lnTo>
                <a:lnTo>
                  <a:pt x="10716796" y="6588979"/>
                </a:lnTo>
                <a:cubicBezTo>
                  <a:pt x="10716796" y="6612076"/>
                  <a:pt x="10724417" y="6618027"/>
                  <a:pt x="10747514" y="6618027"/>
                </a:cubicBezTo>
                <a:lnTo>
                  <a:pt x="10823486" y="6618027"/>
                </a:lnTo>
                <a:cubicBezTo>
                  <a:pt x="10846583" y="6618027"/>
                  <a:pt x="10854204" y="6612076"/>
                  <a:pt x="10854204" y="6588979"/>
                </a:cubicBezTo>
                <a:lnTo>
                  <a:pt x="10854204" y="6572074"/>
                </a:lnTo>
                <a:cubicBezTo>
                  <a:pt x="10854204" y="6548970"/>
                  <a:pt x="10846583" y="6543019"/>
                  <a:pt x="10823486" y="6543019"/>
                </a:cubicBezTo>
                <a:lnTo>
                  <a:pt x="10746799" y="6543019"/>
                </a:lnTo>
                <a:lnTo>
                  <a:pt x="10746799" y="6516596"/>
                </a:lnTo>
                <a:lnTo>
                  <a:pt x="10827285" y="6516596"/>
                </a:lnTo>
                <a:lnTo>
                  <a:pt x="10827285" y="6529905"/>
                </a:lnTo>
                <a:lnTo>
                  <a:pt x="10852526" y="6523954"/>
                </a:lnTo>
                <a:lnTo>
                  <a:pt x="10852526" y="6522074"/>
                </a:lnTo>
                <a:cubicBezTo>
                  <a:pt x="10852526" y="6500872"/>
                  <a:pt x="10843957" y="6495162"/>
                  <a:pt x="10822049" y="6495162"/>
                </a:cubicBezTo>
                <a:close/>
                <a:moveTo>
                  <a:pt x="11554221" y="6392873"/>
                </a:moveTo>
                <a:lnTo>
                  <a:pt x="11591123" y="6423591"/>
                </a:lnTo>
                <a:lnTo>
                  <a:pt x="11579695" y="6433349"/>
                </a:lnTo>
                <a:lnTo>
                  <a:pt x="11522795" y="6433349"/>
                </a:lnTo>
                <a:lnTo>
                  <a:pt x="11522795" y="6433342"/>
                </a:lnTo>
                <a:lnTo>
                  <a:pt x="11522795" y="6412396"/>
                </a:lnTo>
                <a:close/>
                <a:moveTo>
                  <a:pt x="10923532" y="6371439"/>
                </a:moveTo>
                <a:lnTo>
                  <a:pt x="10979491" y="6371439"/>
                </a:lnTo>
                <a:cubicBezTo>
                  <a:pt x="10986864" y="6371439"/>
                  <a:pt x="10990685" y="6372876"/>
                  <a:pt x="10990685" y="6379534"/>
                </a:cubicBezTo>
                <a:lnTo>
                  <a:pt x="10990685" y="6391203"/>
                </a:lnTo>
                <a:cubicBezTo>
                  <a:pt x="10990685" y="6397876"/>
                  <a:pt x="10986864" y="6399298"/>
                  <a:pt x="10979491" y="6399298"/>
                </a:cubicBezTo>
                <a:lnTo>
                  <a:pt x="10923532" y="6399298"/>
                </a:lnTo>
                <a:close/>
                <a:moveTo>
                  <a:pt x="11349305" y="6354060"/>
                </a:moveTo>
                <a:cubicBezTo>
                  <a:pt x="11329541" y="6354060"/>
                  <a:pt x="11322868" y="6358830"/>
                  <a:pt x="11322868" y="6377879"/>
                </a:cubicBezTo>
                <a:lnTo>
                  <a:pt x="11322868" y="6389074"/>
                </a:lnTo>
                <a:cubicBezTo>
                  <a:pt x="11322868" y="6408123"/>
                  <a:pt x="11329541" y="6412878"/>
                  <a:pt x="11349305" y="6412878"/>
                </a:cubicBezTo>
                <a:lnTo>
                  <a:pt x="11414541" y="6412878"/>
                </a:lnTo>
                <a:lnTo>
                  <a:pt x="11414541" y="6435983"/>
                </a:lnTo>
                <a:lnTo>
                  <a:pt x="11340480" y="6435983"/>
                </a:lnTo>
                <a:lnTo>
                  <a:pt x="11340480" y="6425375"/>
                </a:lnTo>
                <a:lnTo>
                  <a:pt x="11318587" y="6429430"/>
                </a:lnTo>
                <a:lnTo>
                  <a:pt x="11318587" y="6430980"/>
                </a:lnTo>
                <a:cubicBezTo>
                  <a:pt x="11318587" y="6449796"/>
                  <a:pt x="11325012" y="6454784"/>
                  <a:pt x="11345009" y="6454784"/>
                </a:cubicBezTo>
                <a:lnTo>
                  <a:pt x="11410501" y="6454784"/>
                </a:lnTo>
                <a:cubicBezTo>
                  <a:pt x="11430498" y="6454784"/>
                  <a:pt x="11436690" y="6449796"/>
                  <a:pt x="11436690" y="6430980"/>
                </a:cubicBezTo>
                <a:lnTo>
                  <a:pt x="11436690" y="6417166"/>
                </a:lnTo>
                <a:cubicBezTo>
                  <a:pt x="11436690" y="6398117"/>
                  <a:pt x="11430506" y="6393362"/>
                  <a:pt x="11410501" y="6393362"/>
                </a:cubicBezTo>
                <a:lnTo>
                  <a:pt x="11345009" y="6393362"/>
                </a:lnTo>
                <a:lnTo>
                  <a:pt x="11345009" y="6372154"/>
                </a:lnTo>
                <a:lnTo>
                  <a:pt x="11414300" y="6372154"/>
                </a:lnTo>
                <a:lnTo>
                  <a:pt x="11414300" y="6381565"/>
                </a:lnTo>
                <a:lnTo>
                  <a:pt x="11435486" y="6377051"/>
                </a:lnTo>
                <a:lnTo>
                  <a:pt x="11435486" y="6375968"/>
                </a:lnTo>
                <a:cubicBezTo>
                  <a:pt x="11435486" y="6358356"/>
                  <a:pt x="11427639" y="6354060"/>
                  <a:pt x="11409064" y="6354060"/>
                </a:cubicBezTo>
                <a:close/>
                <a:moveTo>
                  <a:pt x="11184971" y="6354060"/>
                </a:moveTo>
                <a:lnTo>
                  <a:pt x="11184971" y="6454776"/>
                </a:lnTo>
                <a:lnTo>
                  <a:pt x="11294264" y="6454776"/>
                </a:lnTo>
                <a:lnTo>
                  <a:pt x="11294264" y="6435967"/>
                </a:lnTo>
                <a:lnTo>
                  <a:pt x="11209738" y="6435967"/>
                </a:lnTo>
                <a:lnTo>
                  <a:pt x="11209738" y="6411200"/>
                </a:lnTo>
                <a:lnTo>
                  <a:pt x="11258310" y="6411200"/>
                </a:lnTo>
                <a:lnTo>
                  <a:pt x="11258310" y="6393821"/>
                </a:lnTo>
                <a:lnTo>
                  <a:pt x="11209738" y="6393821"/>
                </a:lnTo>
                <a:lnTo>
                  <a:pt x="11209738" y="6371913"/>
                </a:lnTo>
                <a:lnTo>
                  <a:pt x="11293083" y="6371913"/>
                </a:lnTo>
                <a:lnTo>
                  <a:pt x="11293083" y="6354060"/>
                </a:lnTo>
                <a:close/>
                <a:moveTo>
                  <a:pt x="11047262" y="6354060"/>
                </a:moveTo>
                <a:lnTo>
                  <a:pt x="11047262" y="6454776"/>
                </a:lnTo>
                <a:lnTo>
                  <a:pt x="11156555" y="6454776"/>
                </a:lnTo>
                <a:lnTo>
                  <a:pt x="11156555" y="6435967"/>
                </a:lnTo>
                <a:lnTo>
                  <a:pt x="11072029" y="6435967"/>
                </a:lnTo>
                <a:lnTo>
                  <a:pt x="11072029" y="6411200"/>
                </a:lnTo>
                <a:lnTo>
                  <a:pt x="11120601" y="6411200"/>
                </a:lnTo>
                <a:lnTo>
                  <a:pt x="11120601" y="6393821"/>
                </a:lnTo>
                <a:lnTo>
                  <a:pt x="11072029" y="6393821"/>
                </a:lnTo>
                <a:lnTo>
                  <a:pt x="11072029" y="6371913"/>
                </a:lnTo>
                <a:lnTo>
                  <a:pt x="11155374" y="6371913"/>
                </a:lnTo>
                <a:lnTo>
                  <a:pt x="11155374" y="6354060"/>
                </a:lnTo>
                <a:close/>
                <a:moveTo>
                  <a:pt x="10899246" y="6354060"/>
                </a:moveTo>
                <a:lnTo>
                  <a:pt x="10899246" y="6454776"/>
                </a:lnTo>
                <a:lnTo>
                  <a:pt x="10923539" y="6454776"/>
                </a:lnTo>
                <a:lnTo>
                  <a:pt x="10923539" y="6416670"/>
                </a:lnTo>
                <a:lnTo>
                  <a:pt x="10946636" y="6416670"/>
                </a:lnTo>
                <a:lnTo>
                  <a:pt x="10988782" y="6454776"/>
                </a:lnTo>
                <a:lnTo>
                  <a:pt x="11024029" y="6454776"/>
                </a:lnTo>
                <a:lnTo>
                  <a:pt x="10976158" y="6416670"/>
                </a:lnTo>
                <a:lnTo>
                  <a:pt x="10989971" y="6416670"/>
                </a:lnTo>
                <a:cubicBezTo>
                  <a:pt x="11006169" y="6416670"/>
                  <a:pt x="11013549" y="6411193"/>
                  <a:pt x="11013549" y="6397395"/>
                </a:cubicBezTo>
                <a:lnTo>
                  <a:pt x="11013549" y="6373583"/>
                </a:lnTo>
                <a:cubicBezTo>
                  <a:pt x="11013549" y="6359537"/>
                  <a:pt x="11006161" y="6354060"/>
                  <a:pt x="10989971" y="6354060"/>
                </a:cubicBezTo>
                <a:close/>
                <a:moveTo>
                  <a:pt x="10749425" y="6353819"/>
                </a:moveTo>
                <a:lnTo>
                  <a:pt x="10800140" y="6353819"/>
                </a:lnTo>
                <a:cubicBezTo>
                  <a:pt x="10827052" y="6353819"/>
                  <a:pt x="10840624" y="6367158"/>
                  <a:pt x="10840624" y="6392158"/>
                </a:cubicBezTo>
                <a:cubicBezTo>
                  <a:pt x="10840624" y="6422636"/>
                  <a:pt x="10822523" y="6431686"/>
                  <a:pt x="10786327" y="6431686"/>
                </a:cubicBezTo>
                <a:lnTo>
                  <a:pt x="10749425" y="6431686"/>
                </a:lnTo>
                <a:close/>
                <a:moveTo>
                  <a:pt x="11558990" y="6331911"/>
                </a:moveTo>
                <a:cubicBezTo>
                  <a:pt x="11538030" y="6331911"/>
                  <a:pt x="11528513" y="6336681"/>
                  <a:pt x="11528513" y="6354293"/>
                </a:cubicBezTo>
                <a:lnTo>
                  <a:pt x="11528513" y="6361192"/>
                </a:lnTo>
                <a:cubicBezTo>
                  <a:pt x="11528513" y="6368339"/>
                  <a:pt x="11531846" y="6373816"/>
                  <a:pt x="11538993" y="6379767"/>
                </a:cubicBezTo>
                <a:lnTo>
                  <a:pt x="11513978" y="6394776"/>
                </a:lnTo>
                <a:cubicBezTo>
                  <a:pt x="11503272" y="6401202"/>
                  <a:pt x="11498743" y="6405008"/>
                  <a:pt x="11498743" y="6417633"/>
                </a:cubicBezTo>
                <a:lnTo>
                  <a:pt x="11498743" y="6425728"/>
                </a:lnTo>
                <a:cubicBezTo>
                  <a:pt x="11498743" y="6448825"/>
                  <a:pt x="11506364" y="6454776"/>
                  <a:pt x="11529454" y="6454776"/>
                </a:cubicBezTo>
                <a:lnTo>
                  <a:pt x="11573270" y="6454776"/>
                </a:lnTo>
                <a:cubicBezTo>
                  <a:pt x="11583502" y="6454776"/>
                  <a:pt x="11588505" y="6454302"/>
                  <a:pt x="11596367" y="6447388"/>
                </a:cubicBezTo>
                <a:lnTo>
                  <a:pt x="11607321" y="6437630"/>
                </a:lnTo>
                <a:lnTo>
                  <a:pt x="11627559" y="6454776"/>
                </a:lnTo>
                <a:lnTo>
                  <a:pt x="11664950" y="6454776"/>
                </a:lnTo>
                <a:lnTo>
                  <a:pt x="11626137" y="6422147"/>
                </a:lnTo>
                <a:lnTo>
                  <a:pt x="11654470" y="6398583"/>
                </a:lnTo>
                <a:lnTo>
                  <a:pt x="11638272" y="6384537"/>
                </a:lnTo>
                <a:lnTo>
                  <a:pt x="11609698" y="6408341"/>
                </a:lnTo>
                <a:lnTo>
                  <a:pt x="11551836" y="6360244"/>
                </a:lnTo>
                <a:lnTo>
                  <a:pt x="11551836" y="6351434"/>
                </a:lnTo>
                <a:lnTo>
                  <a:pt x="11592086" y="6351434"/>
                </a:lnTo>
                <a:lnTo>
                  <a:pt x="11592086" y="6367873"/>
                </a:lnTo>
                <a:lnTo>
                  <a:pt x="11614220" y="6364066"/>
                </a:lnTo>
                <a:lnTo>
                  <a:pt x="11614220" y="6356678"/>
                </a:lnTo>
                <a:cubicBezTo>
                  <a:pt x="11614220" y="6336681"/>
                  <a:pt x="11605884" y="6331911"/>
                  <a:pt x="11583742" y="6331911"/>
                </a:cubicBezTo>
                <a:close/>
                <a:moveTo>
                  <a:pt x="10720851" y="6331911"/>
                </a:moveTo>
                <a:lnTo>
                  <a:pt x="10720851" y="6454776"/>
                </a:lnTo>
                <a:lnTo>
                  <a:pt x="10792527" y="6454776"/>
                </a:lnTo>
                <a:cubicBezTo>
                  <a:pt x="10814420" y="6454776"/>
                  <a:pt x="10831092" y="6452632"/>
                  <a:pt x="10843009" y="6445259"/>
                </a:cubicBezTo>
                <a:cubicBezTo>
                  <a:pt x="10860155" y="6434779"/>
                  <a:pt x="10870146" y="6415729"/>
                  <a:pt x="10870146" y="6392632"/>
                </a:cubicBezTo>
                <a:cubicBezTo>
                  <a:pt x="10870146" y="6354534"/>
                  <a:pt x="10845868" y="6331911"/>
                  <a:pt x="10799900" y="6331911"/>
                </a:cubicBezTo>
                <a:close/>
                <a:moveTo>
                  <a:pt x="0" y="0"/>
                </a:moveTo>
                <a:lnTo>
                  <a:pt x="12192000" y="0"/>
                </a:lnTo>
                <a:lnTo>
                  <a:pt x="12192000" y="6858000"/>
                </a:lnTo>
                <a:lnTo>
                  <a:pt x="0" y="6858000"/>
                </a:lnTo>
                <a:close/>
              </a:path>
            </a:pathLst>
          </a:custGeom>
          <a:pattFill prst="ltUpDiag">
            <a:fgClr>
              <a:schemeClr val="bg1">
                <a:lumMod val="95000"/>
              </a:schemeClr>
            </a:fgClr>
            <a:bgClr>
              <a:schemeClr val="bg1"/>
            </a:bgClr>
          </a:pattFill>
        </p:spPr>
        <p:txBody>
          <a:bodyPr wrap="square" tIns="180000">
            <a:noAutofit/>
          </a:bodyPr>
          <a:lstStyle>
            <a:lvl1pPr algn="ctr">
              <a:defRPr>
                <a:latin typeface="Calibri" panose="020F0502020204030204" pitchFamily="34" charset="0"/>
                <a:cs typeface="Calibri" panose="020F0502020204030204" pitchFamily="34" charset="0"/>
              </a:defRPr>
            </a:lvl1pPr>
          </a:lstStyle>
          <a:p>
            <a:r>
              <a:rPr lang="en-US"/>
              <a:t>Click on the placeholder and use Paste → Images to select the desired image or paste it from the clipboard</a:t>
            </a:r>
          </a:p>
        </p:txBody>
      </p:sp>
      <p:sp>
        <p:nvSpPr>
          <p:cNvPr id="2" name="title">
            <a:extLst>
              <a:ext uri="{FF2B5EF4-FFF2-40B4-BE49-F238E27FC236}">
                <a16:creationId xmlns:a16="http://schemas.microsoft.com/office/drawing/2014/main" id="{8FFCB50B-5503-4467-8A0F-9FBB8B48B97D}"/>
              </a:ext>
            </a:extLst>
          </p:cNvPr>
          <p:cNvSpPr>
            <a:spLocks noGrp="1"/>
          </p:cNvSpPr>
          <p:nvPr userDrawn="1">
            <p:ph type="title"/>
          </p:nvPr>
        </p:nvSpPr>
        <p:spPr>
          <a:xfrm>
            <a:off x="3310200" y="2614150"/>
            <a:ext cx="5571599" cy="1477024"/>
          </a:xfrm>
          <a:solidFill>
            <a:schemeClr val="bg1"/>
          </a:solidFill>
        </p:spPr>
        <p:txBody>
          <a:bodyPr wrap="square" lIns="432000" tIns="342000" rIns="432000" bIns="288000" anchor="ctr">
            <a:spAutoFit/>
          </a:bodyPr>
          <a:lstStyle>
            <a:lvl1pPr algn="ctr">
              <a:defRPr sz="3200"/>
            </a:lvl1pPr>
          </a:lstStyle>
          <a:p>
            <a:r>
              <a:rPr lang="de-DE"/>
              <a:t>Mastertitelformat bearbeiten</a:t>
            </a:r>
            <a:endParaRPr lang="en-US"/>
          </a:p>
        </p:txBody>
      </p:sp>
      <p:sp>
        <p:nvSpPr>
          <p:cNvPr id="16" name="logo drees&amp;sommer white">
            <a:extLst>
              <a:ext uri="{FF2B5EF4-FFF2-40B4-BE49-F238E27FC236}">
                <a16:creationId xmlns:a16="http://schemas.microsoft.com/office/drawing/2014/main" id="{C5A4F7E3-6A86-447A-9CFF-A1484D8D1910}"/>
              </a:ext>
            </a:extLst>
          </p:cNvPr>
          <p:cNvSpPr>
            <a:spLocks noGrp="1"/>
          </p:cNvSpPr>
          <p:nvPr>
            <p:ph type="media" sz="quarter" idx="20"/>
          </p:nvPr>
        </p:nvSpPr>
        <p:spPr>
          <a:xfrm>
            <a:off x="10716797" y="6330042"/>
            <a:ext cx="946800" cy="288000"/>
          </a:xfrm>
          <a:blipFill>
            <a:blip r:embed="rId2" cstate="print">
              <a:extLst>
                <a:ext uri="{28A0092B-C50C-407E-A947-70E740481C1C}">
                  <a14:useLocalDpi xmlns:a14="http://schemas.microsoft.com/office/drawing/2010/main"/>
                </a:ext>
              </a:extLst>
            </a:blip>
            <a:stretch>
              <a:fillRect/>
            </a:stretch>
          </a:blipFill>
          <a:ln w="15875" cap="flat">
            <a:noFill/>
            <a:prstDash val="lgDash"/>
          </a:ln>
        </p:spPr>
        <p:txBody>
          <a:bodyPr/>
          <a:lstStyle>
            <a:lvl1pPr>
              <a:defRPr sz="100">
                <a:solidFill>
                  <a:schemeClr val="bg1"/>
                </a:solidFill>
              </a:defRPr>
            </a:lvl1pPr>
          </a:lstStyle>
          <a:p>
            <a:endParaRPr lang="de-DE"/>
          </a:p>
        </p:txBody>
      </p:sp>
      <p:sp>
        <p:nvSpPr>
          <p:cNvPr id="6" name="slide number">
            <a:extLst>
              <a:ext uri="{FF2B5EF4-FFF2-40B4-BE49-F238E27FC236}">
                <a16:creationId xmlns:a16="http://schemas.microsoft.com/office/drawing/2014/main" id="{90B54C2D-8235-4852-8EB7-5E05529B2499}"/>
              </a:ext>
            </a:extLst>
          </p:cNvPr>
          <p:cNvSpPr>
            <a:spLocks noGrp="1"/>
          </p:cNvSpPr>
          <p:nvPr userDrawn="1">
            <p:ph type="sldNum" sz="quarter" idx="12"/>
          </p:nvPr>
        </p:nvSpPr>
        <p:spPr>
          <a:xfrm>
            <a:off x="525600" y="7200000"/>
            <a:ext cx="234000" cy="180000"/>
          </a:xfrm>
        </p:spPr>
        <p:txBody>
          <a:bodyPr lIns="0" tIns="0" rIns="0" bIns="0"/>
          <a:lstStyle/>
          <a:p>
            <a:fld id="{9829449A-3FF3-45CE-9F4F-09BADC0910C6}" type="slidenum">
              <a:rPr lang="en-US" smtClean="0"/>
              <a:t>‹Nr.›</a:t>
            </a:fld>
            <a:endParaRPr lang="en-US"/>
          </a:p>
        </p:txBody>
      </p:sp>
      <p:sp>
        <p:nvSpPr>
          <p:cNvPr id="5" name="footer">
            <a:extLst>
              <a:ext uri="{FF2B5EF4-FFF2-40B4-BE49-F238E27FC236}">
                <a16:creationId xmlns:a16="http://schemas.microsoft.com/office/drawing/2014/main" id="{A4534FC4-D037-44B0-B266-D9E820FC1DF2}"/>
              </a:ext>
            </a:extLst>
          </p:cNvPr>
          <p:cNvSpPr>
            <a:spLocks noGrp="1"/>
          </p:cNvSpPr>
          <p:nvPr userDrawn="1">
            <p:ph type="ftr" sz="quarter" idx="11"/>
          </p:nvPr>
        </p:nvSpPr>
        <p:spPr>
          <a:xfrm>
            <a:off x="763200" y="7200000"/>
            <a:ext cx="7880400" cy="180000"/>
          </a:xfrm>
        </p:spPr>
        <p:txBody>
          <a:bodyPr lIns="0" tIns="0" rIns="0" bIns="0"/>
          <a:lstStyle/>
          <a:p>
            <a:endParaRPr lang="en-US"/>
          </a:p>
        </p:txBody>
      </p:sp>
      <p:sp>
        <p:nvSpPr>
          <p:cNvPr id="41" name="info">
            <a:extLst>
              <a:ext uri="{FF2B5EF4-FFF2-40B4-BE49-F238E27FC236}">
                <a16:creationId xmlns:a16="http://schemas.microsoft.com/office/drawing/2014/main" id="{15A93C98-9A52-41BC-9B75-8C22F206A75C}"/>
              </a:ext>
            </a:extLst>
          </p:cNvPr>
          <p:cNvSpPr/>
          <p:nvPr userDrawn="1"/>
        </p:nvSpPr>
        <p:spPr bwMode="gray">
          <a:xfrm flipH="1">
            <a:off x="12247320" y="6288645"/>
            <a:ext cx="1579616" cy="370793"/>
          </a:xfrm>
          <a:prstGeom prst="homePlat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36000" rtlCol="0" anchor="ctr">
            <a:spAutoFit/>
          </a:bodyPr>
          <a:lstStyle/>
          <a:p>
            <a:pPr algn="ctr">
              <a:lnSpc>
                <a:spcPct val="80000"/>
              </a:lnSpc>
              <a:spcBef>
                <a:spcPts val="400"/>
              </a:spcBef>
              <a:spcAft>
                <a:spcPts val="400"/>
              </a:spcAft>
            </a:pPr>
            <a:r>
              <a:rPr lang="en-US" sz="1050">
                <a:solidFill>
                  <a:schemeClr val="bg1"/>
                </a:solidFill>
              </a:rPr>
              <a:t>delete the white logo </a:t>
            </a:r>
            <a:br>
              <a:rPr lang="en-US" sz="1050">
                <a:solidFill>
                  <a:schemeClr val="bg1"/>
                </a:solidFill>
              </a:rPr>
            </a:br>
            <a:r>
              <a:rPr lang="en-US" sz="1050">
                <a:solidFill>
                  <a:schemeClr val="bg1"/>
                </a:solidFill>
              </a:rPr>
              <a:t>to get the BLUE LOGO</a:t>
            </a:r>
            <a:endParaRPr lang="de-DE" sz="1050">
              <a:solidFill>
                <a:schemeClr val="bg1"/>
              </a:solidFill>
            </a:endParaRPr>
          </a:p>
        </p:txBody>
      </p:sp>
    </p:spTree>
    <p:extLst>
      <p:ext uri="{BB962C8B-B14F-4D97-AF65-F5344CB8AC3E}">
        <p14:creationId xmlns:p14="http://schemas.microsoft.com/office/powerpoint/2010/main" val="3133757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2085">
          <p15:clr>
            <a:srgbClr val="FBAE40"/>
          </p15:clr>
        </p15:guide>
        <p15:guide id="2" pos="5595">
          <p15:clr>
            <a:srgbClr val="FBAE40"/>
          </p15:clr>
        </p15:guide>
        <p15:guide id="3" orient="horz" pos="1646">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V_6 project pictures">
    <p:spTree>
      <p:nvGrpSpPr>
        <p:cNvPr id="1" name=""/>
        <p:cNvGrpSpPr/>
        <p:nvPr/>
      </p:nvGrpSpPr>
      <p:grpSpPr>
        <a:xfrm>
          <a:off x="0" y="0"/>
          <a:ext cx="0" cy="0"/>
          <a:chOff x="0" y="0"/>
          <a:chExt cx="0" cy="0"/>
        </a:xfrm>
      </p:grpSpPr>
      <p:sp>
        <p:nvSpPr>
          <p:cNvPr id="2" name="first name last name">
            <a:extLst>
              <a:ext uri="{FF2B5EF4-FFF2-40B4-BE49-F238E27FC236}">
                <a16:creationId xmlns:a16="http://schemas.microsoft.com/office/drawing/2014/main" id="{8F1F303E-397D-4BCE-B185-59C5299F8A57}"/>
              </a:ext>
            </a:extLst>
          </p:cNvPr>
          <p:cNvSpPr>
            <a:spLocks noGrp="1"/>
          </p:cNvSpPr>
          <p:nvPr userDrawn="1">
            <p:ph type="title" hasCustomPrompt="1"/>
          </p:nvPr>
        </p:nvSpPr>
        <p:spPr>
          <a:xfrm>
            <a:off x="527050" y="673200"/>
            <a:ext cx="5494865" cy="288000"/>
          </a:xfrm>
        </p:spPr>
        <p:txBody>
          <a:bodyPr/>
          <a:lstStyle>
            <a:lvl1pPr>
              <a:defRPr/>
            </a:lvl1pPr>
          </a:lstStyle>
          <a:p>
            <a:r>
              <a:rPr lang="de-DE"/>
              <a:t>First Name Last Name</a:t>
            </a:r>
          </a:p>
        </p:txBody>
      </p:sp>
      <p:sp>
        <p:nvSpPr>
          <p:cNvPr id="6" name="title of profession position">
            <a:extLst>
              <a:ext uri="{FF2B5EF4-FFF2-40B4-BE49-F238E27FC236}">
                <a16:creationId xmlns:a16="http://schemas.microsoft.com/office/drawing/2014/main" id="{9C2D522A-9C9B-4BB1-8778-C9AE0A640BDD}"/>
              </a:ext>
            </a:extLst>
          </p:cNvPr>
          <p:cNvSpPr>
            <a:spLocks noGrp="1"/>
          </p:cNvSpPr>
          <p:nvPr userDrawn="1">
            <p:ph type="body" sz="quarter" idx="18" hasCustomPrompt="1"/>
          </p:nvPr>
        </p:nvSpPr>
        <p:spPr bwMode="gray">
          <a:xfrm>
            <a:off x="527051" y="1022399"/>
            <a:ext cx="5494866" cy="619200"/>
          </a:xfrm>
        </p:spPr>
        <p:txBody>
          <a:bodyPr tIns="0">
            <a:noAutofit/>
          </a:bodyPr>
          <a:lstStyle>
            <a:lvl1pPr marL="0" indent="0">
              <a:lnSpc>
                <a:spcPct val="85000"/>
              </a:lnSpc>
              <a:spcBef>
                <a:spcPts val="0"/>
              </a:spcBef>
              <a:spcAft>
                <a:spcPts val="0"/>
              </a:spcAft>
              <a:buFont typeface="Arial" panose="020B0604020202020204" pitchFamily="34" charset="0"/>
              <a:buNone/>
              <a:defRPr sz="2000" b="0" cap="none" baseline="0">
                <a:solidFill>
                  <a:schemeClr val="tx1"/>
                </a:solidFill>
              </a:defRPr>
            </a:lvl1pPr>
            <a:lvl2pPr marL="0" indent="0">
              <a:spcBef>
                <a:spcPts val="0"/>
              </a:spcBef>
              <a:spcAft>
                <a:spcPts val="0"/>
              </a:spcAft>
              <a:buNone/>
              <a:defRPr sz="2133" b="0" cap="none" baseline="0">
                <a:solidFill>
                  <a:schemeClr val="tx1"/>
                </a:solidFill>
              </a:defRPr>
            </a:lvl2pPr>
            <a:lvl3pPr marL="0" indent="0">
              <a:spcBef>
                <a:spcPts val="0"/>
              </a:spcBef>
              <a:spcAft>
                <a:spcPts val="0"/>
              </a:spcAft>
              <a:buNone/>
              <a:defRPr sz="2133" b="0" cap="none" baseline="0">
                <a:solidFill>
                  <a:schemeClr val="tx1"/>
                </a:solidFill>
              </a:defRPr>
            </a:lvl3pPr>
            <a:lvl4pPr marL="0" indent="0">
              <a:spcBef>
                <a:spcPts val="0"/>
              </a:spcBef>
              <a:spcAft>
                <a:spcPts val="0"/>
              </a:spcAft>
              <a:buNone/>
              <a:defRPr sz="2133" b="0" cap="none" baseline="0">
                <a:solidFill>
                  <a:schemeClr val="tx1"/>
                </a:solidFill>
              </a:defRPr>
            </a:lvl4pPr>
            <a:lvl5pPr marL="0" indent="0">
              <a:spcBef>
                <a:spcPts val="0"/>
              </a:spcBef>
              <a:spcAft>
                <a:spcPts val="0"/>
              </a:spcAft>
              <a:buFont typeface="Arial" panose="020B0604020202020204" pitchFamily="34" charset="0"/>
              <a:buNone/>
              <a:defRPr sz="2133" b="0" cap="none" baseline="0">
                <a:solidFill>
                  <a:schemeClr val="tx1"/>
                </a:solidFill>
              </a:defRPr>
            </a:lvl5pPr>
            <a:lvl6pPr marL="0" indent="0">
              <a:spcBef>
                <a:spcPts val="0"/>
              </a:spcBef>
              <a:spcAft>
                <a:spcPts val="0"/>
              </a:spcAft>
              <a:buFont typeface="Arial" panose="020B0604020202020204" pitchFamily="34" charset="0"/>
              <a:buNone/>
              <a:defRPr sz="2133" b="0" cap="none" baseline="0">
                <a:solidFill>
                  <a:schemeClr val="tx1"/>
                </a:solidFill>
              </a:defRPr>
            </a:lvl6pPr>
            <a:lvl7pPr marL="0" indent="0">
              <a:spcBef>
                <a:spcPts val="0"/>
              </a:spcBef>
              <a:spcAft>
                <a:spcPts val="0"/>
              </a:spcAft>
              <a:buFont typeface="Arial" panose="020B0604020202020204" pitchFamily="34" charset="0"/>
              <a:buNone/>
              <a:defRPr sz="2133" b="0" cap="none" baseline="0">
                <a:solidFill>
                  <a:schemeClr val="tx1"/>
                </a:solidFill>
              </a:defRPr>
            </a:lvl7pPr>
            <a:lvl8pPr marL="0" indent="0">
              <a:spcBef>
                <a:spcPts val="0"/>
              </a:spcBef>
              <a:spcAft>
                <a:spcPts val="0"/>
              </a:spcAft>
              <a:buFont typeface="Arial" panose="020B0604020202020204" pitchFamily="34" charset="0"/>
              <a:buNone/>
              <a:defRPr sz="2133" b="0" cap="none" baseline="0">
                <a:solidFill>
                  <a:schemeClr val="tx1"/>
                </a:solidFill>
              </a:defRPr>
            </a:lvl8pPr>
            <a:lvl9pPr marL="0" indent="0">
              <a:spcBef>
                <a:spcPts val="0"/>
              </a:spcBef>
              <a:spcAft>
                <a:spcPts val="0"/>
              </a:spcAft>
              <a:buFont typeface="Arial" panose="020B0604020202020204" pitchFamily="34" charset="0"/>
              <a:buNone/>
              <a:defRPr sz="2133" b="0" cap="none" baseline="0">
                <a:solidFill>
                  <a:schemeClr val="tx1"/>
                </a:solidFill>
              </a:defRPr>
            </a:lvl9pPr>
          </a:lstStyle>
          <a:p>
            <a:pPr lvl="0"/>
            <a:r>
              <a:rPr lang="de-DE"/>
              <a:t>Title </a:t>
            </a:r>
            <a:r>
              <a:rPr lang="de-DE" err="1"/>
              <a:t>of</a:t>
            </a:r>
            <a:r>
              <a:rPr lang="de-DE"/>
              <a:t> </a:t>
            </a:r>
            <a:r>
              <a:rPr lang="de-DE" err="1"/>
              <a:t>profession</a:t>
            </a:r>
            <a:r>
              <a:rPr lang="de-DE"/>
              <a:t>, </a:t>
            </a:r>
            <a:r>
              <a:rPr lang="de-DE" err="1"/>
              <a:t>position</a:t>
            </a:r>
            <a:r>
              <a:rPr lang="de-DE"/>
              <a:t> </a:t>
            </a:r>
            <a:endParaRPr lang="en-US"/>
          </a:p>
        </p:txBody>
      </p:sp>
      <p:sp>
        <p:nvSpPr>
          <p:cNvPr id="27" name="text contact details">
            <a:extLst>
              <a:ext uri="{FF2B5EF4-FFF2-40B4-BE49-F238E27FC236}">
                <a16:creationId xmlns:a16="http://schemas.microsoft.com/office/drawing/2014/main" id="{3A88E545-7A0B-4E65-B82C-9ABABE2279D0}"/>
              </a:ext>
            </a:extLst>
          </p:cNvPr>
          <p:cNvSpPr>
            <a:spLocks noGrp="1"/>
          </p:cNvSpPr>
          <p:nvPr>
            <p:ph type="body" sz="quarter" idx="27" hasCustomPrompt="1"/>
          </p:nvPr>
        </p:nvSpPr>
        <p:spPr>
          <a:xfrm>
            <a:off x="1805619" y="1844675"/>
            <a:ext cx="4216296" cy="1585550"/>
          </a:xfrm>
        </p:spPr>
        <p:txBody>
          <a:bodyPr lIns="0" rIns="144000"/>
          <a:lstStyle>
            <a:lvl1pPr marL="0" indent="0">
              <a:spcBef>
                <a:spcPts val="0"/>
              </a:spcBef>
              <a:spcAft>
                <a:spcPts val="0"/>
              </a:spcAft>
              <a:buFont typeface="Arial" panose="020B0604020202020204" pitchFamily="34" charset="0"/>
              <a:buNone/>
              <a:defRPr sz="1300" b="0" cap="none" baseline="0">
                <a:solidFill>
                  <a:schemeClr val="tx1"/>
                </a:solidFill>
              </a:defRPr>
            </a:lvl1pPr>
            <a:lvl2pPr marL="0" indent="0">
              <a:spcBef>
                <a:spcPts val="400"/>
              </a:spcBef>
              <a:buNone/>
              <a:defRPr sz="1067" b="0" cap="none" baseline="0">
                <a:solidFill>
                  <a:schemeClr val="tx1"/>
                </a:solidFill>
              </a:defRPr>
            </a:lvl2pPr>
            <a:lvl3pPr marL="0" indent="0">
              <a:spcBef>
                <a:spcPts val="400"/>
              </a:spcBef>
              <a:buNone/>
              <a:defRPr sz="1067" b="0" cap="none" baseline="0">
                <a:solidFill>
                  <a:schemeClr val="tx1"/>
                </a:solidFill>
              </a:defRPr>
            </a:lvl3pPr>
            <a:lvl4pPr marL="0" indent="0">
              <a:spcBef>
                <a:spcPts val="400"/>
              </a:spcBef>
              <a:buNone/>
              <a:defRPr sz="1067" b="0" cap="none" baseline="0">
                <a:solidFill>
                  <a:schemeClr val="tx1"/>
                </a:solidFill>
              </a:defRPr>
            </a:lvl4pPr>
            <a:lvl5pPr marL="0" indent="0">
              <a:spcBef>
                <a:spcPts val="400"/>
              </a:spcBef>
              <a:buFont typeface="Arial" panose="020B0604020202020204" pitchFamily="34" charset="0"/>
              <a:buNone/>
              <a:defRPr sz="1067" b="0" cap="none" baseline="0">
                <a:solidFill>
                  <a:schemeClr val="tx1"/>
                </a:solidFill>
              </a:defRPr>
            </a:lvl5pPr>
            <a:lvl6pPr marL="0" indent="0">
              <a:spcBef>
                <a:spcPts val="400"/>
              </a:spcBef>
              <a:buFont typeface="Arial" panose="020B0604020202020204" pitchFamily="34" charset="0"/>
              <a:buNone/>
              <a:defRPr sz="1067" b="0" cap="none" baseline="0">
                <a:solidFill>
                  <a:schemeClr val="tx1"/>
                </a:solidFill>
              </a:defRPr>
            </a:lvl6pPr>
            <a:lvl7pPr marL="0" indent="0">
              <a:spcBef>
                <a:spcPts val="400"/>
              </a:spcBef>
              <a:buFont typeface="Arial" panose="020B0604020202020204" pitchFamily="34" charset="0"/>
              <a:buNone/>
              <a:defRPr sz="1067" b="0" cap="none" baseline="0">
                <a:solidFill>
                  <a:schemeClr val="tx1"/>
                </a:solidFill>
              </a:defRPr>
            </a:lvl7pPr>
            <a:lvl8pPr marL="0" indent="0">
              <a:spcBef>
                <a:spcPts val="400"/>
              </a:spcBef>
              <a:buFont typeface="Arial" panose="020B0604020202020204" pitchFamily="34" charset="0"/>
              <a:buNone/>
              <a:defRPr sz="1067" b="0" cap="none" baseline="0">
                <a:solidFill>
                  <a:schemeClr val="tx1"/>
                </a:solidFill>
              </a:defRPr>
            </a:lvl8pPr>
            <a:lvl9pPr marL="0" indent="0">
              <a:spcBef>
                <a:spcPts val="400"/>
              </a:spcBef>
              <a:buFont typeface="Arial" panose="020B0604020202020204" pitchFamily="34" charset="0"/>
              <a:buNone/>
              <a:defRPr sz="1067" b="0" cap="none" baseline="0">
                <a:solidFill>
                  <a:schemeClr val="tx1"/>
                </a:solidFill>
              </a:defRPr>
            </a:lvl9pPr>
          </a:lstStyle>
          <a:p>
            <a:pPr lvl="0"/>
            <a:r>
              <a:rPr lang="de-DE"/>
              <a:t>Fill in </a:t>
            </a:r>
            <a:r>
              <a:rPr lang="de-DE" err="1"/>
              <a:t>contact</a:t>
            </a:r>
            <a:r>
              <a:rPr lang="de-DE"/>
              <a:t> </a:t>
            </a:r>
            <a:r>
              <a:rPr lang="de-DE" err="1"/>
              <a:t>details</a:t>
            </a:r>
            <a:r>
              <a:rPr lang="de-DE"/>
              <a:t> </a:t>
            </a:r>
            <a:r>
              <a:rPr lang="de-DE" err="1"/>
              <a:t>here</a:t>
            </a:r>
            <a:endParaRPr lang="de-DE"/>
          </a:p>
        </p:txBody>
      </p:sp>
      <p:sp>
        <p:nvSpPr>
          <p:cNvPr id="24" name="header work history">
            <a:extLst>
              <a:ext uri="{FF2B5EF4-FFF2-40B4-BE49-F238E27FC236}">
                <a16:creationId xmlns:a16="http://schemas.microsoft.com/office/drawing/2014/main" id="{78AC19C8-5A30-4C9D-A8B0-D5404960B09E}"/>
              </a:ext>
            </a:extLst>
          </p:cNvPr>
          <p:cNvSpPr>
            <a:spLocks noGrp="1"/>
          </p:cNvSpPr>
          <p:nvPr>
            <p:ph type="body" sz="quarter" idx="26" hasCustomPrompt="1"/>
          </p:nvPr>
        </p:nvSpPr>
        <p:spPr>
          <a:xfrm>
            <a:off x="6170085" y="677912"/>
            <a:ext cx="5494865" cy="287899"/>
          </a:xfrm>
        </p:spPr>
        <p:txBody>
          <a:bodyPr/>
          <a:lstStyle>
            <a:lvl1pPr>
              <a:defRPr sz="1300" b="1" baseline="0"/>
            </a:lvl1pPr>
          </a:lstStyle>
          <a:p>
            <a:pPr lvl="0"/>
            <a:r>
              <a:rPr lang="en-US"/>
              <a:t>Please overwrite with: Professional career</a:t>
            </a:r>
          </a:p>
        </p:txBody>
      </p:sp>
      <p:sp>
        <p:nvSpPr>
          <p:cNvPr id="30" name="text work history">
            <a:extLst>
              <a:ext uri="{FF2B5EF4-FFF2-40B4-BE49-F238E27FC236}">
                <a16:creationId xmlns:a16="http://schemas.microsoft.com/office/drawing/2014/main" id="{CF189CE5-D1D3-447B-B324-233D8822B178}"/>
              </a:ext>
            </a:extLst>
          </p:cNvPr>
          <p:cNvSpPr>
            <a:spLocks noGrp="1"/>
          </p:cNvSpPr>
          <p:nvPr>
            <p:ph type="body" sz="quarter" idx="28" hasCustomPrompt="1"/>
          </p:nvPr>
        </p:nvSpPr>
        <p:spPr>
          <a:xfrm>
            <a:off x="6170084" y="965812"/>
            <a:ext cx="5494867" cy="2328300"/>
          </a:xfrm>
        </p:spPr>
        <p:txBody>
          <a:bodyPr/>
          <a:lstStyle>
            <a:lvl1pPr>
              <a:spcBef>
                <a:spcPts val="0"/>
              </a:spcBef>
              <a:spcAft>
                <a:spcPts val="0"/>
              </a:spcAft>
              <a:tabLst>
                <a:tab pos="960943" algn="l"/>
              </a:tabLst>
              <a:defRPr sz="1300"/>
            </a:lvl1pPr>
            <a:lvl2pPr>
              <a:defRPr sz="1333"/>
            </a:lvl2pPr>
            <a:lvl3pPr>
              <a:defRPr sz="1333"/>
            </a:lvl3pPr>
            <a:lvl4pPr>
              <a:defRPr sz="1333"/>
            </a:lvl4pPr>
            <a:lvl5pPr>
              <a:defRPr sz="1333"/>
            </a:lvl5pPr>
            <a:lvl6pPr>
              <a:defRPr sz="1333"/>
            </a:lvl6pPr>
            <a:lvl7pPr>
              <a:defRPr sz="1333"/>
            </a:lvl7pPr>
            <a:lvl8pPr>
              <a:defRPr sz="1333"/>
            </a:lvl8pPr>
            <a:lvl9pPr>
              <a:defRPr sz="1067"/>
            </a:lvl9pPr>
          </a:lstStyle>
          <a:p>
            <a:pPr lvl="0"/>
            <a:r>
              <a:rPr lang="de-DE"/>
              <a:t>20XX – 20XX	</a:t>
            </a:r>
            <a:r>
              <a:rPr lang="de-DE" err="1"/>
              <a:t>Occupation</a:t>
            </a:r>
            <a:endParaRPr lang="de-DE"/>
          </a:p>
        </p:txBody>
      </p:sp>
      <p:sp>
        <p:nvSpPr>
          <p:cNvPr id="32" name="header functions">
            <a:extLst>
              <a:ext uri="{FF2B5EF4-FFF2-40B4-BE49-F238E27FC236}">
                <a16:creationId xmlns:a16="http://schemas.microsoft.com/office/drawing/2014/main" id="{ED3EFA63-0486-404C-B8F9-B493CBBFEC77}"/>
              </a:ext>
            </a:extLst>
          </p:cNvPr>
          <p:cNvSpPr>
            <a:spLocks noGrp="1"/>
          </p:cNvSpPr>
          <p:nvPr>
            <p:ph type="body" sz="quarter" idx="42" hasCustomPrompt="1"/>
          </p:nvPr>
        </p:nvSpPr>
        <p:spPr>
          <a:xfrm>
            <a:off x="6170085" y="3475248"/>
            <a:ext cx="5494867" cy="287899"/>
          </a:xfrm>
        </p:spPr>
        <p:txBody>
          <a:bodyPr/>
          <a:lstStyle>
            <a:lvl1pPr>
              <a:defRPr sz="1300" b="1"/>
            </a:lvl1pPr>
          </a:lstStyle>
          <a:p>
            <a:pPr lvl="0"/>
            <a:r>
              <a:rPr lang="en-US"/>
              <a:t>Please overwrite with: Other functions, main focus</a:t>
            </a:r>
            <a:endParaRPr lang="de-DE"/>
          </a:p>
        </p:txBody>
      </p:sp>
      <p:sp>
        <p:nvSpPr>
          <p:cNvPr id="33" name="text functions">
            <a:extLst>
              <a:ext uri="{FF2B5EF4-FFF2-40B4-BE49-F238E27FC236}">
                <a16:creationId xmlns:a16="http://schemas.microsoft.com/office/drawing/2014/main" id="{D1D9E5C9-03BA-4200-87F7-076D770358AD}"/>
              </a:ext>
            </a:extLst>
          </p:cNvPr>
          <p:cNvSpPr>
            <a:spLocks noGrp="1"/>
          </p:cNvSpPr>
          <p:nvPr>
            <p:ph type="body" sz="quarter" idx="43" hasCustomPrompt="1"/>
          </p:nvPr>
        </p:nvSpPr>
        <p:spPr>
          <a:xfrm>
            <a:off x="6170613" y="3763149"/>
            <a:ext cx="5494867" cy="963677"/>
          </a:xfrm>
        </p:spPr>
        <p:txBody>
          <a:bodyPr/>
          <a:lstStyle>
            <a:lvl1pPr marL="126000" indent="-126000">
              <a:spcBef>
                <a:spcPts val="0"/>
              </a:spcBef>
              <a:spcAft>
                <a:spcPts val="0"/>
              </a:spcAft>
              <a:buFont typeface="Wingdings" panose="05000000000000000000" pitchFamily="2" charset="2"/>
              <a:buChar char="§"/>
              <a:defRPr sz="1300"/>
            </a:lvl1pPr>
          </a:lstStyle>
          <a:p>
            <a:pPr lvl="0"/>
            <a:r>
              <a:rPr lang="de-DE"/>
              <a:t>Enter </a:t>
            </a:r>
            <a:r>
              <a:rPr lang="de-DE" err="1"/>
              <a:t>activities</a:t>
            </a:r>
            <a:r>
              <a:rPr lang="de-DE"/>
              <a:t> </a:t>
            </a:r>
            <a:r>
              <a:rPr lang="de-DE" err="1"/>
              <a:t>here</a:t>
            </a:r>
            <a:endParaRPr lang="de-DE"/>
          </a:p>
        </p:txBody>
      </p:sp>
      <p:sp>
        <p:nvSpPr>
          <p:cNvPr id="35" name="header reference">
            <a:extLst>
              <a:ext uri="{FF2B5EF4-FFF2-40B4-BE49-F238E27FC236}">
                <a16:creationId xmlns:a16="http://schemas.microsoft.com/office/drawing/2014/main" id="{335668C2-6AD5-4938-80AB-AD2E858BAAEA}"/>
              </a:ext>
            </a:extLst>
          </p:cNvPr>
          <p:cNvSpPr>
            <a:spLocks noGrp="1"/>
          </p:cNvSpPr>
          <p:nvPr>
            <p:ph type="body" sz="quarter" idx="44" hasCustomPrompt="1"/>
          </p:nvPr>
        </p:nvSpPr>
        <p:spPr>
          <a:xfrm>
            <a:off x="6170085" y="4844424"/>
            <a:ext cx="5494867" cy="287899"/>
          </a:xfrm>
        </p:spPr>
        <p:txBody>
          <a:bodyPr/>
          <a:lstStyle>
            <a:lvl1pPr>
              <a:defRPr sz="1300" b="1"/>
            </a:lvl1pPr>
          </a:lstStyle>
          <a:p>
            <a:pPr lvl="0"/>
            <a:r>
              <a:rPr lang="en-US"/>
              <a:t>Please overwrite with: Personal reference projects (extract)</a:t>
            </a:r>
          </a:p>
        </p:txBody>
      </p:sp>
      <p:sp>
        <p:nvSpPr>
          <p:cNvPr id="36" name="text reference">
            <a:extLst>
              <a:ext uri="{FF2B5EF4-FFF2-40B4-BE49-F238E27FC236}">
                <a16:creationId xmlns:a16="http://schemas.microsoft.com/office/drawing/2014/main" id="{93F7DDB5-9685-4D34-BCA6-E837C4825F5E}"/>
              </a:ext>
            </a:extLst>
          </p:cNvPr>
          <p:cNvSpPr>
            <a:spLocks noGrp="1"/>
          </p:cNvSpPr>
          <p:nvPr>
            <p:ph type="body" sz="quarter" idx="45" hasCustomPrompt="1"/>
          </p:nvPr>
        </p:nvSpPr>
        <p:spPr>
          <a:xfrm>
            <a:off x="6170613" y="5132324"/>
            <a:ext cx="5494867" cy="963677"/>
          </a:xfrm>
        </p:spPr>
        <p:txBody>
          <a:bodyPr/>
          <a:lstStyle>
            <a:lvl1pPr marL="126000" indent="-126000">
              <a:spcBef>
                <a:spcPts val="0"/>
              </a:spcBef>
              <a:spcAft>
                <a:spcPts val="0"/>
              </a:spcAft>
              <a:buFont typeface="Wingdings" panose="05000000000000000000" pitchFamily="2" charset="2"/>
              <a:buChar char="§"/>
              <a:defRPr sz="1300"/>
            </a:lvl1pPr>
          </a:lstStyle>
          <a:p>
            <a:pPr lvl="0"/>
            <a:r>
              <a:rPr lang="de-DE"/>
              <a:t>Enter </a:t>
            </a:r>
            <a:r>
              <a:rPr lang="de-DE" err="1"/>
              <a:t>activities</a:t>
            </a:r>
            <a:r>
              <a:rPr lang="de-DE"/>
              <a:t> </a:t>
            </a:r>
            <a:r>
              <a:rPr lang="de-DE" err="1"/>
              <a:t>here</a:t>
            </a:r>
            <a:endParaRPr lang="de-DE"/>
          </a:p>
        </p:txBody>
      </p:sp>
      <p:sp>
        <p:nvSpPr>
          <p:cNvPr id="9" name="picture of employee">
            <a:extLst>
              <a:ext uri="{FF2B5EF4-FFF2-40B4-BE49-F238E27FC236}">
                <a16:creationId xmlns:a16="http://schemas.microsoft.com/office/drawing/2014/main" id="{54B15C24-C91C-479B-B80B-E87C176FCFF8}"/>
              </a:ext>
            </a:extLst>
          </p:cNvPr>
          <p:cNvSpPr>
            <a:spLocks noGrp="1"/>
          </p:cNvSpPr>
          <p:nvPr userDrawn="1">
            <p:ph type="pic" sz="quarter" idx="19" hasCustomPrompt="1"/>
          </p:nvPr>
        </p:nvSpPr>
        <p:spPr>
          <a:xfrm>
            <a:off x="527052" y="1844676"/>
            <a:ext cx="1130400" cy="1585548"/>
          </a:xfrm>
          <a:pattFill prst="ltUpDiag">
            <a:fgClr>
              <a:schemeClr val="bg1">
                <a:lumMod val="95000"/>
              </a:schemeClr>
            </a:fgClr>
            <a:bgClr>
              <a:schemeClr val="bg1"/>
            </a:bgClr>
          </a:pattFill>
        </p:spPr>
        <p:txBody>
          <a:bodyPr lIns="36000" tIns="432000" rIns="36000" anchor="ctr"/>
          <a:lstStyle>
            <a:lvl1pPr algn="ctr">
              <a:defRPr sz="1200"/>
            </a:lvl1pPr>
          </a:lstStyle>
          <a:p>
            <a:r>
              <a:rPr lang="de-DE" err="1"/>
              <a:t>picture</a:t>
            </a:r>
            <a:r>
              <a:rPr lang="de-DE"/>
              <a:t> </a:t>
            </a:r>
            <a:r>
              <a:rPr lang="de-DE" err="1"/>
              <a:t>of</a:t>
            </a:r>
            <a:r>
              <a:rPr lang="de-DE"/>
              <a:t> </a:t>
            </a:r>
            <a:r>
              <a:rPr lang="de-DE" err="1"/>
              <a:t>employee</a:t>
            </a:r>
            <a:endParaRPr lang="de-DE"/>
          </a:p>
        </p:txBody>
      </p:sp>
      <p:sp>
        <p:nvSpPr>
          <p:cNvPr id="10" name="picture of project 1">
            <a:extLst>
              <a:ext uri="{FF2B5EF4-FFF2-40B4-BE49-F238E27FC236}">
                <a16:creationId xmlns:a16="http://schemas.microsoft.com/office/drawing/2014/main" id="{23AD5CCB-1ACE-4A27-9FBF-A0918B978CFE}"/>
              </a:ext>
            </a:extLst>
          </p:cNvPr>
          <p:cNvSpPr>
            <a:spLocks noGrp="1"/>
          </p:cNvSpPr>
          <p:nvPr userDrawn="1">
            <p:ph type="pic" sz="quarter" idx="20" hasCustomPrompt="1"/>
          </p:nvPr>
        </p:nvSpPr>
        <p:spPr>
          <a:xfrm>
            <a:off x="527049" y="3954065"/>
            <a:ext cx="1808328" cy="1053761"/>
          </a:xfrm>
          <a:solidFill>
            <a:schemeClr val="bg1"/>
          </a:solidFill>
        </p:spPr>
        <p:txBody>
          <a:bodyPr lIns="36000" tIns="432000" rIns="36000" anchor="ctr"/>
          <a:lstStyle>
            <a:lvl1pPr marL="0" marR="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sz="1200"/>
            </a:lvl1pPr>
          </a:lstStyle>
          <a:p>
            <a:pPr marL="0" marR="0" lvl="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pPr>
            <a:r>
              <a:rPr lang="de-DE" err="1"/>
              <a:t>picture</a:t>
            </a:r>
            <a:r>
              <a:rPr lang="de-DE"/>
              <a:t> </a:t>
            </a:r>
            <a:r>
              <a:rPr lang="de-DE" err="1"/>
              <a:t>of</a:t>
            </a:r>
            <a:r>
              <a:rPr lang="de-DE"/>
              <a:t> </a:t>
            </a:r>
            <a:r>
              <a:rPr lang="de-DE" err="1"/>
              <a:t>project</a:t>
            </a:r>
            <a:endParaRPr lang="de-DE"/>
          </a:p>
        </p:txBody>
      </p:sp>
      <p:sp>
        <p:nvSpPr>
          <p:cNvPr id="11" name="picture of project 2">
            <a:extLst>
              <a:ext uri="{FF2B5EF4-FFF2-40B4-BE49-F238E27FC236}">
                <a16:creationId xmlns:a16="http://schemas.microsoft.com/office/drawing/2014/main" id="{4A329583-33EC-4B56-A7D6-E41D91A7982B}"/>
              </a:ext>
            </a:extLst>
          </p:cNvPr>
          <p:cNvSpPr>
            <a:spLocks noGrp="1"/>
          </p:cNvSpPr>
          <p:nvPr userDrawn="1">
            <p:ph type="pic" sz="quarter" idx="21" hasCustomPrompt="1"/>
          </p:nvPr>
        </p:nvSpPr>
        <p:spPr>
          <a:xfrm>
            <a:off x="2371376" y="3954065"/>
            <a:ext cx="1808326" cy="1053761"/>
          </a:xfrm>
          <a:solidFill>
            <a:schemeClr val="bg1"/>
          </a:solidFill>
        </p:spPr>
        <p:txBody>
          <a:bodyPr lIns="36000" tIns="432000" rIns="36000" anchor="ctr"/>
          <a:lstStyle>
            <a:lvl1pPr algn="ctr">
              <a:defRPr sz="1200"/>
            </a:lvl1pPr>
          </a:lstStyle>
          <a:p>
            <a:r>
              <a:rPr lang="de-DE" err="1"/>
              <a:t>picture</a:t>
            </a:r>
            <a:r>
              <a:rPr lang="de-DE"/>
              <a:t> </a:t>
            </a:r>
            <a:r>
              <a:rPr lang="de-DE" err="1"/>
              <a:t>of</a:t>
            </a:r>
            <a:r>
              <a:rPr lang="de-DE"/>
              <a:t> </a:t>
            </a:r>
            <a:r>
              <a:rPr lang="de-DE" err="1"/>
              <a:t>project</a:t>
            </a:r>
            <a:endParaRPr lang="de-DE"/>
          </a:p>
        </p:txBody>
      </p:sp>
      <p:sp>
        <p:nvSpPr>
          <p:cNvPr id="12" name="picture of project 3">
            <a:extLst>
              <a:ext uri="{FF2B5EF4-FFF2-40B4-BE49-F238E27FC236}">
                <a16:creationId xmlns:a16="http://schemas.microsoft.com/office/drawing/2014/main" id="{BB4172AD-B694-41EA-ABA8-33FDCFEE1055}"/>
              </a:ext>
            </a:extLst>
          </p:cNvPr>
          <p:cNvSpPr>
            <a:spLocks noGrp="1"/>
          </p:cNvSpPr>
          <p:nvPr userDrawn="1">
            <p:ph type="pic" sz="quarter" idx="22" hasCustomPrompt="1"/>
          </p:nvPr>
        </p:nvSpPr>
        <p:spPr>
          <a:xfrm>
            <a:off x="4215703" y="3954065"/>
            <a:ext cx="1808330" cy="1053760"/>
          </a:xfrm>
          <a:solidFill>
            <a:schemeClr val="bg1"/>
          </a:solidFill>
        </p:spPr>
        <p:txBody>
          <a:bodyPr lIns="36000" tIns="432000" rIns="36000" anchor="ctr"/>
          <a:lstStyle>
            <a:lvl1pPr algn="ctr">
              <a:defRPr sz="1200"/>
            </a:lvl1pPr>
          </a:lstStyle>
          <a:p>
            <a:r>
              <a:rPr lang="de-DE" err="1"/>
              <a:t>picture</a:t>
            </a:r>
            <a:r>
              <a:rPr lang="de-DE"/>
              <a:t> </a:t>
            </a:r>
            <a:r>
              <a:rPr lang="de-DE" err="1"/>
              <a:t>of</a:t>
            </a:r>
            <a:r>
              <a:rPr lang="de-DE"/>
              <a:t> </a:t>
            </a:r>
            <a:r>
              <a:rPr lang="de-DE" err="1"/>
              <a:t>project</a:t>
            </a:r>
            <a:endParaRPr lang="de-DE"/>
          </a:p>
        </p:txBody>
      </p:sp>
      <p:sp>
        <p:nvSpPr>
          <p:cNvPr id="20" name="picture of project 4">
            <a:extLst>
              <a:ext uri="{FF2B5EF4-FFF2-40B4-BE49-F238E27FC236}">
                <a16:creationId xmlns:a16="http://schemas.microsoft.com/office/drawing/2014/main" id="{AC0C0E91-9212-47B2-93C5-0AAF4AEEBDA2}"/>
              </a:ext>
            </a:extLst>
          </p:cNvPr>
          <p:cNvSpPr>
            <a:spLocks noGrp="1"/>
          </p:cNvSpPr>
          <p:nvPr>
            <p:ph type="pic" sz="quarter" idx="23" hasCustomPrompt="1"/>
          </p:nvPr>
        </p:nvSpPr>
        <p:spPr>
          <a:xfrm>
            <a:off x="527049" y="5042240"/>
            <a:ext cx="1808328" cy="1053761"/>
          </a:xfrm>
          <a:solidFill>
            <a:schemeClr val="bg1"/>
          </a:solidFill>
        </p:spPr>
        <p:txBody>
          <a:bodyPr lIns="36000" tIns="432000" rIns="36000" anchor="ctr"/>
          <a:lstStyle>
            <a:lvl1pPr algn="ctr">
              <a:defRPr sz="1200"/>
            </a:lvl1pPr>
          </a:lstStyle>
          <a:p>
            <a:r>
              <a:rPr lang="de-DE" err="1"/>
              <a:t>picture</a:t>
            </a:r>
            <a:r>
              <a:rPr lang="de-DE"/>
              <a:t> </a:t>
            </a:r>
            <a:r>
              <a:rPr lang="de-DE" err="1"/>
              <a:t>of</a:t>
            </a:r>
            <a:r>
              <a:rPr lang="de-DE"/>
              <a:t> </a:t>
            </a:r>
            <a:r>
              <a:rPr lang="de-DE" err="1"/>
              <a:t>project</a:t>
            </a:r>
            <a:endParaRPr lang="de-DE"/>
          </a:p>
        </p:txBody>
      </p:sp>
      <p:sp>
        <p:nvSpPr>
          <p:cNvPr id="21" name="picture of project 5">
            <a:extLst>
              <a:ext uri="{FF2B5EF4-FFF2-40B4-BE49-F238E27FC236}">
                <a16:creationId xmlns:a16="http://schemas.microsoft.com/office/drawing/2014/main" id="{D4F8E9EE-B926-4C1A-9483-6F83850606B1}"/>
              </a:ext>
            </a:extLst>
          </p:cNvPr>
          <p:cNvSpPr>
            <a:spLocks noGrp="1"/>
          </p:cNvSpPr>
          <p:nvPr>
            <p:ph type="pic" sz="quarter" idx="24" hasCustomPrompt="1"/>
          </p:nvPr>
        </p:nvSpPr>
        <p:spPr>
          <a:xfrm>
            <a:off x="2371376" y="5042240"/>
            <a:ext cx="1808326" cy="1053761"/>
          </a:xfrm>
          <a:solidFill>
            <a:schemeClr val="bg1"/>
          </a:solidFill>
        </p:spPr>
        <p:txBody>
          <a:bodyPr lIns="36000" tIns="432000" rIns="36000" anchor="ctr"/>
          <a:lstStyle>
            <a:lvl1pPr algn="ctr">
              <a:defRPr sz="1200"/>
            </a:lvl1pPr>
          </a:lstStyle>
          <a:p>
            <a:r>
              <a:rPr lang="de-DE" err="1"/>
              <a:t>picture</a:t>
            </a:r>
            <a:r>
              <a:rPr lang="de-DE"/>
              <a:t> </a:t>
            </a:r>
            <a:r>
              <a:rPr lang="de-DE" err="1"/>
              <a:t>of</a:t>
            </a:r>
            <a:r>
              <a:rPr lang="de-DE"/>
              <a:t> </a:t>
            </a:r>
            <a:r>
              <a:rPr lang="de-DE" err="1"/>
              <a:t>project</a:t>
            </a:r>
            <a:endParaRPr lang="de-DE"/>
          </a:p>
        </p:txBody>
      </p:sp>
      <p:sp>
        <p:nvSpPr>
          <p:cNvPr id="22" name="picture of project 6">
            <a:extLst>
              <a:ext uri="{FF2B5EF4-FFF2-40B4-BE49-F238E27FC236}">
                <a16:creationId xmlns:a16="http://schemas.microsoft.com/office/drawing/2014/main" id="{46775A46-0EC5-4815-9578-712F6AE16099}"/>
              </a:ext>
            </a:extLst>
          </p:cNvPr>
          <p:cNvSpPr>
            <a:spLocks noGrp="1"/>
          </p:cNvSpPr>
          <p:nvPr>
            <p:ph type="pic" sz="quarter" idx="25" hasCustomPrompt="1"/>
          </p:nvPr>
        </p:nvSpPr>
        <p:spPr>
          <a:xfrm>
            <a:off x="4215703" y="5042241"/>
            <a:ext cx="1808330" cy="1053760"/>
          </a:xfrm>
          <a:solidFill>
            <a:schemeClr val="bg1"/>
          </a:solidFill>
        </p:spPr>
        <p:txBody>
          <a:bodyPr lIns="36000" tIns="432000" rIns="36000" anchor="ctr"/>
          <a:lstStyle>
            <a:lvl1pPr algn="ctr">
              <a:defRPr sz="1200"/>
            </a:lvl1pPr>
          </a:lstStyle>
          <a:p>
            <a:r>
              <a:rPr lang="de-DE" err="1"/>
              <a:t>picture</a:t>
            </a:r>
            <a:r>
              <a:rPr lang="de-DE"/>
              <a:t> </a:t>
            </a:r>
            <a:r>
              <a:rPr lang="de-DE" err="1"/>
              <a:t>of</a:t>
            </a:r>
            <a:r>
              <a:rPr lang="de-DE"/>
              <a:t> </a:t>
            </a:r>
            <a:r>
              <a:rPr lang="de-DE" err="1"/>
              <a:t>project</a:t>
            </a:r>
            <a:endParaRPr lang="de-DE"/>
          </a:p>
        </p:txBody>
      </p:sp>
      <p:sp>
        <p:nvSpPr>
          <p:cNvPr id="13" name="slide number">
            <a:extLst>
              <a:ext uri="{FF2B5EF4-FFF2-40B4-BE49-F238E27FC236}">
                <a16:creationId xmlns:a16="http://schemas.microsoft.com/office/drawing/2014/main" id="{E2165EB6-AEFC-42BB-A3D9-59700EE3C769}"/>
              </a:ext>
            </a:extLst>
          </p:cNvPr>
          <p:cNvSpPr>
            <a:spLocks noGrp="1"/>
          </p:cNvSpPr>
          <p:nvPr>
            <p:ph type="sldNum" sz="quarter" idx="35"/>
          </p:nvPr>
        </p:nvSpPr>
        <p:spPr/>
        <p:txBody>
          <a:bodyPr/>
          <a:lstStyle/>
          <a:p>
            <a:fld id="{521AE3AC-DDCA-45D4-9B2A-A2DBEA872607}" type="slidenum">
              <a:rPr lang="de-DE" smtClean="0"/>
              <a:pPr/>
              <a:t>‹Nr.›</a:t>
            </a:fld>
            <a:endParaRPr lang="de-DE"/>
          </a:p>
        </p:txBody>
      </p:sp>
      <p:sp>
        <p:nvSpPr>
          <p:cNvPr id="8" name="footer">
            <a:extLst>
              <a:ext uri="{FF2B5EF4-FFF2-40B4-BE49-F238E27FC236}">
                <a16:creationId xmlns:a16="http://schemas.microsoft.com/office/drawing/2014/main" id="{C5FBFDEF-A896-4128-9446-86DB77FF6876}"/>
              </a:ext>
            </a:extLst>
          </p:cNvPr>
          <p:cNvSpPr>
            <a:spLocks noGrp="1"/>
          </p:cNvSpPr>
          <p:nvPr>
            <p:ph type="ftr" sz="quarter" idx="34"/>
          </p:nvPr>
        </p:nvSpPr>
        <p:spPr/>
        <p:txBody>
          <a:bodyPr/>
          <a:lstStyle/>
          <a:p>
            <a:endParaRPr lang="de-DE"/>
          </a:p>
        </p:txBody>
      </p:sp>
    </p:spTree>
    <p:extLst>
      <p:ext uri="{BB962C8B-B14F-4D97-AF65-F5344CB8AC3E}">
        <p14:creationId xmlns:p14="http://schemas.microsoft.com/office/powerpoint/2010/main" val="3711000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490" userDrawn="1">
          <p15:clr>
            <a:srgbClr val="FBAE40"/>
          </p15:clr>
        </p15:guide>
        <p15:guide id="2" orient="horz" pos="2162" userDrawn="1">
          <p15:clr>
            <a:srgbClr val="FBAE40"/>
          </p15:clr>
        </p15:guide>
        <p15:guide id="3" orient="horz" pos="1161" userDrawn="1">
          <p15:clr>
            <a:srgbClr val="FBAE40"/>
          </p15:clr>
        </p15:guide>
        <p15:guide id="4" pos="1046" userDrawn="1">
          <p15:clr>
            <a:srgbClr val="FBAE40"/>
          </p15:clr>
        </p15:guide>
        <p15:guide id="5" pos="3887" userDrawn="1">
          <p15:clr>
            <a:srgbClr val="FBAE40"/>
          </p15:clr>
        </p15:guide>
        <p15:guide id="6" pos="3794" userDrawn="1">
          <p15:clr>
            <a:srgbClr val="FBAE40"/>
          </p15:clr>
        </p15:guide>
        <p15:guide id="7" pos="1137" userDrawn="1">
          <p15:clr>
            <a:srgbClr val="FBAE40"/>
          </p15:clr>
        </p15:guide>
        <p15:guide id="8" orient="horz" pos="644"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3" name="background blue">
            <a:extLst>
              <a:ext uri="{FF2B5EF4-FFF2-40B4-BE49-F238E27FC236}">
                <a16:creationId xmlns:a16="http://schemas.microsoft.com/office/drawing/2014/main" id="{7C10F9BF-A030-45E5-9920-AEF791D4EE2B}"/>
              </a:ext>
            </a:extLst>
          </p:cNvPr>
          <p:cNvSpPr/>
          <p:nvPr userDrawn="1"/>
        </p:nvSpPr>
        <p:spPr bwMode="ltGray">
          <a:xfrm>
            <a:off x="524400" y="0"/>
            <a:ext cx="3616634" cy="72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400"/>
              </a:spcBef>
              <a:spcAft>
                <a:spcPts val="400"/>
              </a:spcAft>
            </a:pPr>
            <a:endParaRPr lang="de-DE" sz="1400"/>
          </a:p>
        </p:txBody>
      </p:sp>
      <p:grpSp>
        <p:nvGrpSpPr>
          <p:cNvPr id="11" name="line elements">
            <a:extLst>
              <a:ext uri="{FF2B5EF4-FFF2-40B4-BE49-F238E27FC236}">
                <a16:creationId xmlns:a16="http://schemas.microsoft.com/office/drawing/2014/main" id="{4F6CB27E-B327-414E-AA0A-9BF31A4F5AF9}"/>
              </a:ext>
            </a:extLst>
          </p:cNvPr>
          <p:cNvGrpSpPr>
            <a:grpSpLocks noChangeAspect="1"/>
          </p:cNvGrpSpPr>
          <p:nvPr userDrawn="1"/>
        </p:nvGrpSpPr>
        <p:grpSpPr bwMode="gray">
          <a:xfrm>
            <a:off x="947055" y="461121"/>
            <a:ext cx="740827" cy="26783"/>
            <a:chOff x="508288" y="461121"/>
            <a:chExt cx="740827" cy="26783"/>
          </a:xfrm>
          <a:solidFill>
            <a:schemeClr val="bg1"/>
          </a:solidFill>
        </p:grpSpPr>
        <p:sp>
          <p:nvSpPr>
            <p:cNvPr id="12" name="line 1">
              <a:extLst>
                <a:ext uri="{FF2B5EF4-FFF2-40B4-BE49-F238E27FC236}">
                  <a16:creationId xmlns:a16="http://schemas.microsoft.com/office/drawing/2014/main" id="{FE95890E-0CC8-49F5-8879-5C97F852ECB2}"/>
                </a:ext>
              </a:extLst>
            </p:cNvPr>
            <p:cNvSpPr>
              <a:spLocks/>
            </p:cNvSpPr>
            <p:nvPr/>
          </p:nvSpPr>
          <p:spPr bwMode="gray">
            <a:xfrm rot="2700000">
              <a:off x="617300" y="352116"/>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sp>
          <p:nvSpPr>
            <p:cNvPr id="13" name="line 2">
              <a:extLst>
                <a:ext uri="{FF2B5EF4-FFF2-40B4-BE49-F238E27FC236}">
                  <a16:creationId xmlns:a16="http://schemas.microsoft.com/office/drawing/2014/main" id="{8FBC76CC-6C93-4EAD-BB5A-AC58E58893E3}"/>
                </a:ext>
              </a:extLst>
            </p:cNvPr>
            <p:cNvSpPr>
              <a:spLocks/>
            </p:cNvSpPr>
            <p:nvPr/>
          </p:nvSpPr>
          <p:spPr bwMode="gray">
            <a:xfrm rot="2700000">
              <a:off x="741307" y="352116"/>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sp>
          <p:nvSpPr>
            <p:cNvPr id="14" name="line 3">
              <a:extLst>
                <a:ext uri="{FF2B5EF4-FFF2-40B4-BE49-F238E27FC236}">
                  <a16:creationId xmlns:a16="http://schemas.microsoft.com/office/drawing/2014/main" id="{833B7F2A-C36F-4121-A640-0347EF9BC4F9}"/>
                </a:ext>
              </a:extLst>
            </p:cNvPr>
            <p:cNvSpPr>
              <a:spLocks/>
            </p:cNvSpPr>
            <p:nvPr/>
          </p:nvSpPr>
          <p:spPr bwMode="gray">
            <a:xfrm rot="2700000">
              <a:off x="865314" y="352116"/>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sp>
          <p:nvSpPr>
            <p:cNvPr id="15" name="line 4">
              <a:extLst>
                <a:ext uri="{FF2B5EF4-FFF2-40B4-BE49-F238E27FC236}">
                  <a16:creationId xmlns:a16="http://schemas.microsoft.com/office/drawing/2014/main" id="{86677207-A962-4864-BA20-660B25195318}"/>
                </a:ext>
              </a:extLst>
            </p:cNvPr>
            <p:cNvSpPr>
              <a:spLocks/>
            </p:cNvSpPr>
            <p:nvPr/>
          </p:nvSpPr>
          <p:spPr bwMode="gray">
            <a:xfrm rot="2700000">
              <a:off x="989321" y="352116"/>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sp>
          <p:nvSpPr>
            <p:cNvPr id="16" name="line 5">
              <a:extLst>
                <a:ext uri="{FF2B5EF4-FFF2-40B4-BE49-F238E27FC236}">
                  <a16:creationId xmlns:a16="http://schemas.microsoft.com/office/drawing/2014/main" id="{A4841BDC-E0A7-45E2-B2BF-A59197A51F08}"/>
                </a:ext>
              </a:extLst>
            </p:cNvPr>
            <p:cNvSpPr>
              <a:spLocks/>
            </p:cNvSpPr>
            <p:nvPr/>
          </p:nvSpPr>
          <p:spPr bwMode="gray">
            <a:xfrm rot="2700000">
              <a:off x="1113327" y="352109"/>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grpSp>
      <p:sp>
        <p:nvSpPr>
          <p:cNvPr id="109" name="background grey">
            <a:extLst>
              <a:ext uri="{FF2B5EF4-FFF2-40B4-BE49-F238E27FC236}">
                <a16:creationId xmlns:a16="http://schemas.microsoft.com/office/drawing/2014/main" id="{E7A8EE9A-2B31-449C-B388-779824C3E640}"/>
              </a:ext>
            </a:extLst>
          </p:cNvPr>
          <p:cNvSpPr/>
          <p:nvPr userDrawn="1"/>
        </p:nvSpPr>
        <p:spPr bwMode="gray">
          <a:xfrm>
            <a:off x="0" y="2528871"/>
            <a:ext cx="9784633" cy="35676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400"/>
              </a:spcBef>
              <a:spcAft>
                <a:spcPts val="400"/>
              </a:spcAft>
            </a:pPr>
            <a:endParaRPr lang="de-DE" sz="1400"/>
          </a:p>
        </p:txBody>
      </p:sp>
      <p:sp>
        <p:nvSpPr>
          <p:cNvPr id="2" name="title">
            <a:extLst>
              <a:ext uri="{FF2B5EF4-FFF2-40B4-BE49-F238E27FC236}">
                <a16:creationId xmlns:a16="http://schemas.microsoft.com/office/drawing/2014/main" id="{8FFCB50B-5503-4467-8A0F-9FBB8B48B97D}"/>
              </a:ext>
            </a:extLst>
          </p:cNvPr>
          <p:cNvSpPr>
            <a:spLocks noGrp="1"/>
          </p:cNvSpPr>
          <p:nvPr userDrawn="1">
            <p:ph type="title" hasCustomPrompt="1"/>
          </p:nvPr>
        </p:nvSpPr>
        <p:spPr bwMode="ltGray">
          <a:xfrm>
            <a:off x="524400" y="671404"/>
            <a:ext cx="3616634" cy="782176"/>
          </a:xfrm>
          <a:solidFill>
            <a:schemeClr val="accent1"/>
          </a:solidFill>
        </p:spPr>
        <p:txBody>
          <a:bodyPr wrap="square" lIns="432000" tIns="0" rIns="432000" bIns="356400">
            <a:spAutoFit/>
          </a:bodyPr>
          <a:lstStyle>
            <a:lvl1pPr>
              <a:defRPr sz="3200">
                <a:solidFill>
                  <a:schemeClr val="bg1"/>
                </a:solidFill>
              </a:defRPr>
            </a:lvl1pPr>
          </a:lstStyle>
          <a:p>
            <a:r>
              <a:rPr lang="de-DE"/>
              <a:t>Contact</a:t>
            </a:r>
            <a:endParaRPr lang="en-US"/>
          </a:p>
        </p:txBody>
      </p:sp>
      <p:sp>
        <p:nvSpPr>
          <p:cNvPr id="107" name="text white">
            <a:extLst>
              <a:ext uri="{FF2B5EF4-FFF2-40B4-BE49-F238E27FC236}">
                <a16:creationId xmlns:a16="http://schemas.microsoft.com/office/drawing/2014/main" id="{47699D00-C79A-4282-B7BC-E3A69CC7BE83}"/>
              </a:ext>
            </a:extLst>
          </p:cNvPr>
          <p:cNvSpPr>
            <a:spLocks noGrp="1"/>
          </p:cNvSpPr>
          <p:nvPr>
            <p:ph type="body" sz="quarter" idx="15"/>
          </p:nvPr>
        </p:nvSpPr>
        <p:spPr bwMode="gray">
          <a:xfrm>
            <a:off x="2407367" y="2384874"/>
            <a:ext cx="6437107" cy="3420000"/>
          </a:xfrm>
          <a:solidFill>
            <a:schemeClr val="bg1"/>
          </a:solidFill>
        </p:spPr>
        <p:txBody>
          <a:bodyPr lIns="1872000" tIns="216000" rIns="216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1" name="picture of employee">
            <a:extLst>
              <a:ext uri="{FF2B5EF4-FFF2-40B4-BE49-F238E27FC236}">
                <a16:creationId xmlns:a16="http://schemas.microsoft.com/office/drawing/2014/main" id="{9F42FF48-CA95-4892-8051-0BA83451993B}"/>
              </a:ext>
            </a:extLst>
          </p:cNvPr>
          <p:cNvSpPr>
            <a:spLocks noGrp="1" noChangeAspect="1"/>
          </p:cNvSpPr>
          <p:nvPr>
            <p:ph type="pic" sz="quarter" idx="16"/>
          </p:nvPr>
        </p:nvSpPr>
        <p:spPr bwMode="gray">
          <a:xfrm>
            <a:off x="2120401" y="2242800"/>
            <a:ext cx="2020634" cy="2834136"/>
          </a:xfrm>
          <a:pattFill prst="ltUpDiag">
            <a:fgClr>
              <a:schemeClr val="bg1">
                <a:lumMod val="95000"/>
              </a:schemeClr>
            </a:fgClr>
            <a:bgClr>
              <a:schemeClr val="bg1"/>
            </a:bgClr>
          </a:pattFill>
        </p:spPr>
        <p:txBody>
          <a:bodyPr/>
          <a:lstStyle/>
          <a:p>
            <a:endParaRPr lang="de-DE"/>
          </a:p>
        </p:txBody>
      </p:sp>
      <p:sp>
        <p:nvSpPr>
          <p:cNvPr id="6" name="slide number">
            <a:extLst>
              <a:ext uri="{FF2B5EF4-FFF2-40B4-BE49-F238E27FC236}">
                <a16:creationId xmlns:a16="http://schemas.microsoft.com/office/drawing/2014/main" id="{90B54C2D-8235-4852-8EB7-5E05529B2499}"/>
              </a:ext>
            </a:extLst>
          </p:cNvPr>
          <p:cNvSpPr>
            <a:spLocks noGrp="1"/>
          </p:cNvSpPr>
          <p:nvPr userDrawn="1">
            <p:ph type="sldNum" sz="quarter" idx="12"/>
          </p:nvPr>
        </p:nvSpPr>
        <p:spPr bwMode="gray">
          <a:xfrm>
            <a:off x="525600" y="6386400"/>
            <a:ext cx="234000" cy="180000"/>
          </a:xfrm>
        </p:spPr>
        <p:txBody>
          <a:bodyPr lIns="0" tIns="0" rIns="0" bIns="0"/>
          <a:lstStyle/>
          <a:p>
            <a:fld id="{9829449A-3FF3-45CE-9F4F-09BADC0910C6}" type="slidenum">
              <a:rPr lang="en-US" smtClean="0"/>
              <a:t>‹Nr.›</a:t>
            </a:fld>
            <a:endParaRPr lang="en-US"/>
          </a:p>
        </p:txBody>
      </p:sp>
      <p:sp>
        <p:nvSpPr>
          <p:cNvPr id="5" name="footer">
            <a:extLst>
              <a:ext uri="{FF2B5EF4-FFF2-40B4-BE49-F238E27FC236}">
                <a16:creationId xmlns:a16="http://schemas.microsoft.com/office/drawing/2014/main" id="{A4534FC4-D037-44B0-B266-D9E820FC1DF2}"/>
              </a:ext>
            </a:extLst>
          </p:cNvPr>
          <p:cNvSpPr>
            <a:spLocks noGrp="1"/>
          </p:cNvSpPr>
          <p:nvPr userDrawn="1">
            <p:ph type="ftr" sz="quarter" idx="11"/>
          </p:nvPr>
        </p:nvSpPr>
        <p:spPr bwMode="gray">
          <a:xfrm>
            <a:off x="763200" y="6386400"/>
            <a:ext cx="7880400" cy="180000"/>
          </a:xfrm>
        </p:spPr>
        <p:txBody>
          <a:bodyPr lIns="0" tIns="0" rIns="0" bIns="0"/>
          <a:lstStyle/>
          <a:p>
            <a:endParaRPr lang="en-US"/>
          </a:p>
        </p:txBody>
      </p:sp>
    </p:spTree>
    <p:extLst>
      <p:ext uri="{BB962C8B-B14F-4D97-AF65-F5344CB8AC3E}">
        <p14:creationId xmlns:p14="http://schemas.microsoft.com/office/powerpoint/2010/main" val="1249475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1335" userDrawn="1">
          <p15:clr>
            <a:srgbClr val="FBAE40"/>
          </p15:clr>
        </p15:guide>
        <p15:guide id="2" pos="2610" userDrawn="1">
          <p15:clr>
            <a:srgbClr val="FBAE40"/>
          </p15:clr>
        </p15:guide>
        <p15:guide id="3" pos="1515" userDrawn="1">
          <p15:clr>
            <a:srgbClr val="FBAE40"/>
          </p15:clr>
        </p15:guide>
        <p15:guide id="4" pos="5573" userDrawn="1">
          <p15:clr>
            <a:srgbClr val="FBAE40"/>
          </p15:clr>
        </p15:guide>
        <p15:guide id="5" orient="horz" pos="1412" userDrawn="1">
          <p15:clr>
            <a:srgbClr val="FBAE40"/>
          </p15:clr>
        </p15:guide>
        <p15:guide id="6" orient="horz" pos="1502" userDrawn="1">
          <p15:clr>
            <a:srgbClr val="FBAE40"/>
          </p15:clr>
        </p15:guide>
        <p15:guide id="8" orient="horz" pos="3257" userDrawn="1">
          <p15:clr>
            <a:srgbClr val="FBAE40"/>
          </p15:clr>
        </p15:guide>
        <p15:guide id="9" orient="horz" pos="3657"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act 3">
    <p:spTree>
      <p:nvGrpSpPr>
        <p:cNvPr id="1" name=""/>
        <p:cNvGrpSpPr/>
        <p:nvPr/>
      </p:nvGrpSpPr>
      <p:grpSpPr>
        <a:xfrm>
          <a:off x="0" y="0"/>
          <a:ext cx="0" cy="0"/>
          <a:chOff x="0" y="0"/>
          <a:chExt cx="0" cy="0"/>
        </a:xfrm>
      </p:grpSpPr>
      <p:sp>
        <p:nvSpPr>
          <p:cNvPr id="13" name="background blue">
            <a:extLst>
              <a:ext uri="{FF2B5EF4-FFF2-40B4-BE49-F238E27FC236}">
                <a16:creationId xmlns:a16="http://schemas.microsoft.com/office/drawing/2014/main" id="{3C54E428-D7FD-49E3-80B6-5B24654C529E}"/>
              </a:ext>
            </a:extLst>
          </p:cNvPr>
          <p:cNvSpPr/>
          <p:nvPr userDrawn="1"/>
        </p:nvSpPr>
        <p:spPr bwMode="ltGray">
          <a:xfrm>
            <a:off x="524400" y="0"/>
            <a:ext cx="3616634" cy="72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400"/>
              </a:spcBef>
              <a:spcAft>
                <a:spcPts val="400"/>
              </a:spcAft>
            </a:pPr>
            <a:endParaRPr lang="de-DE" sz="1400"/>
          </a:p>
        </p:txBody>
      </p:sp>
      <p:sp>
        <p:nvSpPr>
          <p:cNvPr id="37" name="background grey">
            <a:extLst>
              <a:ext uri="{FF2B5EF4-FFF2-40B4-BE49-F238E27FC236}">
                <a16:creationId xmlns:a16="http://schemas.microsoft.com/office/drawing/2014/main" id="{7F9D3300-4C95-4D81-BACD-8CC4188261BB}"/>
              </a:ext>
            </a:extLst>
          </p:cNvPr>
          <p:cNvSpPr/>
          <p:nvPr userDrawn="1"/>
        </p:nvSpPr>
        <p:spPr bwMode="gray">
          <a:xfrm>
            <a:off x="0" y="2528871"/>
            <a:ext cx="9784633" cy="356953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400"/>
              </a:spcBef>
              <a:spcAft>
                <a:spcPts val="400"/>
              </a:spcAft>
            </a:pPr>
            <a:endParaRPr lang="de-DE" sz="1400"/>
          </a:p>
        </p:txBody>
      </p:sp>
      <p:grpSp>
        <p:nvGrpSpPr>
          <p:cNvPr id="14" name="line elements">
            <a:extLst>
              <a:ext uri="{FF2B5EF4-FFF2-40B4-BE49-F238E27FC236}">
                <a16:creationId xmlns:a16="http://schemas.microsoft.com/office/drawing/2014/main" id="{80D27997-64D5-416E-A102-1D4770610B27}"/>
              </a:ext>
            </a:extLst>
          </p:cNvPr>
          <p:cNvGrpSpPr>
            <a:grpSpLocks noChangeAspect="1"/>
          </p:cNvGrpSpPr>
          <p:nvPr userDrawn="1"/>
        </p:nvGrpSpPr>
        <p:grpSpPr bwMode="gray">
          <a:xfrm>
            <a:off x="947055" y="461121"/>
            <a:ext cx="740827" cy="26783"/>
            <a:chOff x="508288" y="461121"/>
            <a:chExt cx="740827" cy="26783"/>
          </a:xfrm>
          <a:solidFill>
            <a:schemeClr val="bg1"/>
          </a:solidFill>
        </p:grpSpPr>
        <p:sp>
          <p:nvSpPr>
            <p:cNvPr id="15" name="line 1">
              <a:extLst>
                <a:ext uri="{FF2B5EF4-FFF2-40B4-BE49-F238E27FC236}">
                  <a16:creationId xmlns:a16="http://schemas.microsoft.com/office/drawing/2014/main" id="{13DE9B1B-2EF9-407D-BF98-C7E9001BF8A6}"/>
                </a:ext>
              </a:extLst>
            </p:cNvPr>
            <p:cNvSpPr>
              <a:spLocks/>
            </p:cNvSpPr>
            <p:nvPr/>
          </p:nvSpPr>
          <p:spPr bwMode="gray">
            <a:xfrm rot="2700000">
              <a:off x="617300" y="352116"/>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sp>
          <p:nvSpPr>
            <p:cNvPr id="16" name="line 2">
              <a:extLst>
                <a:ext uri="{FF2B5EF4-FFF2-40B4-BE49-F238E27FC236}">
                  <a16:creationId xmlns:a16="http://schemas.microsoft.com/office/drawing/2014/main" id="{2C95DF2D-D6EB-41A7-BDEC-D9A9D1D0D3B5}"/>
                </a:ext>
              </a:extLst>
            </p:cNvPr>
            <p:cNvSpPr>
              <a:spLocks/>
            </p:cNvSpPr>
            <p:nvPr/>
          </p:nvSpPr>
          <p:spPr bwMode="gray">
            <a:xfrm rot="2700000">
              <a:off x="741307" y="352116"/>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sp>
          <p:nvSpPr>
            <p:cNvPr id="17" name="line 3">
              <a:extLst>
                <a:ext uri="{FF2B5EF4-FFF2-40B4-BE49-F238E27FC236}">
                  <a16:creationId xmlns:a16="http://schemas.microsoft.com/office/drawing/2014/main" id="{B18E16A2-F4A4-4421-8B0F-4FAF1100D393}"/>
                </a:ext>
              </a:extLst>
            </p:cNvPr>
            <p:cNvSpPr>
              <a:spLocks/>
            </p:cNvSpPr>
            <p:nvPr/>
          </p:nvSpPr>
          <p:spPr bwMode="gray">
            <a:xfrm rot="2700000">
              <a:off x="865314" y="352116"/>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sp>
          <p:nvSpPr>
            <p:cNvPr id="18" name="line 4">
              <a:extLst>
                <a:ext uri="{FF2B5EF4-FFF2-40B4-BE49-F238E27FC236}">
                  <a16:creationId xmlns:a16="http://schemas.microsoft.com/office/drawing/2014/main" id="{4AA9CC4D-F03F-4343-8246-B434B10C49FB}"/>
                </a:ext>
              </a:extLst>
            </p:cNvPr>
            <p:cNvSpPr>
              <a:spLocks/>
            </p:cNvSpPr>
            <p:nvPr/>
          </p:nvSpPr>
          <p:spPr bwMode="gray">
            <a:xfrm rot="2700000">
              <a:off x="989321" y="352116"/>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sp>
          <p:nvSpPr>
            <p:cNvPr id="19" name="line 5">
              <a:extLst>
                <a:ext uri="{FF2B5EF4-FFF2-40B4-BE49-F238E27FC236}">
                  <a16:creationId xmlns:a16="http://schemas.microsoft.com/office/drawing/2014/main" id="{039B39E1-BB94-4898-958F-C4EDE6DF5942}"/>
                </a:ext>
              </a:extLst>
            </p:cNvPr>
            <p:cNvSpPr>
              <a:spLocks/>
            </p:cNvSpPr>
            <p:nvPr/>
          </p:nvSpPr>
          <p:spPr bwMode="gray">
            <a:xfrm rot="2700000">
              <a:off x="1113327" y="352109"/>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grpSp>
      <p:sp>
        <p:nvSpPr>
          <p:cNvPr id="2" name="title">
            <a:extLst>
              <a:ext uri="{FF2B5EF4-FFF2-40B4-BE49-F238E27FC236}">
                <a16:creationId xmlns:a16="http://schemas.microsoft.com/office/drawing/2014/main" id="{8FFCB50B-5503-4467-8A0F-9FBB8B48B97D}"/>
              </a:ext>
            </a:extLst>
          </p:cNvPr>
          <p:cNvSpPr>
            <a:spLocks noGrp="1"/>
          </p:cNvSpPr>
          <p:nvPr userDrawn="1">
            <p:ph type="title" hasCustomPrompt="1"/>
          </p:nvPr>
        </p:nvSpPr>
        <p:spPr bwMode="ltGray">
          <a:xfrm>
            <a:off x="524399" y="673200"/>
            <a:ext cx="3618000" cy="782176"/>
          </a:xfrm>
          <a:solidFill>
            <a:schemeClr val="accent1"/>
          </a:solidFill>
        </p:spPr>
        <p:txBody>
          <a:bodyPr wrap="square" lIns="432000" tIns="0" rIns="432000" bIns="356400">
            <a:spAutoFit/>
          </a:bodyPr>
          <a:lstStyle>
            <a:lvl1pPr>
              <a:defRPr sz="3200">
                <a:solidFill>
                  <a:schemeClr val="bg1"/>
                </a:solidFill>
              </a:defRPr>
            </a:lvl1pPr>
          </a:lstStyle>
          <a:p>
            <a:r>
              <a:rPr lang="de-DE"/>
              <a:t>Contact</a:t>
            </a:r>
            <a:endParaRPr lang="en-US"/>
          </a:p>
        </p:txBody>
      </p:sp>
      <p:sp>
        <p:nvSpPr>
          <p:cNvPr id="107" name="text 1">
            <a:extLst>
              <a:ext uri="{FF2B5EF4-FFF2-40B4-BE49-F238E27FC236}">
                <a16:creationId xmlns:a16="http://schemas.microsoft.com/office/drawing/2014/main" id="{47699D00-C79A-4282-B7BC-E3A69CC7BE83}"/>
              </a:ext>
            </a:extLst>
          </p:cNvPr>
          <p:cNvSpPr>
            <a:spLocks noGrp="1"/>
          </p:cNvSpPr>
          <p:nvPr>
            <p:ph type="body" sz="quarter" idx="15"/>
          </p:nvPr>
        </p:nvSpPr>
        <p:spPr bwMode="gray">
          <a:xfrm>
            <a:off x="818944" y="2384874"/>
            <a:ext cx="3178800" cy="3420000"/>
          </a:xfrm>
          <a:solidFill>
            <a:schemeClr val="bg1"/>
          </a:solidFill>
        </p:spPr>
        <p:txBody>
          <a:bodyPr lIns="1008000" tIns="216000" rIns="216000" bIns="216000"/>
          <a:lstStyle>
            <a:lvl1pPr>
              <a:defRPr sz="12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1" name="picture of employee 1">
            <a:extLst>
              <a:ext uri="{FF2B5EF4-FFF2-40B4-BE49-F238E27FC236}">
                <a16:creationId xmlns:a16="http://schemas.microsoft.com/office/drawing/2014/main" id="{9F42FF48-CA95-4892-8051-0BA83451993B}"/>
              </a:ext>
            </a:extLst>
          </p:cNvPr>
          <p:cNvSpPr>
            <a:spLocks noGrp="1" noChangeAspect="1"/>
          </p:cNvSpPr>
          <p:nvPr>
            <p:ph type="pic" sz="quarter" idx="16"/>
          </p:nvPr>
        </p:nvSpPr>
        <p:spPr bwMode="gray">
          <a:xfrm>
            <a:off x="525600" y="2242801"/>
            <a:ext cx="1093503" cy="1533745"/>
          </a:xfrm>
          <a:pattFill prst="ltUpDiag">
            <a:fgClr>
              <a:schemeClr val="bg1">
                <a:lumMod val="95000"/>
              </a:schemeClr>
            </a:fgClr>
            <a:bgClr>
              <a:schemeClr val="bg1"/>
            </a:bgClr>
          </a:pattFill>
        </p:spPr>
        <p:txBody>
          <a:bodyPr/>
          <a:lstStyle/>
          <a:p>
            <a:endParaRPr lang="de-DE"/>
          </a:p>
        </p:txBody>
      </p:sp>
      <p:sp>
        <p:nvSpPr>
          <p:cNvPr id="74" name="text 2">
            <a:extLst>
              <a:ext uri="{FF2B5EF4-FFF2-40B4-BE49-F238E27FC236}">
                <a16:creationId xmlns:a16="http://schemas.microsoft.com/office/drawing/2014/main" id="{7524B54E-3C46-41A3-93A8-01D7BDC0AA82}"/>
              </a:ext>
            </a:extLst>
          </p:cNvPr>
          <p:cNvSpPr>
            <a:spLocks noGrp="1"/>
          </p:cNvSpPr>
          <p:nvPr userDrawn="1">
            <p:ph type="body" sz="quarter" idx="20"/>
          </p:nvPr>
        </p:nvSpPr>
        <p:spPr bwMode="gray">
          <a:xfrm>
            <a:off x="4575600" y="2382837"/>
            <a:ext cx="3178800" cy="3420000"/>
          </a:xfrm>
          <a:solidFill>
            <a:schemeClr val="bg1"/>
          </a:solidFill>
        </p:spPr>
        <p:txBody>
          <a:bodyPr lIns="1008000" tIns="216000" rIns="216000" bIns="216000"/>
          <a:lstStyle>
            <a:lvl1pPr>
              <a:defRPr sz="12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5" name="picture of employee 2">
            <a:extLst>
              <a:ext uri="{FF2B5EF4-FFF2-40B4-BE49-F238E27FC236}">
                <a16:creationId xmlns:a16="http://schemas.microsoft.com/office/drawing/2014/main" id="{81B581A6-07C1-4823-8751-B2B2E751AE75}"/>
              </a:ext>
            </a:extLst>
          </p:cNvPr>
          <p:cNvSpPr>
            <a:spLocks noGrp="1" noChangeAspect="1"/>
          </p:cNvSpPr>
          <p:nvPr userDrawn="1">
            <p:ph type="pic" sz="quarter" idx="21"/>
          </p:nvPr>
        </p:nvSpPr>
        <p:spPr bwMode="gray">
          <a:xfrm>
            <a:off x="4287683" y="2242801"/>
            <a:ext cx="1093503" cy="1533745"/>
          </a:xfrm>
          <a:pattFill prst="ltUpDiag">
            <a:fgClr>
              <a:schemeClr val="bg1">
                <a:lumMod val="95000"/>
              </a:schemeClr>
            </a:fgClr>
            <a:bgClr>
              <a:schemeClr val="bg1"/>
            </a:bgClr>
          </a:pattFill>
        </p:spPr>
        <p:txBody>
          <a:bodyPr/>
          <a:lstStyle/>
          <a:p>
            <a:endParaRPr lang="de-DE"/>
          </a:p>
        </p:txBody>
      </p:sp>
      <p:sp>
        <p:nvSpPr>
          <p:cNvPr id="62" name="text 3">
            <a:extLst>
              <a:ext uri="{FF2B5EF4-FFF2-40B4-BE49-F238E27FC236}">
                <a16:creationId xmlns:a16="http://schemas.microsoft.com/office/drawing/2014/main" id="{8B964FB9-480A-40EE-B570-8A7F1C433963}"/>
              </a:ext>
            </a:extLst>
          </p:cNvPr>
          <p:cNvSpPr>
            <a:spLocks noGrp="1"/>
          </p:cNvSpPr>
          <p:nvPr>
            <p:ph type="body" sz="quarter" idx="22"/>
          </p:nvPr>
        </p:nvSpPr>
        <p:spPr bwMode="gray">
          <a:xfrm>
            <a:off x="8337600" y="2386800"/>
            <a:ext cx="3178800" cy="3420000"/>
          </a:xfrm>
          <a:solidFill>
            <a:schemeClr val="bg1"/>
          </a:solidFill>
        </p:spPr>
        <p:txBody>
          <a:bodyPr lIns="1008000" tIns="216000" rIns="216000" bIns="216000"/>
          <a:lstStyle>
            <a:lvl1pPr>
              <a:defRPr sz="12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4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5" name="picture of employee 3">
            <a:extLst>
              <a:ext uri="{FF2B5EF4-FFF2-40B4-BE49-F238E27FC236}">
                <a16:creationId xmlns:a16="http://schemas.microsoft.com/office/drawing/2014/main" id="{83A92F53-EC26-49B1-A7EF-E774F2867611}"/>
              </a:ext>
            </a:extLst>
          </p:cNvPr>
          <p:cNvSpPr>
            <a:spLocks noGrp="1" noChangeAspect="1"/>
          </p:cNvSpPr>
          <p:nvPr>
            <p:ph type="pic" sz="quarter" idx="23"/>
          </p:nvPr>
        </p:nvSpPr>
        <p:spPr bwMode="gray">
          <a:xfrm>
            <a:off x="8048316" y="2242801"/>
            <a:ext cx="1093503" cy="1533745"/>
          </a:xfrm>
          <a:pattFill prst="ltUpDiag">
            <a:fgClr>
              <a:schemeClr val="bg1">
                <a:lumMod val="95000"/>
              </a:schemeClr>
            </a:fgClr>
            <a:bgClr>
              <a:schemeClr val="bg1"/>
            </a:bgClr>
          </a:pattFill>
        </p:spPr>
        <p:txBody>
          <a:bodyPr/>
          <a:lstStyle/>
          <a:p>
            <a:endParaRPr lang="de-DE"/>
          </a:p>
        </p:txBody>
      </p:sp>
      <p:sp>
        <p:nvSpPr>
          <p:cNvPr id="6" name="slide number">
            <a:extLst>
              <a:ext uri="{FF2B5EF4-FFF2-40B4-BE49-F238E27FC236}">
                <a16:creationId xmlns:a16="http://schemas.microsoft.com/office/drawing/2014/main" id="{90B54C2D-8235-4852-8EB7-5E05529B2499}"/>
              </a:ext>
            </a:extLst>
          </p:cNvPr>
          <p:cNvSpPr>
            <a:spLocks noGrp="1"/>
          </p:cNvSpPr>
          <p:nvPr userDrawn="1">
            <p:ph type="sldNum" sz="quarter" idx="12"/>
          </p:nvPr>
        </p:nvSpPr>
        <p:spPr bwMode="gray">
          <a:xfrm>
            <a:off x="525600" y="6386400"/>
            <a:ext cx="234000" cy="180000"/>
          </a:xfrm>
        </p:spPr>
        <p:txBody>
          <a:bodyPr lIns="0" tIns="0" rIns="0" bIns="0"/>
          <a:lstStyle/>
          <a:p>
            <a:fld id="{9829449A-3FF3-45CE-9F4F-09BADC0910C6}" type="slidenum">
              <a:rPr lang="en-US" smtClean="0"/>
              <a:t>‹Nr.›</a:t>
            </a:fld>
            <a:endParaRPr lang="en-US"/>
          </a:p>
        </p:txBody>
      </p:sp>
      <p:sp>
        <p:nvSpPr>
          <p:cNvPr id="5" name="footer">
            <a:extLst>
              <a:ext uri="{FF2B5EF4-FFF2-40B4-BE49-F238E27FC236}">
                <a16:creationId xmlns:a16="http://schemas.microsoft.com/office/drawing/2014/main" id="{A4534FC4-D037-44B0-B266-D9E820FC1DF2}"/>
              </a:ext>
            </a:extLst>
          </p:cNvPr>
          <p:cNvSpPr>
            <a:spLocks noGrp="1"/>
          </p:cNvSpPr>
          <p:nvPr userDrawn="1">
            <p:ph type="ftr" sz="quarter" idx="11"/>
          </p:nvPr>
        </p:nvSpPr>
        <p:spPr bwMode="gray">
          <a:xfrm>
            <a:off x="763200" y="6386400"/>
            <a:ext cx="7880400" cy="180000"/>
          </a:xfrm>
        </p:spPr>
        <p:txBody>
          <a:bodyPr lIns="0" tIns="0" rIns="0" bIns="0"/>
          <a:lstStyle/>
          <a:p>
            <a:endParaRPr lang="en-US"/>
          </a:p>
        </p:txBody>
      </p:sp>
    </p:spTree>
    <p:extLst>
      <p:ext uri="{BB962C8B-B14F-4D97-AF65-F5344CB8AC3E}">
        <p14:creationId xmlns:p14="http://schemas.microsoft.com/office/powerpoint/2010/main" val="2621809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515" userDrawn="1">
          <p15:clr>
            <a:srgbClr val="FBAE40"/>
          </p15:clr>
        </p15:guide>
        <p15:guide id="2" pos="1020" userDrawn="1">
          <p15:clr>
            <a:srgbClr val="FBAE40"/>
          </p15:clr>
        </p15:guide>
        <p15:guide id="3" orient="horz" pos="1412" userDrawn="1">
          <p15:clr>
            <a:srgbClr val="FBAE40"/>
          </p15:clr>
        </p15:guide>
        <p15:guide id="4" orient="horz" pos="1502" userDrawn="1">
          <p15:clr>
            <a:srgbClr val="FBAE40"/>
          </p15:clr>
        </p15:guide>
        <p15:guide id="5" orient="horz" pos="3659" userDrawn="1">
          <p15:clr>
            <a:srgbClr val="FBAE40"/>
          </p15:clr>
        </p15:guide>
        <p15:guide id="6" orient="horz" pos="2379" userDrawn="1">
          <p15:clr>
            <a:srgbClr val="FBAE40"/>
          </p15:clr>
        </p15:guide>
        <p15:guide id="7" pos="2519" userDrawn="1">
          <p15:clr>
            <a:srgbClr val="FBAE40"/>
          </p15:clr>
        </p15:guide>
        <p15:guide id="8" pos="2700" userDrawn="1">
          <p15:clr>
            <a:srgbClr val="FBAE40"/>
          </p15:clr>
        </p15:guide>
        <p15:guide id="9" pos="2882" userDrawn="1">
          <p15:clr>
            <a:srgbClr val="FBAE40"/>
          </p15:clr>
        </p15:guide>
        <p15:guide id="10" pos="3390" userDrawn="1">
          <p15:clr>
            <a:srgbClr val="FBAE40"/>
          </p15:clr>
        </p15:guide>
        <p15:guide id="11" pos="4886" userDrawn="1">
          <p15:clr>
            <a:srgbClr val="FBAE40"/>
          </p15:clr>
        </p15:guide>
        <p15:guide id="12" pos="5069" userDrawn="1">
          <p15:clr>
            <a:srgbClr val="FBAE40"/>
          </p15:clr>
        </p15:guide>
        <p15:guide id="13" pos="5252" userDrawn="1">
          <p15:clr>
            <a:srgbClr val="FBAE40"/>
          </p15:clr>
        </p15:guide>
        <p15:guide id="14" pos="7256" userDrawn="1">
          <p15:clr>
            <a:srgbClr val="FBAE40"/>
          </p15:clr>
        </p15:guide>
        <p15:guide id="15" pos="2610"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Final slide">
    <p:bg>
      <p:bgPr>
        <a:solidFill>
          <a:schemeClr val="accent1"/>
        </a:solidFill>
        <a:effectLst/>
      </p:bgPr>
    </p:bg>
    <p:spTree>
      <p:nvGrpSpPr>
        <p:cNvPr id="1" name=""/>
        <p:cNvGrpSpPr/>
        <p:nvPr/>
      </p:nvGrpSpPr>
      <p:grpSpPr>
        <a:xfrm>
          <a:off x="0" y="0"/>
          <a:ext cx="0" cy="0"/>
          <a:chOff x="0" y="0"/>
          <a:chExt cx="0" cy="0"/>
        </a:xfrm>
      </p:grpSpPr>
      <p:sp>
        <p:nvSpPr>
          <p:cNvPr id="6" name="slide number">
            <a:extLst>
              <a:ext uri="{FF2B5EF4-FFF2-40B4-BE49-F238E27FC236}">
                <a16:creationId xmlns:a16="http://schemas.microsoft.com/office/drawing/2014/main" id="{90B54C2D-8235-4852-8EB7-5E05529B2499}"/>
              </a:ext>
            </a:extLst>
          </p:cNvPr>
          <p:cNvSpPr>
            <a:spLocks noGrp="1"/>
          </p:cNvSpPr>
          <p:nvPr userDrawn="1">
            <p:ph type="sldNum" sz="quarter" idx="12"/>
          </p:nvPr>
        </p:nvSpPr>
        <p:spPr>
          <a:xfrm>
            <a:off x="525600" y="7200000"/>
            <a:ext cx="234000" cy="180000"/>
          </a:xfrm>
        </p:spPr>
        <p:txBody>
          <a:bodyPr lIns="0" tIns="0" rIns="0" bIns="0"/>
          <a:lstStyle/>
          <a:p>
            <a:fld id="{9829449A-3FF3-45CE-9F4F-09BADC0910C6}" type="slidenum">
              <a:rPr lang="en-US" smtClean="0"/>
              <a:t>‹Nr.›</a:t>
            </a:fld>
            <a:endParaRPr lang="en-US"/>
          </a:p>
        </p:txBody>
      </p:sp>
      <p:sp>
        <p:nvSpPr>
          <p:cNvPr id="5" name="footer">
            <a:extLst>
              <a:ext uri="{FF2B5EF4-FFF2-40B4-BE49-F238E27FC236}">
                <a16:creationId xmlns:a16="http://schemas.microsoft.com/office/drawing/2014/main" id="{A4534FC4-D037-44B0-B266-D9E820FC1DF2}"/>
              </a:ext>
            </a:extLst>
          </p:cNvPr>
          <p:cNvSpPr>
            <a:spLocks noGrp="1"/>
          </p:cNvSpPr>
          <p:nvPr userDrawn="1">
            <p:ph type="ftr" sz="quarter" idx="11"/>
          </p:nvPr>
        </p:nvSpPr>
        <p:spPr>
          <a:xfrm>
            <a:off x="763200" y="7200000"/>
            <a:ext cx="7880400" cy="180000"/>
          </a:xfrm>
        </p:spPr>
        <p:txBody>
          <a:bodyPr lIns="0" tIns="0" rIns="0" bIns="0"/>
          <a:lstStyle/>
          <a:p>
            <a:endParaRPr lang="en-US"/>
          </a:p>
        </p:txBody>
      </p:sp>
      <p:sp>
        <p:nvSpPr>
          <p:cNvPr id="14" name="Erfolgreiche Gebäude">
            <a:extLst>
              <a:ext uri="{FF2B5EF4-FFF2-40B4-BE49-F238E27FC236}">
                <a16:creationId xmlns:a16="http://schemas.microsoft.com/office/drawing/2014/main" id="{D32A9B0A-8969-4932-87DC-8AFDCA4149B3}"/>
              </a:ext>
            </a:extLst>
          </p:cNvPr>
          <p:cNvSpPr/>
          <p:nvPr/>
        </p:nvSpPr>
        <p:spPr>
          <a:xfrm rot="18900000">
            <a:off x="-1120754" y="578433"/>
            <a:ext cx="5799547" cy="660305"/>
          </a:xfrm>
          <a:custGeom>
            <a:avLst/>
            <a:gdLst>
              <a:gd name="connsiteX0" fmla="*/ 0 w 6846488"/>
              <a:gd name="connsiteY0" fmla="*/ 0 h 660305"/>
              <a:gd name="connsiteX1" fmla="*/ 6846488 w 6846488"/>
              <a:gd name="connsiteY1" fmla="*/ 0 h 660305"/>
              <a:gd name="connsiteX2" fmla="*/ 6846488 w 6846488"/>
              <a:gd name="connsiteY2" fmla="*/ 660306 h 660305"/>
              <a:gd name="connsiteX3" fmla="*/ 0 w 6846488"/>
              <a:gd name="connsiteY3" fmla="*/ 660306 h 660305"/>
            </a:gdLst>
            <a:ahLst/>
            <a:cxnLst>
              <a:cxn ang="0">
                <a:pos x="connsiteX0" y="connsiteY0"/>
              </a:cxn>
              <a:cxn ang="0">
                <a:pos x="connsiteX1" y="connsiteY1"/>
              </a:cxn>
              <a:cxn ang="0">
                <a:pos x="connsiteX2" y="connsiteY2"/>
              </a:cxn>
              <a:cxn ang="0">
                <a:pos x="connsiteX3" y="connsiteY3"/>
              </a:cxn>
            </a:cxnLst>
            <a:rect l="l" t="t" r="r" b="b"/>
            <a:pathLst>
              <a:path w="6846488" h="660305">
                <a:moveTo>
                  <a:pt x="0" y="0"/>
                </a:moveTo>
                <a:lnTo>
                  <a:pt x="6846488" y="0"/>
                </a:lnTo>
                <a:lnTo>
                  <a:pt x="6846488" y="660306"/>
                </a:lnTo>
                <a:lnTo>
                  <a:pt x="0" y="660306"/>
                </a:lnTo>
                <a:close/>
              </a:path>
            </a:pathLst>
          </a:custGeom>
          <a:noFill/>
          <a:ln w="15210" cap="flat">
            <a:noFill/>
            <a:prstDash val="solid"/>
            <a:miter/>
          </a:ln>
        </p:spPr>
        <p:txBody>
          <a:bodyPr lIns="0" tIns="0" rIns="1854000" bIns="0" rtlCol="0" anchor="ctr"/>
          <a:lstStyle/>
          <a:p>
            <a:pPr algn="r"/>
            <a:r>
              <a:rPr lang="de-DE" sz="2500" b="1" cap="all" baseline="0">
                <a:solidFill>
                  <a:schemeClr val="bg1"/>
                </a:solidFill>
              </a:rPr>
              <a:t>Erfolgreiche Gebäude</a:t>
            </a:r>
          </a:p>
        </p:txBody>
      </p:sp>
      <p:sp>
        <p:nvSpPr>
          <p:cNvPr id="15" name="Lebenswerte Städte">
            <a:extLst>
              <a:ext uri="{FF2B5EF4-FFF2-40B4-BE49-F238E27FC236}">
                <a16:creationId xmlns:a16="http://schemas.microsoft.com/office/drawing/2014/main" id="{4FC0A3E7-9620-4441-B673-52FA37599C97}"/>
              </a:ext>
            </a:extLst>
          </p:cNvPr>
          <p:cNvSpPr/>
          <p:nvPr/>
        </p:nvSpPr>
        <p:spPr>
          <a:xfrm rot="18900000">
            <a:off x="877117" y="359764"/>
            <a:ext cx="5180752" cy="660305"/>
          </a:xfrm>
          <a:custGeom>
            <a:avLst/>
            <a:gdLst>
              <a:gd name="connsiteX0" fmla="*/ 0 w 5074464"/>
              <a:gd name="connsiteY0" fmla="*/ 0 h 660305"/>
              <a:gd name="connsiteX1" fmla="*/ 5074466 w 5074464"/>
              <a:gd name="connsiteY1" fmla="*/ 0 h 660305"/>
              <a:gd name="connsiteX2" fmla="*/ 5074466 w 5074464"/>
              <a:gd name="connsiteY2" fmla="*/ 660306 h 660305"/>
              <a:gd name="connsiteX3" fmla="*/ 0 w 5074464"/>
              <a:gd name="connsiteY3" fmla="*/ 660306 h 660305"/>
            </a:gdLst>
            <a:ahLst/>
            <a:cxnLst>
              <a:cxn ang="0">
                <a:pos x="connsiteX0" y="connsiteY0"/>
              </a:cxn>
              <a:cxn ang="0">
                <a:pos x="connsiteX1" y="connsiteY1"/>
              </a:cxn>
              <a:cxn ang="0">
                <a:pos x="connsiteX2" y="connsiteY2"/>
              </a:cxn>
              <a:cxn ang="0">
                <a:pos x="connsiteX3" y="connsiteY3"/>
              </a:cxn>
            </a:cxnLst>
            <a:rect l="l" t="t" r="r" b="b"/>
            <a:pathLst>
              <a:path w="5074464" h="660305">
                <a:moveTo>
                  <a:pt x="0" y="0"/>
                </a:moveTo>
                <a:lnTo>
                  <a:pt x="5074466" y="0"/>
                </a:lnTo>
                <a:lnTo>
                  <a:pt x="5074466" y="660306"/>
                </a:lnTo>
                <a:lnTo>
                  <a:pt x="0" y="660306"/>
                </a:lnTo>
                <a:close/>
              </a:path>
            </a:pathLst>
          </a:custGeom>
          <a:noFill/>
          <a:ln w="15210" cap="flat">
            <a:noFill/>
            <a:prstDash val="solid"/>
            <a:miter/>
          </a:ln>
        </p:spPr>
        <p:txBody>
          <a:bodyPr lIns="0" tIns="0" rIns="1854000" bIns="0" rtlCol="0" anchor="ctr"/>
          <a:lstStyle/>
          <a:p>
            <a:pPr marL="0" algn="r" defTabSz="914400" rtl="0" eaLnBrk="1" latinLnBrk="0" hangingPunct="1"/>
            <a:r>
              <a:rPr lang="de-DE" sz="2500" b="1" kern="1200" cap="all" baseline="0">
                <a:solidFill>
                  <a:schemeClr val="bg1"/>
                </a:solidFill>
                <a:latin typeface="+mn-lt"/>
                <a:ea typeface="+mn-ea"/>
                <a:cs typeface="+mn-cs"/>
              </a:rPr>
              <a:t>Lebenswerte Städte</a:t>
            </a:r>
          </a:p>
        </p:txBody>
      </p:sp>
      <p:sp>
        <p:nvSpPr>
          <p:cNvPr id="16" name="Renditestarke Portfolios">
            <a:extLst>
              <a:ext uri="{FF2B5EF4-FFF2-40B4-BE49-F238E27FC236}">
                <a16:creationId xmlns:a16="http://schemas.microsoft.com/office/drawing/2014/main" id="{88B635C4-811B-4F53-998E-61C90EA69BC2}"/>
              </a:ext>
            </a:extLst>
          </p:cNvPr>
          <p:cNvSpPr/>
          <p:nvPr/>
        </p:nvSpPr>
        <p:spPr>
          <a:xfrm rot="18900000">
            <a:off x="1629276" y="655907"/>
            <a:ext cx="6018671" cy="660305"/>
          </a:xfrm>
          <a:custGeom>
            <a:avLst/>
            <a:gdLst>
              <a:gd name="connsiteX0" fmla="*/ 0 w 6004522"/>
              <a:gd name="connsiteY0" fmla="*/ 0 h 660305"/>
              <a:gd name="connsiteX1" fmla="*/ 6004522 w 6004522"/>
              <a:gd name="connsiteY1" fmla="*/ 0 h 660305"/>
              <a:gd name="connsiteX2" fmla="*/ 6004522 w 6004522"/>
              <a:gd name="connsiteY2" fmla="*/ 660306 h 660305"/>
              <a:gd name="connsiteX3" fmla="*/ 0 w 6004522"/>
              <a:gd name="connsiteY3" fmla="*/ 660306 h 660305"/>
            </a:gdLst>
            <a:ahLst/>
            <a:cxnLst>
              <a:cxn ang="0">
                <a:pos x="connsiteX0" y="connsiteY0"/>
              </a:cxn>
              <a:cxn ang="0">
                <a:pos x="connsiteX1" y="connsiteY1"/>
              </a:cxn>
              <a:cxn ang="0">
                <a:pos x="connsiteX2" y="connsiteY2"/>
              </a:cxn>
              <a:cxn ang="0">
                <a:pos x="connsiteX3" y="connsiteY3"/>
              </a:cxn>
            </a:cxnLst>
            <a:rect l="l" t="t" r="r" b="b"/>
            <a:pathLst>
              <a:path w="6004522" h="660305">
                <a:moveTo>
                  <a:pt x="0" y="0"/>
                </a:moveTo>
                <a:lnTo>
                  <a:pt x="6004522" y="0"/>
                </a:lnTo>
                <a:lnTo>
                  <a:pt x="6004522" y="660306"/>
                </a:lnTo>
                <a:lnTo>
                  <a:pt x="0" y="660306"/>
                </a:lnTo>
                <a:close/>
              </a:path>
            </a:pathLst>
          </a:custGeom>
          <a:noFill/>
          <a:ln w="15210" cap="flat">
            <a:noFill/>
            <a:prstDash val="solid"/>
            <a:miter/>
          </a:ln>
        </p:spPr>
        <p:txBody>
          <a:bodyPr rot="0" spcFirstLastPara="0" vertOverflow="overflow" horzOverflow="overflow" vert="horz" wrap="square" lIns="0" tIns="0" rIns="1854000" bIns="0" numCol="1" spcCol="0" rtlCol="0" fromWordArt="0" anchor="ctr" anchorCtr="0" forceAA="0" compatLnSpc="1">
            <a:prstTxWarp prst="textNoShape">
              <a:avLst/>
            </a:prstTxWarp>
            <a:noAutofit/>
          </a:bodyPr>
          <a:lstStyle/>
          <a:p>
            <a:pPr lvl="0" algn="r"/>
            <a:r>
              <a:rPr lang="de-DE" sz="2500" b="1" cap="all" baseline="0">
                <a:solidFill>
                  <a:schemeClr val="bg1"/>
                </a:solidFill>
              </a:rPr>
              <a:t>Renditestarke </a:t>
            </a:r>
            <a:r>
              <a:rPr lang="de-DE" sz="2500" b="1" cap="all" baseline="0" err="1">
                <a:solidFill>
                  <a:schemeClr val="bg1"/>
                </a:solidFill>
              </a:rPr>
              <a:t>portfolios</a:t>
            </a:r>
            <a:endParaRPr lang="de-DE" sz="2500" b="1" cap="all" baseline="0">
              <a:solidFill>
                <a:schemeClr val="bg1"/>
              </a:solidFill>
            </a:endParaRPr>
          </a:p>
        </p:txBody>
      </p:sp>
      <p:sp>
        <p:nvSpPr>
          <p:cNvPr id="17" name="Leistungsfähige Infrastruktur">
            <a:extLst>
              <a:ext uri="{FF2B5EF4-FFF2-40B4-BE49-F238E27FC236}">
                <a16:creationId xmlns:a16="http://schemas.microsoft.com/office/drawing/2014/main" id="{34572720-8B6B-41C4-A138-6BC95F2579B5}"/>
              </a:ext>
            </a:extLst>
          </p:cNvPr>
          <p:cNvSpPr/>
          <p:nvPr/>
        </p:nvSpPr>
        <p:spPr>
          <a:xfrm rot="18900000">
            <a:off x="2380699" y="953332"/>
            <a:ext cx="6859977" cy="660305"/>
          </a:xfrm>
          <a:custGeom>
            <a:avLst/>
            <a:gdLst>
              <a:gd name="connsiteX0" fmla="*/ 0 w 6846488"/>
              <a:gd name="connsiteY0" fmla="*/ 0 h 660305"/>
              <a:gd name="connsiteX1" fmla="*/ 6846489 w 6846488"/>
              <a:gd name="connsiteY1" fmla="*/ 0 h 660305"/>
              <a:gd name="connsiteX2" fmla="*/ 6846489 w 6846488"/>
              <a:gd name="connsiteY2" fmla="*/ 660306 h 660305"/>
              <a:gd name="connsiteX3" fmla="*/ 0 w 6846488"/>
              <a:gd name="connsiteY3" fmla="*/ 660306 h 660305"/>
            </a:gdLst>
            <a:ahLst/>
            <a:cxnLst>
              <a:cxn ang="0">
                <a:pos x="connsiteX0" y="connsiteY0"/>
              </a:cxn>
              <a:cxn ang="0">
                <a:pos x="connsiteX1" y="connsiteY1"/>
              </a:cxn>
              <a:cxn ang="0">
                <a:pos x="connsiteX2" y="connsiteY2"/>
              </a:cxn>
              <a:cxn ang="0">
                <a:pos x="connsiteX3" y="connsiteY3"/>
              </a:cxn>
            </a:cxnLst>
            <a:rect l="l" t="t" r="r" b="b"/>
            <a:pathLst>
              <a:path w="6846488" h="660305">
                <a:moveTo>
                  <a:pt x="0" y="0"/>
                </a:moveTo>
                <a:lnTo>
                  <a:pt x="6846489" y="0"/>
                </a:lnTo>
                <a:lnTo>
                  <a:pt x="6846489" y="660306"/>
                </a:lnTo>
                <a:lnTo>
                  <a:pt x="0" y="660306"/>
                </a:lnTo>
                <a:close/>
              </a:path>
            </a:pathLst>
          </a:custGeom>
          <a:noFill/>
          <a:ln w="15210" cap="flat">
            <a:noFill/>
            <a:prstDash val="solid"/>
            <a:miter/>
          </a:ln>
        </p:spPr>
        <p:txBody>
          <a:bodyPr rot="0" spcFirstLastPara="0" vertOverflow="overflow" horzOverflow="overflow" vert="horz" wrap="square" lIns="0" tIns="0" rIns="1854000" bIns="0" numCol="1" spcCol="0" rtlCol="0" fromWordArt="0" anchor="ctr" anchorCtr="0" forceAA="0" compatLnSpc="1">
            <a:prstTxWarp prst="textNoShape">
              <a:avLst/>
            </a:prstTxWarp>
            <a:noAutofit/>
          </a:bodyPr>
          <a:lstStyle/>
          <a:p>
            <a:pPr lvl="0" algn="r"/>
            <a:r>
              <a:rPr lang="de-DE" sz="2500" b="1" cap="all" baseline="0">
                <a:solidFill>
                  <a:schemeClr val="bg1"/>
                </a:solidFill>
              </a:rPr>
              <a:t>Leistungsfähige </a:t>
            </a:r>
            <a:r>
              <a:rPr lang="de-DE" sz="2500" b="1" cap="all" baseline="0" err="1">
                <a:solidFill>
                  <a:schemeClr val="bg1"/>
                </a:solidFill>
              </a:rPr>
              <a:t>infrastruktur</a:t>
            </a:r>
            <a:endParaRPr lang="de-DE" sz="2500" b="1" cap="all" baseline="0">
              <a:solidFill>
                <a:schemeClr val="bg1"/>
              </a:solidFill>
            </a:endParaRPr>
          </a:p>
        </p:txBody>
      </p:sp>
      <p:sp>
        <p:nvSpPr>
          <p:cNvPr id="18" name="Zukunftsfähige Beratung">
            <a:extLst>
              <a:ext uri="{FF2B5EF4-FFF2-40B4-BE49-F238E27FC236}">
                <a16:creationId xmlns:a16="http://schemas.microsoft.com/office/drawing/2014/main" id="{C3DD2E5D-D243-4401-928B-9E65FE97C8CF}"/>
              </a:ext>
            </a:extLst>
          </p:cNvPr>
          <p:cNvSpPr/>
          <p:nvPr/>
        </p:nvSpPr>
        <p:spPr>
          <a:xfrm rot="18900000">
            <a:off x="4107295" y="845064"/>
            <a:ext cx="6553466" cy="660305"/>
          </a:xfrm>
          <a:custGeom>
            <a:avLst/>
            <a:gdLst>
              <a:gd name="connsiteX0" fmla="*/ 0 w 6455021"/>
              <a:gd name="connsiteY0" fmla="*/ 0 h 660305"/>
              <a:gd name="connsiteX1" fmla="*/ 6455022 w 6455021"/>
              <a:gd name="connsiteY1" fmla="*/ 0 h 660305"/>
              <a:gd name="connsiteX2" fmla="*/ 6455022 w 6455021"/>
              <a:gd name="connsiteY2" fmla="*/ 660306 h 660305"/>
              <a:gd name="connsiteX3" fmla="*/ 0 w 6455021"/>
              <a:gd name="connsiteY3" fmla="*/ 660306 h 660305"/>
            </a:gdLst>
            <a:ahLst/>
            <a:cxnLst>
              <a:cxn ang="0">
                <a:pos x="connsiteX0" y="connsiteY0"/>
              </a:cxn>
              <a:cxn ang="0">
                <a:pos x="connsiteX1" y="connsiteY1"/>
              </a:cxn>
              <a:cxn ang="0">
                <a:pos x="connsiteX2" y="connsiteY2"/>
              </a:cxn>
              <a:cxn ang="0">
                <a:pos x="connsiteX3" y="connsiteY3"/>
              </a:cxn>
            </a:cxnLst>
            <a:rect l="l" t="t" r="r" b="b"/>
            <a:pathLst>
              <a:path w="6455021" h="660305">
                <a:moveTo>
                  <a:pt x="0" y="0"/>
                </a:moveTo>
                <a:lnTo>
                  <a:pt x="6455022" y="0"/>
                </a:lnTo>
                <a:lnTo>
                  <a:pt x="6455022" y="660306"/>
                </a:lnTo>
                <a:lnTo>
                  <a:pt x="0" y="660306"/>
                </a:lnTo>
                <a:close/>
              </a:path>
            </a:pathLst>
          </a:custGeom>
          <a:noFill/>
          <a:ln w="15210" cap="flat">
            <a:noFill/>
            <a:prstDash val="solid"/>
            <a:miter/>
          </a:ln>
        </p:spPr>
        <p:txBody>
          <a:bodyPr rot="0" spcFirstLastPara="0" vertOverflow="overflow" horzOverflow="overflow" vert="horz" wrap="square" lIns="0" tIns="0" rIns="1854000" bIns="0" numCol="1" spcCol="0" rtlCol="0" fromWordArt="0" anchor="ctr" anchorCtr="0" forceAA="0" compatLnSpc="1">
            <a:prstTxWarp prst="textNoShape">
              <a:avLst/>
            </a:prstTxWarp>
            <a:noAutofit/>
          </a:bodyPr>
          <a:lstStyle/>
          <a:p>
            <a:pPr lvl="0" algn="r"/>
            <a:r>
              <a:rPr lang="de-DE" sz="2500" b="1" cap="all" baseline="0">
                <a:solidFill>
                  <a:schemeClr val="bg1"/>
                </a:solidFill>
              </a:rPr>
              <a:t>Zukunftsweisende </a:t>
            </a:r>
            <a:r>
              <a:rPr lang="de-DE" sz="2500" b="1" cap="all" baseline="0" err="1">
                <a:solidFill>
                  <a:schemeClr val="bg1"/>
                </a:solidFill>
              </a:rPr>
              <a:t>beratung</a:t>
            </a:r>
            <a:endParaRPr lang="de-DE" sz="2500" b="1" cap="all" baseline="0">
              <a:solidFill>
                <a:schemeClr val="bg1"/>
              </a:solidFill>
            </a:endParaRPr>
          </a:p>
        </p:txBody>
      </p:sp>
      <p:sp>
        <p:nvSpPr>
          <p:cNvPr id="59" name="bar 1">
            <a:extLst>
              <a:ext uri="{FF2B5EF4-FFF2-40B4-BE49-F238E27FC236}">
                <a16:creationId xmlns:a16="http://schemas.microsoft.com/office/drawing/2014/main" id="{8BE6467B-6385-4CF2-95A0-E240BAC0C685}"/>
              </a:ext>
            </a:extLst>
          </p:cNvPr>
          <p:cNvSpPr/>
          <p:nvPr/>
        </p:nvSpPr>
        <p:spPr>
          <a:xfrm rot="18900000">
            <a:off x="-1117997" y="-414081"/>
            <a:ext cx="6602163" cy="370858"/>
          </a:xfrm>
          <a:custGeom>
            <a:avLst/>
            <a:gdLst>
              <a:gd name="connsiteX0" fmla="*/ 0 w 2952721"/>
              <a:gd name="connsiteY0" fmla="*/ 0 h 229645"/>
              <a:gd name="connsiteX1" fmla="*/ 2952722 w 2952721"/>
              <a:gd name="connsiteY1" fmla="*/ 0 h 229645"/>
              <a:gd name="connsiteX2" fmla="*/ 2952722 w 2952721"/>
              <a:gd name="connsiteY2" fmla="*/ 229645 h 229645"/>
              <a:gd name="connsiteX3" fmla="*/ 0 w 2952721"/>
              <a:gd name="connsiteY3" fmla="*/ 229645 h 229645"/>
            </a:gdLst>
            <a:ahLst/>
            <a:cxnLst>
              <a:cxn ang="0">
                <a:pos x="connsiteX0" y="connsiteY0"/>
              </a:cxn>
              <a:cxn ang="0">
                <a:pos x="connsiteX1" y="connsiteY1"/>
              </a:cxn>
              <a:cxn ang="0">
                <a:pos x="connsiteX2" y="connsiteY2"/>
              </a:cxn>
              <a:cxn ang="0">
                <a:pos x="connsiteX3" y="connsiteY3"/>
              </a:cxn>
            </a:cxnLst>
            <a:rect l="l" t="t" r="r" b="b"/>
            <a:pathLst>
              <a:path w="2952721" h="229645">
                <a:moveTo>
                  <a:pt x="0" y="0"/>
                </a:moveTo>
                <a:lnTo>
                  <a:pt x="2952722" y="0"/>
                </a:lnTo>
                <a:lnTo>
                  <a:pt x="2952722" y="229645"/>
                </a:lnTo>
                <a:lnTo>
                  <a:pt x="0" y="229645"/>
                </a:lnTo>
                <a:close/>
              </a:path>
            </a:pathLst>
          </a:custGeom>
          <a:solidFill>
            <a:schemeClr val="bg1"/>
          </a:solidFill>
          <a:ln w="9525" cap="flat">
            <a:noFill/>
            <a:prstDash val="solid"/>
            <a:miter/>
          </a:ln>
        </p:spPr>
        <p:txBody>
          <a:bodyPr rtlCol="0" anchor="ctr"/>
          <a:lstStyle/>
          <a:p>
            <a:endParaRPr lang="de-DE"/>
          </a:p>
        </p:txBody>
      </p:sp>
      <p:sp>
        <p:nvSpPr>
          <p:cNvPr id="60" name="bar 2">
            <a:extLst>
              <a:ext uri="{FF2B5EF4-FFF2-40B4-BE49-F238E27FC236}">
                <a16:creationId xmlns:a16="http://schemas.microsoft.com/office/drawing/2014/main" id="{E8793D50-4231-4FEC-8C0C-413B7BDAF9CF}"/>
              </a:ext>
            </a:extLst>
          </p:cNvPr>
          <p:cNvSpPr/>
          <p:nvPr/>
        </p:nvSpPr>
        <p:spPr>
          <a:xfrm rot="18900000">
            <a:off x="363239" y="-383555"/>
            <a:ext cx="6516120" cy="370858"/>
          </a:xfrm>
          <a:custGeom>
            <a:avLst/>
            <a:gdLst>
              <a:gd name="connsiteX0" fmla="*/ 0 w 2952721"/>
              <a:gd name="connsiteY0" fmla="*/ 0 h 229645"/>
              <a:gd name="connsiteX1" fmla="*/ 2952722 w 2952721"/>
              <a:gd name="connsiteY1" fmla="*/ 0 h 229645"/>
              <a:gd name="connsiteX2" fmla="*/ 2952722 w 2952721"/>
              <a:gd name="connsiteY2" fmla="*/ 229645 h 229645"/>
              <a:gd name="connsiteX3" fmla="*/ 0 w 2952721"/>
              <a:gd name="connsiteY3" fmla="*/ 229645 h 229645"/>
            </a:gdLst>
            <a:ahLst/>
            <a:cxnLst>
              <a:cxn ang="0">
                <a:pos x="connsiteX0" y="connsiteY0"/>
              </a:cxn>
              <a:cxn ang="0">
                <a:pos x="connsiteX1" y="connsiteY1"/>
              </a:cxn>
              <a:cxn ang="0">
                <a:pos x="connsiteX2" y="connsiteY2"/>
              </a:cxn>
              <a:cxn ang="0">
                <a:pos x="connsiteX3" y="connsiteY3"/>
              </a:cxn>
            </a:cxnLst>
            <a:rect l="l" t="t" r="r" b="b"/>
            <a:pathLst>
              <a:path w="2952721" h="229645">
                <a:moveTo>
                  <a:pt x="0" y="0"/>
                </a:moveTo>
                <a:lnTo>
                  <a:pt x="2952722" y="0"/>
                </a:lnTo>
                <a:lnTo>
                  <a:pt x="2952722" y="229645"/>
                </a:lnTo>
                <a:lnTo>
                  <a:pt x="0" y="229645"/>
                </a:lnTo>
                <a:close/>
              </a:path>
            </a:pathLst>
          </a:custGeom>
          <a:solidFill>
            <a:schemeClr val="bg1"/>
          </a:solidFill>
          <a:ln w="9525" cap="flat">
            <a:noFill/>
            <a:prstDash val="solid"/>
            <a:miter/>
          </a:ln>
        </p:spPr>
        <p:txBody>
          <a:bodyPr rtlCol="0" anchor="ctr"/>
          <a:lstStyle/>
          <a:p>
            <a:endParaRPr lang="de-DE"/>
          </a:p>
        </p:txBody>
      </p:sp>
      <p:sp>
        <p:nvSpPr>
          <p:cNvPr id="61" name="bar 3">
            <a:extLst>
              <a:ext uri="{FF2B5EF4-FFF2-40B4-BE49-F238E27FC236}">
                <a16:creationId xmlns:a16="http://schemas.microsoft.com/office/drawing/2014/main" id="{0C0027FF-43A6-468E-9C5B-1521FA7B1F5F}"/>
              </a:ext>
            </a:extLst>
          </p:cNvPr>
          <p:cNvSpPr/>
          <p:nvPr/>
        </p:nvSpPr>
        <p:spPr>
          <a:xfrm rot="18900000">
            <a:off x="1863605" y="-307220"/>
            <a:ext cx="6300168" cy="370858"/>
          </a:xfrm>
          <a:custGeom>
            <a:avLst/>
            <a:gdLst>
              <a:gd name="connsiteX0" fmla="*/ 0 w 2952721"/>
              <a:gd name="connsiteY0" fmla="*/ 0 h 229645"/>
              <a:gd name="connsiteX1" fmla="*/ 2952722 w 2952721"/>
              <a:gd name="connsiteY1" fmla="*/ 0 h 229645"/>
              <a:gd name="connsiteX2" fmla="*/ 2952722 w 2952721"/>
              <a:gd name="connsiteY2" fmla="*/ 229645 h 229645"/>
              <a:gd name="connsiteX3" fmla="*/ 0 w 2952721"/>
              <a:gd name="connsiteY3" fmla="*/ 229645 h 229645"/>
            </a:gdLst>
            <a:ahLst/>
            <a:cxnLst>
              <a:cxn ang="0">
                <a:pos x="connsiteX0" y="connsiteY0"/>
              </a:cxn>
              <a:cxn ang="0">
                <a:pos x="connsiteX1" y="connsiteY1"/>
              </a:cxn>
              <a:cxn ang="0">
                <a:pos x="connsiteX2" y="connsiteY2"/>
              </a:cxn>
              <a:cxn ang="0">
                <a:pos x="connsiteX3" y="connsiteY3"/>
              </a:cxn>
            </a:cxnLst>
            <a:rect l="l" t="t" r="r" b="b"/>
            <a:pathLst>
              <a:path w="2952721" h="229645">
                <a:moveTo>
                  <a:pt x="0" y="0"/>
                </a:moveTo>
                <a:lnTo>
                  <a:pt x="2952722" y="0"/>
                </a:lnTo>
                <a:lnTo>
                  <a:pt x="2952722" y="229645"/>
                </a:lnTo>
                <a:lnTo>
                  <a:pt x="0" y="229645"/>
                </a:lnTo>
                <a:close/>
              </a:path>
            </a:pathLst>
          </a:custGeom>
          <a:solidFill>
            <a:schemeClr val="bg1"/>
          </a:solidFill>
          <a:ln w="9525" cap="flat">
            <a:noFill/>
            <a:prstDash val="solid"/>
            <a:miter/>
          </a:ln>
        </p:spPr>
        <p:txBody>
          <a:bodyPr rtlCol="0" anchor="ctr"/>
          <a:lstStyle/>
          <a:p>
            <a:endParaRPr lang="de-DE"/>
          </a:p>
        </p:txBody>
      </p:sp>
      <p:sp>
        <p:nvSpPr>
          <p:cNvPr id="62" name="bar 4">
            <a:extLst>
              <a:ext uri="{FF2B5EF4-FFF2-40B4-BE49-F238E27FC236}">
                <a16:creationId xmlns:a16="http://schemas.microsoft.com/office/drawing/2014/main" id="{A337BA6D-C590-42C0-9A29-78A21DE68CBD}"/>
              </a:ext>
            </a:extLst>
          </p:cNvPr>
          <p:cNvSpPr/>
          <p:nvPr/>
        </p:nvSpPr>
        <p:spPr>
          <a:xfrm rot="18900000">
            <a:off x="3361543" y="-236745"/>
            <a:ext cx="6100819" cy="370858"/>
          </a:xfrm>
          <a:custGeom>
            <a:avLst/>
            <a:gdLst>
              <a:gd name="connsiteX0" fmla="*/ 0 w 2952721"/>
              <a:gd name="connsiteY0" fmla="*/ 0 h 229645"/>
              <a:gd name="connsiteX1" fmla="*/ 2952722 w 2952721"/>
              <a:gd name="connsiteY1" fmla="*/ 0 h 229645"/>
              <a:gd name="connsiteX2" fmla="*/ 2952722 w 2952721"/>
              <a:gd name="connsiteY2" fmla="*/ 229645 h 229645"/>
              <a:gd name="connsiteX3" fmla="*/ 0 w 2952721"/>
              <a:gd name="connsiteY3" fmla="*/ 229645 h 229645"/>
            </a:gdLst>
            <a:ahLst/>
            <a:cxnLst>
              <a:cxn ang="0">
                <a:pos x="connsiteX0" y="connsiteY0"/>
              </a:cxn>
              <a:cxn ang="0">
                <a:pos x="connsiteX1" y="connsiteY1"/>
              </a:cxn>
              <a:cxn ang="0">
                <a:pos x="connsiteX2" y="connsiteY2"/>
              </a:cxn>
              <a:cxn ang="0">
                <a:pos x="connsiteX3" y="connsiteY3"/>
              </a:cxn>
            </a:cxnLst>
            <a:rect l="l" t="t" r="r" b="b"/>
            <a:pathLst>
              <a:path w="2952721" h="229645">
                <a:moveTo>
                  <a:pt x="0" y="0"/>
                </a:moveTo>
                <a:lnTo>
                  <a:pt x="2952722" y="0"/>
                </a:lnTo>
                <a:lnTo>
                  <a:pt x="2952722" y="229645"/>
                </a:lnTo>
                <a:lnTo>
                  <a:pt x="0" y="229645"/>
                </a:lnTo>
                <a:close/>
              </a:path>
            </a:pathLst>
          </a:custGeom>
          <a:solidFill>
            <a:schemeClr val="bg1"/>
          </a:solidFill>
          <a:ln w="9525" cap="flat">
            <a:noFill/>
            <a:prstDash val="solid"/>
            <a:miter/>
          </a:ln>
        </p:spPr>
        <p:txBody>
          <a:bodyPr rtlCol="0" anchor="ctr"/>
          <a:lstStyle/>
          <a:p>
            <a:endParaRPr lang="de-DE"/>
          </a:p>
        </p:txBody>
      </p:sp>
      <p:sp>
        <p:nvSpPr>
          <p:cNvPr id="63" name="bar 5">
            <a:extLst>
              <a:ext uri="{FF2B5EF4-FFF2-40B4-BE49-F238E27FC236}">
                <a16:creationId xmlns:a16="http://schemas.microsoft.com/office/drawing/2014/main" id="{EBAB8952-A0A8-4951-ADDF-F7A4E67E3C03}"/>
              </a:ext>
            </a:extLst>
          </p:cNvPr>
          <p:cNvSpPr/>
          <p:nvPr/>
        </p:nvSpPr>
        <p:spPr>
          <a:xfrm rot="18900000">
            <a:off x="4829779" y="-237973"/>
            <a:ext cx="6104249" cy="370858"/>
          </a:xfrm>
          <a:custGeom>
            <a:avLst/>
            <a:gdLst>
              <a:gd name="connsiteX0" fmla="*/ 0 w 2952721"/>
              <a:gd name="connsiteY0" fmla="*/ 0 h 229645"/>
              <a:gd name="connsiteX1" fmla="*/ 2952722 w 2952721"/>
              <a:gd name="connsiteY1" fmla="*/ 0 h 229645"/>
              <a:gd name="connsiteX2" fmla="*/ 2952722 w 2952721"/>
              <a:gd name="connsiteY2" fmla="*/ 229645 h 229645"/>
              <a:gd name="connsiteX3" fmla="*/ 0 w 2952721"/>
              <a:gd name="connsiteY3" fmla="*/ 229645 h 229645"/>
            </a:gdLst>
            <a:ahLst/>
            <a:cxnLst>
              <a:cxn ang="0">
                <a:pos x="connsiteX0" y="connsiteY0"/>
              </a:cxn>
              <a:cxn ang="0">
                <a:pos x="connsiteX1" y="connsiteY1"/>
              </a:cxn>
              <a:cxn ang="0">
                <a:pos x="connsiteX2" y="connsiteY2"/>
              </a:cxn>
              <a:cxn ang="0">
                <a:pos x="connsiteX3" y="connsiteY3"/>
              </a:cxn>
            </a:cxnLst>
            <a:rect l="l" t="t" r="r" b="b"/>
            <a:pathLst>
              <a:path w="2952721" h="229645">
                <a:moveTo>
                  <a:pt x="0" y="0"/>
                </a:moveTo>
                <a:lnTo>
                  <a:pt x="2952722" y="0"/>
                </a:lnTo>
                <a:lnTo>
                  <a:pt x="2952722" y="229645"/>
                </a:lnTo>
                <a:lnTo>
                  <a:pt x="0" y="229645"/>
                </a:lnTo>
                <a:close/>
              </a:path>
            </a:pathLst>
          </a:custGeom>
          <a:solidFill>
            <a:schemeClr val="bg1"/>
          </a:solidFill>
          <a:ln w="9525" cap="flat">
            <a:noFill/>
            <a:prstDash val="solid"/>
            <a:miter/>
          </a:ln>
        </p:spPr>
        <p:txBody>
          <a:bodyPr rtlCol="0" anchor="ctr"/>
          <a:lstStyle/>
          <a:p>
            <a:endParaRPr lang="de-DE"/>
          </a:p>
        </p:txBody>
      </p:sp>
      <p:pic>
        <p:nvPicPr>
          <p:cNvPr id="51" name="qr code" descr="Ein Bild, das Text enthält.&#10;&#10;Automatisch generierte Beschreibung">
            <a:extLst>
              <a:ext uri="{FF2B5EF4-FFF2-40B4-BE49-F238E27FC236}">
                <a16:creationId xmlns:a16="http://schemas.microsoft.com/office/drawing/2014/main" id="{C91B494C-CFBF-4D84-AFB9-176781471399}"/>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479338" y="5387338"/>
            <a:ext cx="1145877" cy="1145877"/>
          </a:xfrm>
          <a:prstGeom prst="rect">
            <a:avLst/>
          </a:prstGeom>
          <a:noFill/>
        </p:spPr>
      </p:pic>
      <p:grpSp>
        <p:nvGrpSpPr>
          <p:cNvPr id="42" name="logo drees&amp;sommer white">
            <a:extLst>
              <a:ext uri="{FF2B5EF4-FFF2-40B4-BE49-F238E27FC236}">
                <a16:creationId xmlns:a16="http://schemas.microsoft.com/office/drawing/2014/main" id="{064E53FF-DD7B-42FA-BD99-E65E3244A944}"/>
              </a:ext>
            </a:extLst>
          </p:cNvPr>
          <p:cNvGrpSpPr>
            <a:grpSpLocks noChangeAspect="1"/>
          </p:cNvGrpSpPr>
          <p:nvPr userDrawn="1"/>
        </p:nvGrpSpPr>
        <p:grpSpPr bwMode="gray">
          <a:xfrm>
            <a:off x="9982200" y="5897503"/>
            <a:ext cx="1682751" cy="507815"/>
            <a:chOff x="95247" y="1619247"/>
            <a:chExt cx="12004075" cy="3622552"/>
          </a:xfrm>
          <a:solidFill>
            <a:schemeClr val="bg1"/>
          </a:solidFill>
        </p:grpSpPr>
        <p:sp>
          <p:nvSpPr>
            <p:cNvPr id="43" name="d">
              <a:extLst>
                <a:ext uri="{FF2B5EF4-FFF2-40B4-BE49-F238E27FC236}">
                  <a16:creationId xmlns:a16="http://schemas.microsoft.com/office/drawing/2014/main" id="{717914E7-E00E-4795-BFE6-D9D247D86AD4}"/>
                </a:ext>
              </a:extLst>
            </p:cNvPr>
            <p:cNvSpPr/>
            <p:nvPr/>
          </p:nvSpPr>
          <p:spPr bwMode="gray">
            <a:xfrm>
              <a:off x="146585" y="1619247"/>
              <a:ext cx="1890145" cy="1555528"/>
            </a:xfrm>
            <a:custGeom>
              <a:avLst/>
              <a:gdLst>
                <a:gd name="connsiteX0" fmla="*/ 361760 w 1890141"/>
                <a:gd name="connsiteY0" fmla="*/ 1263206 h 1555527"/>
                <a:gd name="connsiteX1" fmla="*/ 361760 w 1890141"/>
                <a:gd name="connsiteY1" fmla="*/ 277368 h 1555527"/>
                <a:gd name="connsiteX2" fmla="*/ 1003840 w 1890141"/>
                <a:gd name="connsiteY2" fmla="*/ 277368 h 1555527"/>
                <a:gd name="connsiteX3" fmla="*/ 1516380 w 1890141"/>
                <a:gd name="connsiteY3" fmla="*/ 762762 h 1555527"/>
                <a:gd name="connsiteX4" fmla="*/ 828961 w 1890141"/>
                <a:gd name="connsiteY4" fmla="*/ 1263206 h 1555527"/>
                <a:gd name="connsiteX5" fmla="*/ 361760 w 1890141"/>
                <a:gd name="connsiteY5" fmla="*/ 1263206 h 1555527"/>
                <a:gd name="connsiteX6" fmla="*/ 0 w 1890141"/>
                <a:gd name="connsiteY6" fmla="*/ 1555528 h 1555527"/>
                <a:gd name="connsiteX7" fmla="*/ 907447 w 1890141"/>
                <a:gd name="connsiteY7" fmla="*/ 1555528 h 1555527"/>
                <a:gd name="connsiteX8" fmla="*/ 1546574 w 1890141"/>
                <a:gd name="connsiteY8" fmla="*/ 1435037 h 1555527"/>
                <a:gd name="connsiteX9" fmla="*/ 1890141 w 1890141"/>
                <a:gd name="connsiteY9" fmla="*/ 768763 h 1555527"/>
                <a:gd name="connsiteX10" fmla="*/ 1000792 w 1890141"/>
                <a:gd name="connsiteY10" fmla="*/ 0 h 1555527"/>
                <a:gd name="connsiteX11" fmla="*/ 0 w 1890141"/>
                <a:gd name="connsiteY11" fmla="*/ 0 h 1555527"/>
                <a:gd name="connsiteX12" fmla="*/ 0 w 1890141"/>
                <a:gd name="connsiteY12" fmla="*/ 1555528 h 155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90141" h="1555527">
                  <a:moveTo>
                    <a:pt x="361760" y="1263206"/>
                  </a:moveTo>
                  <a:lnTo>
                    <a:pt x="361760" y="277368"/>
                  </a:lnTo>
                  <a:lnTo>
                    <a:pt x="1003840" y="277368"/>
                  </a:lnTo>
                  <a:cubicBezTo>
                    <a:pt x="1344549" y="277368"/>
                    <a:pt x="1516380" y="446246"/>
                    <a:pt x="1516380" y="762762"/>
                  </a:cubicBezTo>
                  <a:cubicBezTo>
                    <a:pt x="1516380" y="1148620"/>
                    <a:pt x="1287209" y="1263206"/>
                    <a:pt x="828961" y="1263206"/>
                  </a:cubicBezTo>
                  <a:lnTo>
                    <a:pt x="361760" y="1263206"/>
                  </a:lnTo>
                  <a:close/>
                  <a:moveTo>
                    <a:pt x="0" y="1555528"/>
                  </a:moveTo>
                  <a:lnTo>
                    <a:pt x="907447" y="1555528"/>
                  </a:lnTo>
                  <a:cubicBezTo>
                    <a:pt x="1184624" y="1555528"/>
                    <a:pt x="1395698" y="1528382"/>
                    <a:pt x="1546574" y="1435037"/>
                  </a:cubicBezTo>
                  <a:cubicBezTo>
                    <a:pt x="1763649" y="1302353"/>
                    <a:pt x="1890141" y="1061180"/>
                    <a:pt x="1890141" y="768763"/>
                  </a:cubicBezTo>
                  <a:cubicBezTo>
                    <a:pt x="1890141" y="286417"/>
                    <a:pt x="1582769" y="0"/>
                    <a:pt x="1000792" y="0"/>
                  </a:cubicBezTo>
                  <a:lnTo>
                    <a:pt x="0" y="0"/>
                  </a:lnTo>
                  <a:lnTo>
                    <a:pt x="0" y="1555528"/>
                  </a:lnTo>
                  <a:close/>
                </a:path>
              </a:pathLst>
            </a:custGeom>
            <a:grpFill/>
            <a:ln w="9525" cap="flat">
              <a:noFill/>
              <a:prstDash val="solid"/>
              <a:miter/>
            </a:ln>
          </p:spPr>
          <p:txBody>
            <a:bodyPr lIns="0" tIns="0" rIns="0" bIns="0" rtlCol="0" anchor="ctr"/>
            <a:lstStyle/>
            <a:p>
              <a:endParaRPr lang="de-DE" sz="100"/>
            </a:p>
          </p:txBody>
        </p:sp>
        <p:sp>
          <p:nvSpPr>
            <p:cNvPr id="44" name="r">
              <a:extLst>
                <a:ext uri="{FF2B5EF4-FFF2-40B4-BE49-F238E27FC236}">
                  <a16:creationId xmlns:a16="http://schemas.microsoft.com/office/drawing/2014/main" id="{3C0B66EF-F9C4-45F5-8E89-115E3343A120}"/>
                </a:ext>
              </a:extLst>
            </p:cNvPr>
            <p:cNvSpPr/>
            <p:nvPr/>
          </p:nvSpPr>
          <p:spPr bwMode="gray">
            <a:xfrm>
              <a:off x="2405150" y="1899664"/>
              <a:ext cx="1579811" cy="1275112"/>
            </a:xfrm>
            <a:custGeom>
              <a:avLst/>
              <a:gdLst>
                <a:gd name="connsiteX0" fmla="*/ 1015937 w 1579816"/>
                <a:gd name="connsiteY0" fmla="*/ 220028 h 1275111"/>
                <a:gd name="connsiteX1" fmla="*/ 1157668 w 1579816"/>
                <a:gd name="connsiteY1" fmla="*/ 322517 h 1275111"/>
                <a:gd name="connsiteX2" fmla="*/ 1157668 w 1579816"/>
                <a:gd name="connsiteY2" fmla="*/ 470249 h 1275111"/>
                <a:gd name="connsiteX3" fmla="*/ 1015937 w 1579816"/>
                <a:gd name="connsiteY3" fmla="*/ 572738 h 1275111"/>
                <a:gd name="connsiteX4" fmla="*/ 307467 w 1579816"/>
                <a:gd name="connsiteY4" fmla="*/ 572738 h 1275111"/>
                <a:gd name="connsiteX5" fmla="*/ 307467 w 1579816"/>
                <a:gd name="connsiteY5" fmla="*/ 220028 h 1275111"/>
                <a:gd name="connsiteX6" fmla="*/ 1015937 w 1579816"/>
                <a:gd name="connsiteY6" fmla="*/ 220028 h 1275111"/>
                <a:gd name="connsiteX7" fmla="*/ 0 w 1579816"/>
                <a:gd name="connsiteY7" fmla="*/ 1275112 h 1275111"/>
                <a:gd name="connsiteX8" fmla="*/ 307562 w 1579816"/>
                <a:gd name="connsiteY8" fmla="*/ 1275112 h 1275111"/>
                <a:gd name="connsiteX9" fmla="*/ 307562 w 1579816"/>
                <a:gd name="connsiteY9" fmla="*/ 792671 h 1275111"/>
                <a:gd name="connsiteX10" fmla="*/ 599980 w 1579816"/>
                <a:gd name="connsiteY10" fmla="*/ 792671 h 1275111"/>
                <a:gd name="connsiteX11" fmla="*/ 1133570 w 1579816"/>
                <a:gd name="connsiteY11" fmla="*/ 1275112 h 1275111"/>
                <a:gd name="connsiteX12" fmla="*/ 1579817 w 1579816"/>
                <a:gd name="connsiteY12" fmla="*/ 1275112 h 1275111"/>
                <a:gd name="connsiteX13" fmla="*/ 973741 w 1579816"/>
                <a:gd name="connsiteY13" fmla="*/ 792671 h 1275111"/>
                <a:gd name="connsiteX14" fmla="*/ 1148620 w 1579816"/>
                <a:gd name="connsiteY14" fmla="*/ 792671 h 1275111"/>
                <a:gd name="connsiteX15" fmla="*/ 1447133 w 1579816"/>
                <a:gd name="connsiteY15" fmla="*/ 548640 h 1275111"/>
                <a:gd name="connsiteX16" fmla="*/ 1447133 w 1579816"/>
                <a:gd name="connsiteY16" fmla="*/ 247174 h 1275111"/>
                <a:gd name="connsiteX17" fmla="*/ 1148620 w 1579816"/>
                <a:gd name="connsiteY17" fmla="*/ 0 h 1275111"/>
                <a:gd name="connsiteX18" fmla="*/ 0 w 1579816"/>
                <a:gd name="connsiteY18" fmla="*/ 0 h 1275111"/>
                <a:gd name="connsiteX19" fmla="*/ 0 w 1579816"/>
                <a:gd name="connsiteY19" fmla="*/ 1275112 h 127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79816" h="1275111">
                  <a:moveTo>
                    <a:pt x="1015937" y="220028"/>
                  </a:moveTo>
                  <a:cubicBezTo>
                    <a:pt x="1109282" y="220028"/>
                    <a:pt x="1157668" y="238220"/>
                    <a:pt x="1157668" y="322517"/>
                  </a:cubicBezTo>
                  <a:lnTo>
                    <a:pt x="1157668" y="470249"/>
                  </a:lnTo>
                  <a:cubicBezTo>
                    <a:pt x="1157668" y="554736"/>
                    <a:pt x="1109282" y="572738"/>
                    <a:pt x="1015937" y="572738"/>
                  </a:cubicBezTo>
                  <a:lnTo>
                    <a:pt x="307467" y="572738"/>
                  </a:lnTo>
                  <a:lnTo>
                    <a:pt x="307467" y="220028"/>
                  </a:lnTo>
                  <a:lnTo>
                    <a:pt x="1015937" y="220028"/>
                  </a:lnTo>
                  <a:close/>
                  <a:moveTo>
                    <a:pt x="0" y="1275112"/>
                  </a:moveTo>
                  <a:lnTo>
                    <a:pt x="307562" y="1275112"/>
                  </a:lnTo>
                  <a:lnTo>
                    <a:pt x="307562" y="792671"/>
                  </a:lnTo>
                  <a:lnTo>
                    <a:pt x="599980" y="792671"/>
                  </a:lnTo>
                  <a:lnTo>
                    <a:pt x="1133570" y="1275112"/>
                  </a:lnTo>
                  <a:lnTo>
                    <a:pt x="1579817" y="1275112"/>
                  </a:lnTo>
                  <a:lnTo>
                    <a:pt x="973741" y="792671"/>
                  </a:lnTo>
                  <a:lnTo>
                    <a:pt x="1148620" y="792671"/>
                  </a:lnTo>
                  <a:cubicBezTo>
                    <a:pt x="1353693" y="792671"/>
                    <a:pt x="1447133" y="723329"/>
                    <a:pt x="1447133" y="548640"/>
                  </a:cubicBezTo>
                  <a:lnTo>
                    <a:pt x="1447133" y="247174"/>
                  </a:lnTo>
                  <a:cubicBezTo>
                    <a:pt x="1447133" y="69342"/>
                    <a:pt x="1353598" y="0"/>
                    <a:pt x="1148620" y="0"/>
                  </a:cubicBezTo>
                  <a:lnTo>
                    <a:pt x="0" y="0"/>
                  </a:lnTo>
                  <a:lnTo>
                    <a:pt x="0" y="1275112"/>
                  </a:lnTo>
                  <a:close/>
                </a:path>
              </a:pathLst>
            </a:custGeom>
            <a:grpFill/>
            <a:ln w="9525" cap="flat">
              <a:noFill/>
              <a:prstDash val="solid"/>
              <a:miter/>
            </a:ln>
          </p:spPr>
          <p:txBody>
            <a:bodyPr lIns="0" tIns="0" rIns="0" bIns="0" rtlCol="0" anchor="ctr"/>
            <a:lstStyle/>
            <a:p>
              <a:endParaRPr lang="de-DE" sz="100"/>
            </a:p>
          </p:txBody>
        </p:sp>
        <p:sp>
          <p:nvSpPr>
            <p:cNvPr id="45" name="e">
              <a:extLst>
                <a:ext uri="{FF2B5EF4-FFF2-40B4-BE49-F238E27FC236}">
                  <a16:creationId xmlns:a16="http://schemas.microsoft.com/office/drawing/2014/main" id="{484A8A93-6D92-46BC-81FC-E7ABD6DDEE95}"/>
                </a:ext>
              </a:extLst>
            </p:cNvPr>
            <p:cNvSpPr/>
            <p:nvPr/>
          </p:nvSpPr>
          <p:spPr bwMode="gray">
            <a:xfrm>
              <a:off x="4279102" y="1899664"/>
              <a:ext cx="1383701" cy="1275112"/>
            </a:xfrm>
            <a:custGeom>
              <a:avLst/>
              <a:gdLst>
                <a:gd name="connsiteX0" fmla="*/ 0 w 1383696"/>
                <a:gd name="connsiteY0" fmla="*/ 1275112 h 1275111"/>
                <a:gd name="connsiteX1" fmla="*/ 1383697 w 1383696"/>
                <a:gd name="connsiteY1" fmla="*/ 1275112 h 1275111"/>
                <a:gd name="connsiteX2" fmla="*/ 1383697 w 1383696"/>
                <a:gd name="connsiteY2" fmla="*/ 1036987 h 1275111"/>
                <a:gd name="connsiteX3" fmla="*/ 313563 w 1383696"/>
                <a:gd name="connsiteY3" fmla="*/ 1036987 h 1275111"/>
                <a:gd name="connsiteX4" fmla="*/ 313563 w 1383696"/>
                <a:gd name="connsiteY4" fmla="*/ 723424 h 1275111"/>
                <a:gd name="connsiteX5" fmla="*/ 928497 w 1383696"/>
                <a:gd name="connsiteY5" fmla="*/ 723424 h 1275111"/>
                <a:gd name="connsiteX6" fmla="*/ 928497 w 1383696"/>
                <a:gd name="connsiteY6" fmla="*/ 503396 h 1275111"/>
                <a:gd name="connsiteX7" fmla="*/ 313563 w 1383696"/>
                <a:gd name="connsiteY7" fmla="*/ 503396 h 1275111"/>
                <a:gd name="connsiteX8" fmla="*/ 313563 w 1383696"/>
                <a:gd name="connsiteY8" fmla="*/ 226028 h 1275111"/>
                <a:gd name="connsiteX9" fmla="*/ 1368743 w 1383696"/>
                <a:gd name="connsiteY9" fmla="*/ 226028 h 1275111"/>
                <a:gd name="connsiteX10" fmla="*/ 1368743 w 1383696"/>
                <a:gd name="connsiteY10" fmla="*/ 0 h 1275111"/>
                <a:gd name="connsiteX11" fmla="*/ 0 w 1383696"/>
                <a:gd name="connsiteY11" fmla="*/ 0 h 127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3696" h="1275111">
                  <a:moveTo>
                    <a:pt x="0" y="1275112"/>
                  </a:moveTo>
                  <a:lnTo>
                    <a:pt x="1383697" y="1275112"/>
                  </a:lnTo>
                  <a:lnTo>
                    <a:pt x="1383697" y="1036987"/>
                  </a:lnTo>
                  <a:lnTo>
                    <a:pt x="313563" y="1036987"/>
                  </a:lnTo>
                  <a:lnTo>
                    <a:pt x="313563" y="723424"/>
                  </a:lnTo>
                  <a:lnTo>
                    <a:pt x="928497" y="723424"/>
                  </a:lnTo>
                  <a:lnTo>
                    <a:pt x="928497" y="503396"/>
                  </a:lnTo>
                  <a:lnTo>
                    <a:pt x="313563" y="503396"/>
                  </a:lnTo>
                  <a:lnTo>
                    <a:pt x="313563" y="226028"/>
                  </a:lnTo>
                  <a:lnTo>
                    <a:pt x="1368743" y="226028"/>
                  </a:lnTo>
                  <a:lnTo>
                    <a:pt x="1368743" y="0"/>
                  </a:lnTo>
                  <a:lnTo>
                    <a:pt x="0" y="0"/>
                  </a:lnTo>
                  <a:close/>
                </a:path>
              </a:pathLst>
            </a:custGeom>
            <a:grpFill/>
            <a:ln w="9525" cap="flat">
              <a:noFill/>
              <a:prstDash val="solid"/>
              <a:miter/>
            </a:ln>
          </p:spPr>
          <p:txBody>
            <a:bodyPr lIns="0" tIns="0" rIns="0" bIns="0" rtlCol="0" anchor="ctr"/>
            <a:lstStyle/>
            <a:p>
              <a:endParaRPr lang="de-DE" sz="100"/>
            </a:p>
          </p:txBody>
        </p:sp>
        <p:sp>
          <p:nvSpPr>
            <p:cNvPr id="46" name="e">
              <a:extLst>
                <a:ext uri="{FF2B5EF4-FFF2-40B4-BE49-F238E27FC236}">
                  <a16:creationId xmlns:a16="http://schemas.microsoft.com/office/drawing/2014/main" id="{40E49D11-7812-4F22-B694-655F5A7599F8}"/>
                </a:ext>
              </a:extLst>
            </p:cNvPr>
            <p:cNvSpPr/>
            <p:nvPr/>
          </p:nvSpPr>
          <p:spPr bwMode="gray">
            <a:xfrm>
              <a:off x="6022562" y="1899664"/>
              <a:ext cx="1383701" cy="1275112"/>
            </a:xfrm>
            <a:custGeom>
              <a:avLst/>
              <a:gdLst>
                <a:gd name="connsiteX0" fmla="*/ 0 w 1383696"/>
                <a:gd name="connsiteY0" fmla="*/ 1275112 h 1275111"/>
                <a:gd name="connsiteX1" fmla="*/ 1383697 w 1383696"/>
                <a:gd name="connsiteY1" fmla="*/ 1275112 h 1275111"/>
                <a:gd name="connsiteX2" fmla="*/ 1383697 w 1383696"/>
                <a:gd name="connsiteY2" fmla="*/ 1036987 h 1275111"/>
                <a:gd name="connsiteX3" fmla="*/ 313563 w 1383696"/>
                <a:gd name="connsiteY3" fmla="*/ 1036987 h 1275111"/>
                <a:gd name="connsiteX4" fmla="*/ 313563 w 1383696"/>
                <a:gd name="connsiteY4" fmla="*/ 723424 h 1275111"/>
                <a:gd name="connsiteX5" fmla="*/ 928497 w 1383696"/>
                <a:gd name="connsiteY5" fmla="*/ 723424 h 1275111"/>
                <a:gd name="connsiteX6" fmla="*/ 928497 w 1383696"/>
                <a:gd name="connsiteY6" fmla="*/ 503396 h 1275111"/>
                <a:gd name="connsiteX7" fmla="*/ 313563 w 1383696"/>
                <a:gd name="connsiteY7" fmla="*/ 503396 h 1275111"/>
                <a:gd name="connsiteX8" fmla="*/ 313563 w 1383696"/>
                <a:gd name="connsiteY8" fmla="*/ 226028 h 1275111"/>
                <a:gd name="connsiteX9" fmla="*/ 1368743 w 1383696"/>
                <a:gd name="connsiteY9" fmla="*/ 226028 h 1275111"/>
                <a:gd name="connsiteX10" fmla="*/ 1368743 w 1383696"/>
                <a:gd name="connsiteY10" fmla="*/ 0 h 1275111"/>
                <a:gd name="connsiteX11" fmla="*/ 0 w 1383696"/>
                <a:gd name="connsiteY11" fmla="*/ 0 h 127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3696" h="1275111">
                  <a:moveTo>
                    <a:pt x="0" y="1275112"/>
                  </a:moveTo>
                  <a:lnTo>
                    <a:pt x="1383697" y="1275112"/>
                  </a:lnTo>
                  <a:lnTo>
                    <a:pt x="1383697" y="1036987"/>
                  </a:lnTo>
                  <a:lnTo>
                    <a:pt x="313563" y="1036987"/>
                  </a:lnTo>
                  <a:lnTo>
                    <a:pt x="313563" y="723424"/>
                  </a:lnTo>
                  <a:lnTo>
                    <a:pt x="928497" y="723424"/>
                  </a:lnTo>
                  <a:lnTo>
                    <a:pt x="928497" y="503396"/>
                  </a:lnTo>
                  <a:lnTo>
                    <a:pt x="313563" y="503396"/>
                  </a:lnTo>
                  <a:lnTo>
                    <a:pt x="313563" y="226028"/>
                  </a:lnTo>
                  <a:lnTo>
                    <a:pt x="1368743" y="226028"/>
                  </a:lnTo>
                  <a:lnTo>
                    <a:pt x="1368743" y="0"/>
                  </a:lnTo>
                  <a:lnTo>
                    <a:pt x="0" y="0"/>
                  </a:lnTo>
                  <a:close/>
                </a:path>
              </a:pathLst>
            </a:custGeom>
            <a:grpFill/>
            <a:ln w="9525" cap="flat">
              <a:noFill/>
              <a:prstDash val="solid"/>
              <a:miter/>
            </a:ln>
          </p:spPr>
          <p:txBody>
            <a:bodyPr lIns="0" tIns="0" rIns="0" bIns="0" rtlCol="0" anchor="ctr"/>
            <a:lstStyle/>
            <a:p>
              <a:endParaRPr lang="de-DE" sz="100"/>
            </a:p>
          </p:txBody>
        </p:sp>
        <p:sp>
          <p:nvSpPr>
            <p:cNvPr id="47" name="s">
              <a:extLst>
                <a:ext uri="{FF2B5EF4-FFF2-40B4-BE49-F238E27FC236}">
                  <a16:creationId xmlns:a16="http://schemas.microsoft.com/office/drawing/2014/main" id="{387B7841-C4C8-4787-B1AF-CEB1F50A9E8D}"/>
                </a:ext>
              </a:extLst>
            </p:cNvPr>
            <p:cNvSpPr/>
            <p:nvPr/>
          </p:nvSpPr>
          <p:spPr bwMode="gray">
            <a:xfrm>
              <a:off x="7714204" y="1899664"/>
              <a:ext cx="1495239" cy="1275213"/>
            </a:xfrm>
            <a:custGeom>
              <a:avLst/>
              <a:gdLst>
                <a:gd name="connsiteX0" fmla="*/ 1211770 w 1495234"/>
                <a:gd name="connsiteY0" fmla="*/ 229076 h 1275207"/>
                <a:gd name="connsiteX1" fmla="*/ 1211770 w 1495234"/>
                <a:gd name="connsiteY1" fmla="*/ 348234 h 1275207"/>
                <a:gd name="connsiteX2" fmla="*/ 1479995 w 1495234"/>
                <a:gd name="connsiteY2" fmla="*/ 291084 h 1275207"/>
                <a:gd name="connsiteX3" fmla="*/ 1479995 w 1495234"/>
                <a:gd name="connsiteY3" fmla="*/ 277368 h 1275207"/>
                <a:gd name="connsiteX4" fmla="*/ 1145477 w 1495234"/>
                <a:gd name="connsiteY4" fmla="*/ 0 h 1275207"/>
                <a:gd name="connsiteX5" fmla="*/ 388905 w 1495234"/>
                <a:gd name="connsiteY5" fmla="*/ 0 h 1275207"/>
                <a:gd name="connsiteX6" fmla="*/ 54197 w 1495234"/>
                <a:gd name="connsiteY6" fmla="*/ 301561 h 1275207"/>
                <a:gd name="connsiteX7" fmla="*/ 54197 w 1495234"/>
                <a:gd name="connsiteY7" fmla="*/ 443294 h 1275207"/>
                <a:gd name="connsiteX8" fmla="*/ 388905 w 1495234"/>
                <a:gd name="connsiteY8" fmla="*/ 744665 h 1275207"/>
                <a:gd name="connsiteX9" fmla="*/ 1214818 w 1495234"/>
                <a:gd name="connsiteY9" fmla="*/ 744665 h 1275207"/>
                <a:gd name="connsiteX10" fmla="*/ 1214818 w 1495234"/>
                <a:gd name="connsiteY10" fmla="*/ 1037177 h 1275207"/>
                <a:gd name="connsiteX11" fmla="*/ 277177 w 1495234"/>
                <a:gd name="connsiteY11" fmla="*/ 1037177 h 1275207"/>
                <a:gd name="connsiteX12" fmla="*/ 277177 w 1495234"/>
                <a:gd name="connsiteY12" fmla="*/ 902875 h 1275207"/>
                <a:gd name="connsiteX13" fmla="*/ 0 w 1495234"/>
                <a:gd name="connsiteY13" fmla="*/ 954214 h 1275207"/>
                <a:gd name="connsiteX14" fmla="*/ 0 w 1495234"/>
                <a:gd name="connsiteY14" fmla="*/ 973836 h 1275207"/>
                <a:gd name="connsiteX15" fmla="*/ 334518 w 1495234"/>
                <a:gd name="connsiteY15" fmla="*/ 1275207 h 1275207"/>
                <a:gd name="connsiteX16" fmla="*/ 1163669 w 1495234"/>
                <a:gd name="connsiteY16" fmla="*/ 1275207 h 1275207"/>
                <a:gd name="connsiteX17" fmla="*/ 1495234 w 1495234"/>
                <a:gd name="connsiteY17" fmla="*/ 973836 h 1275207"/>
                <a:gd name="connsiteX18" fmla="*/ 1495234 w 1495234"/>
                <a:gd name="connsiteY18" fmla="*/ 798957 h 1275207"/>
                <a:gd name="connsiteX19" fmla="*/ 1163669 w 1495234"/>
                <a:gd name="connsiteY19" fmla="*/ 497586 h 1275207"/>
                <a:gd name="connsiteX20" fmla="*/ 334518 w 1495234"/>
                <a:gd name="connsiteY20" fmla="*/ 497586 h 1275207"/>
                <a:gd name="connsiteX21" fmla="*/ 334518 w 1495234"/>
                <a:gd name="connsiteY21" fmla="*/ 229076 h 1275207"/>
                <a:gd name="connsiteX22" fmla="*/ 1211770 w 1495234"/>
                <a:gd name="connsiteY22" fmla="*/ 229076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95234" h="1275207">
                  <a:moveTo>
                    <a:pt x="1211770" y="229076"/>
                  </a:moveTo>
                  <a:lnTo>
                    <a:pt x="1211770" y="348234"/>
                  </a:lnTo>
                  <a:lnTo>
                    <a:pt x="1479995" y="291084"/>
                  </a:lnTo>
                  <a:lnTo>
                    <a:pt x="1479995" y="277368"/>
                  </a:lnTo>
                  <a:cubicBezTo>
                    <a:pt x="1479995" y="54388"/>
                    <a:pt x="1380649" y="0"/>
                    <a:pt x="1145477" y="0"/>
                  </a:cubicBezTo>
                  <a:lnTo>
                    <a:pt x="388905" y="0"/>
                  </a:lnTo>
                  <a:cubicBezTo>
                    <a:pt x="138684" y="0"/>
                    <a:pt x="54197" y="60388"/>
                    <a:pt x="54197" y="301561"/>
                  </a:cubicBezTo>
                  <a:lnTo>
                    <a:pt x="54197" y="443294"/>
                  </a:lnTo>
                  <a:cubicBezTo>
                    <a:pt x="54197" y="684467"/>
                    <a:pt x="138684" y="744665"/>
                    <a:pt x="388905" y="744665"/>
                  </a:cubicBezTo>
                  <a:lnTo>
                    <a:pt x="1214818" y="744665"/>
                  </a:lnTo>
                  <a:lnTo>
                    <a:pt x="1214818" y="1037177"/>
                  </a:lnTo>
                  <a:lnTo>
                    <a:pt x="277177" y="1037177"/>
                  </a:lnTo>
                  <a:lnTo>
                    <a:pt x="277177" y="902875"/>
                  </a:lnTo>
                  <a:lnTo>
                    <a:pt x="0" y="954214"/>
                  </a:lnTo>
                  <a:lnTo>
                    <a:pt x="0" y="973836"/>
                  </a:lnTo>
                  <a:cubicBezTo>
                    <a:pt x="0" y="1212056"/>
                    <a:pt x="81343" y="1275207"/>
                    <a:pt x="334518" y="1275207"/>
                  </a:cubicBezTo>
                  <a:lnTo>
                    <a:pt x="1163669" y="1275207"/>
                  </a:lnTo>
                  <a:cubicBezTo>
                    <a:pt x="1416844" y="1275207"/>
                    <a:pt x="1495234" y="1212056"/>
                    <a:pt x="1495234" y="973836"/>
                  </a:cubicBezTo>
                  <a:lnTo>
                    <a:pt x="1495234" y="798957"/>
                  </a:lnTo>
                  <a:cubicBezTo>
                    <a:pt x="1495234" y="557784"/>
                    <a:pt x="1416939" y="497586"/>
                    <a:pt x="1163669" y="497586"/>
                  </a:cubicBezTo>
                  <a:lnTo>
                    <a:pt x="334518" y="497586"/>
                  </a:lnTo>
                  <a:lnTo>
                    <a:pt x="334518" y="229076"/>
                  </a:lnTo>
                  <a:lnTo>
                    <a:pt x="1211770" y="229076"/>
                  </a:lnTo>
                  <a:close/>
                </a:path>
              </a:pathLst>
            </a:custGeom>
            <a:grpFill/>
            <a:ln w="9525" cap="flat">
              <a:noFill/>
              <a:prstDash val="solid"/>
              <a:miter/>
            </a:ln>
          </p:spPr>
          <p:txBody>
            <a:bodyPr lIns="0" tIns="0" rIns="0" bIns="0" rtlCol="0" anchor="ctr"/>
            <a:lstStyle/>
            <a:p>
              <a:endParaRPr lang="de-DE" sz="100"/>
            </a:p>
          </p:txBody>
        </p:sp>
        <p:sp>
          <p:nvSpPr>
            <p:cNvPr id="48" name="&amp;">
              <a:extLst>
                <a:ext uri="{FF2B5EF4-FFF2-40B4-BE49-F238E27FC236}">
                  <a16:creationId xmlns:a16="http://schemas.microsoft.com/office/drawing/2014/main" id="{209EBDD7-4F02-4DAC-993E-808CD6B8BD11}"/>
                </a:ext>
              </a:extLst>
            </p:cNvPr>
            <p:cNvSpPr/>
            <p:nvPr/>
          </p:nvSpPr>
          <p:spPr bwMode="gray">
            <a:xfrm>
              <a:off x="9995063" y="1619247"/>
              <a:ext cx="2104259" cy="1555528"/>
            </a:xfrm>
            <a:custGeom>
              <a:avLst/>
              <a:gdLst>
                <a:gd name="connsiteX0" fmla="*/ 304514 w 2104263"/>
                <a:gd name="connsiteY0" fmla="*/ 1284161 h 1555527"/>
                <a:gd name="connsiteX1" fmla="*/ 304514 w 2104263"/>
                <a:gd name="connsiteY1" fmla="*/ 1018985 h 1555527"/>
                <a:gd name="connsiteX2" fmla="*/ 702373 w 2104263"/>
                <a:gd name="connsiteY2" fmla="*/ 771811 h 1555527"/>
                <a:gd name="connsiteX3" fmla="*/ 1169575 w 2104263"/>
                <a:gd name="connsiteY3" fmla="*/ 1160717 h 1555527"/>
                <a:gd name="connsiteX4" fmla="*/ 1024890 w 2104263"/>
                <a:gd name="connsiteY4" fmla="*/ 1284256 h 1555527"/>
                <a:gd name="connsiteX5" fmla="*/ 304514 w 2104263"/>
                <a:gd name="connsiteY5" fmla="*/ 1284256 h 1555527"/>
                <a:gd name="connsiteX6" fmla="*/ 388811 w 2104263"/>
                <a:gd name="connsiteY6" fmla="*/ 1555528 h 1555527"/>
                <a:gd name="connsiteX7" fmla="*/ 943547 w 2104263"/>
                <a:gd name="connsiteY7" fmla="*/ 1555528 h 1555527"/>
                <a:gd name="connsiteX8" fmla="*/ 1235964 w 2104263"/>
                <a:gd name="connsiteY8" fmla="*/ 1461992 h 1555527"/>
                <a:gd name="connsiteX9" fmla="*/ 1374649 w 2104263"/>
                <a:gd name="connsiteY9" fmla="*/ 1338453 h 1555527"/>
                <a:gd name="connsiteX10" fmla="*/ 1630870 w 2104263"/>
                <a:gd name="connsiteY10" fmla="*/ 1555528 h 1555527"/>
                <a:gd name="connsiteX11" fmla="*/ 2104264 w 2104263"/>
                <a:gd name="connsiteY11" fmla="*/ 1555528 h 1555527"/>
                <a:gd name="connsiteX12" fmla="*/ 1612869 w 2104263"/>
                <a:gd name="connsiteY12" fmla="*/ 1142429 h 1555527"/>
                <a:gd name="connsiteX13" fmla="*/ 1971580 w 2104263"/>
                <a:gd name="connsiteY13" fmla="*/ 844106 h 1555527"/>
                <a:gd name="connsiteX14" fmla="*/ 1766507 w 2104263"/>
                <a:gd name="connsiteY14" fmla="*/ 666274 h 1555527"/>
                <a:gd name="connsiteX15" fmla="*/ 1404747 w 2104263"/>
                <a:gd name="connsiteY15" fmla="*/ 967645 h 1555527"/>
                <a:gd name="connsiteX16" fmla="*/ 672180 w 2104263"/>
                <a:gd name="connsiteY16" fmla="*/ 358712 h 1555527"/>
                <a:gd name="connsiteX17" fmla="*/ 672180 w 2104263"/>
                <a:gd name="connsiteY17" fmla="*/ 247174 h 1555527"/>
                <a:gd name="connsiteX18" fmla="*/ 1181767 w 2104263"/>
                <a:gd name="connsiteY18" fmla="*/ 247174 h 1555527"/>
                <a:gd name="connsiteX19" fmla="*/ 1181767 w 2104263"/>
                <a:gd name="connsiteY19" fmla="*/ 455295 h 1555527"/>
                <a:gd name="connsiteX20" fmla="*/ 1461992 w 2104263"/>
                <a:gd name="connsiteY20" fmla="*/ 407099 h 1555527"/>
                <a:gd name="connsiteX21" fmla="*/ 1461992 w 2104263"/>
                <a:gd name="connsiteY21" fmla="*/ 313563 h 1555527"/>
                <a:gd name="connsiteX22" fmla="*/ 1076134 w 2104263"/>
                <a:gd name="connsiteY22" fmla="*/ 0 h 1555527"/>
                <a:gd name="connsiteX23" fmla="*/ 762763 w 2104263"/>
                <a:gd name="connsiteY23" fmla="*/ 0 h 1555527"/>
                <a:gd name="connsiteX24" fmla="*/ 376905 w 2104263"/>
                <a:gd name="connsiteY24" fmla="*/ 283369 h 1555527"/>
                <a:gd name="connsiteX25" fmla="*/ 376905 w 2104263"/>
                <a:gd name="connsiteY25" fmla="*/ 370713 h 1555527"/>
                <a:gd name="connsiteX26" fmla="*/ 509588 w 2104263"/>
                <a:gd name="connsiteY26" fmla="*/ 605885 h 1555527"/>
                <a:gd name="connsiteX27" fmla="*/ 192881 w 2104263"/>
                <a:gd name="connsiteY27" fmla="*/ 795909 h 1555527"/>
                <a:gd name="connsiteX28" fmla="*/ 0 w 2104263"/>
                <a:gd name="connsiteY28" fmla="*/ 1085279 h 1555527"/>
                <a:gd name="connsiteX29" fmla="*/ 0 w 2104263"/>
                <a:gd name="connsiteY29" fmla="*/ 1187768 h 1555527"/>
                <a:gd name="connsiteX30" fmla="*/ 388811 w 2104263"/>
                <a:gd name="connsiteY30" fmla="*/ 1555528 h 155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104263" h="1555527">
                  <a:moveTo>
                    <a:pt x="304514" y="1284161"/>
                  </a:moveTo>
                  <a:lnTo>
                    <a:pt x="304514" y="1018985"/>
                  </a:lnTo>
                  <a:lnTo>
                    <a:pt x="702373" y="771811"/>
                  </a:lnTo>
                  <a:lnTo>
                    <a:pt x="1169575" y="1160717"/>
                  </a:lnTo>
                  <a:lnTo>
                    <a:pt x="1024890" y="1284256"/>
                  </a:lnTo>
                  <a:lnTo>
                    <a:pt x="304514" y="1284256"/>
                  </a:lnTo>
                  <a:close/>
                  <a:moveTo>
                    <a:pt x="388811" y="1555528"/>
                  </a:moveTo>
                  <a:lnTo>
                    <a:pt x="943547" y="1555528"/>
                  </a:lnTo>
                  <a:cubicBezTo>
                    <a:pt x="1073087" y="1555528"/>
                    <a:pt x="1136428" y="1549527"/>
                    <a:pt x="1235964" y="1461992"/>
                  </a:cubicBezTo>
                  <a:lnTo>
                    <a:pt x="1374649" y="1338453"/>
                  </a:lnTo>
                  <a:lnTo>
                    <a:pt x="1630870" y="1555528"/>
                  </a:lnTo>
                  <a:lnTo>
                    <a:pt x="2104264" y="1555528"/>
                  </a:lnTo>
                  <a:lnTo>
                    <a:pt x="1612869" y="1142429"/>
                  </a:lnTo>
                  <a:lnTo>
                    <a:pt x="1971580" y="844106"/>
                  </a:lnTo>
                  <a:lnTo>
                    <a:pt x="1766507" y="666274"/>
                  </a:lnTo>
                  <a:lnTo>
                    <a:pt x="1404747" y="967645"/>
                  </a:lnTo>
                  <a:lnTo>
                    <a:pt x="672180" y="358712"/>
                  </a:lnTo>
                  <a:lnTo>
                    <a:pt x="672180" y="247174"/>
                  </a:lnTo>
                  <a:lnTo>
                    <a:pt x="1181767" y="247174"/>
                  </a:lnTo>
                  <a:lnTo>
                    <a:pt x="1181767" y="455295"/>
                  </a:lnTo>
                  <a:lnTo>
                    <a:pt x="1461992" y="407099"/>
                  </a:lnTo>
                  <a:lnTo>
                    <a:pt x="1461992" y="313563"/>
                  </a:lnTo>
                  <a:cubicBezTo>
                    <a:pt x="1461992" y="60389"/>
                    <a:pt x="1356456" y="0"/>
                    <a:pt x="1076134" y="0"/>
                  </a:cubicBezTo>
                  <a:lnTo>
                    <a:pt x="762763" y="0"/>
                  </a:lnTo>
                  <a:cubicBezTo>
                    <a:pt x="497395" y="0"/>
                    <a:pt x="376905" y="60389"/>
                    <a:pt x="376905" y="283369"/>
                  </a:cubicBezTo>
                  <a:lnTo>
                    <a:pt x="376905" y="370713"/>
                  </a:lnTo>
                  <a:cubicBezTo>
                    <a:pt x="376905" y="461200"/>
                    <a:pt x="419100" y="530543"/>
                    <a:pt x="509588" y="605885"/>
                  </a:cubicBezTo>
                  <a:lnTo>
                    <a:pt x="192881" y="795909"/>
                  </a:lnTo>
                  <a:cubicBezTo>
                    <a:pt x="57341" y="877253"/>
                    <a:pt x="0" y="925449"/>
                    <a:pt x="0" y="1085279"/>
                  </a:cubicBezTo>
                  <a:lnTo>
                    <a:pt x="0" y="1187768"/>
                  </a:lnTo>
                  <a:cubicBezTo>
                    <a:pt x="0" y="1480185"/>
                    <a:pt x="96488" y="1555528"/>
                    <a:pt x="388811" y="1555528"/>
                  </a:cubicBezTo>
                </a:path>
              </a:pathLst>
            </a:custGeom>
            <a:grpFill/>
            <a:ln w="9525" cap="flat">
              <a:noFill/>
              <a:prstDash val="solid"/>
              <a:miter/>
            </a:ln>
          </p:spPr>
          <p:txBody>
            <a:bodyPr lIns="0" tIns="0" rIns="0" bIns="0" rtlCol="0" anchor="ctr"/>
            <a:lstStyle/>
            <a:p>
              <a:endParaRPr lang="de-DE" sz="100"/>
            </a:p>
          </p:txBody>
        </p:sp>
        <p:sp>
          <p:nvSpPr>
            <p:cNvPr id="49" name="s">
              <a:extLst>
                <a:ext uri="{FF2B5EF4-FFF2-40B4-BE49-F238E27FC236}">
                  <a16:creationId xmlns:a16="http://schemas.microsoft.com/office/drawing/2014/main" id="{B8592D08-0567-4EE7-8336-F85AF47FDD70}"/>
                </a:ext>
              </a:extLst>
            </p:cNvPr>
            <p:cNvSpPr/>
            <p:nvPr/>
          </p:nvSpPr>
          <p:spPr bwMode="gray">
            <a:xfrm>
              <a:off x="95247" y="3686081"/>
              <a:ext cx="1739650" cy="1555528"/>
            </a:xfrm>
            <a:custGeom>
              <a:avLst/>
              <a:gdLst>
                <a:gd name="connsiteX0" fmla="*/ 1398842 w 1739645"/>
                <a:gd name="connsiteY0" fmla="*/ 271367 h 1555527"/>
                <a:gd name="connsiteX1" fmla="*/ 1398842 w 1739645"/>
                <a:gd name="connsiteY1" fmla="*/ 439865 h 1555527"/>
                <a:gd name="connsiteX2" fmla="*/ 1718405 w 1739645"/>
                <a:gd name="connsiteY2" fmla="*/ 364522 h 1555527"/>
                <a:gd name="connsiteX3" fmla="*/ 1718405 w 1739645"/>
                <a:gd name="connsiteY3" fmla="*/ 340709 h 1555527"/>
                <a:gd name="connsiteX4" fmla="*/ 1332548 w 1739645"/>
                <a:gd name="connsiteY4" fmla="*/ 0 h 1555527"/>
                <a:gd name="connsiteX5" fmla="*/ 449199 w 1739645"/>
                <a:gd name="connsiteY5" fmla="*/ 0 h 1555527"/>
                <a:gd name="connsiteX6" fmla="*/ 63341 w 1739645"/>
                <a:gd name="connsiteY6" fmla="*/ 367855 h 1555527"/>
                <a:gd name="connsiteX7" fmla="*/ 63341 w 1739645"/>
                <a:gd name="connsiteY7" fmla="*/ 539496 h 1555527"/>
                <a:gd name="connsiteX8" fmla="*/ 449199 w 1739645"/>
                <a:gd name="connsiteY8" fmla="*/ 907351 h 1555527"/>
                <a:gd name="connsiteX9" fmla="*/ 1419987 w 1739645"/>
                <a:gd name="connsiteY9" fmla="*/ 907351 h 1555527"/>
                <a:gd name="connsiteX10" fmla="*/ 1419987 w 1739645"/>
                <a:gd name="connsiteY10" fmla="*/ 1263110 h 1555527"/>
                <a:gd name="connsiteX11" fmla="*/ 319754 w 1739645"/>
                <a:gd name="connsiteY11" fmla="*/ 1263110 h 1555527"/>
                <a:gd name="connsiteX12" fmla="*/ 319754 w 1739645"/>
                <a:gd name="connsiteY12" fmla="*/ 1095661 h 1555527"/>
                <a:gd name="connsiteX13" fmla="*/ 0 w 1739645"/>
                <a:gd name="connsiteY13" fmla="*/ 1162050 h 1555527"/>
                <a:gd name="connsiteX14" fmla="*/ 0 w 1739645"/>
                <a:gd name="connsiteY14" fmla="*/ 1187768 h 1555527"/>
                <a:gd name="connsiteX15" fmla="*/ 388906 w 1739645"/>
                <a:gd name="connsiteY15" fmla="*/ 1555528 h 1555527"/>
                <a:gd name="connsiteX16" fmla="*/ 1350740 w 1739645"/>
                <a:gd name="connsiteY16" fmla="*/ 1555528 h 1555527"/>
                <a:gd name="connsiteX17" fmla="*/ 1739646 w 1739645"/>
                <a:gd name="connsiteY17" fmla="*/ 1187768 h 1555527"/>
                <a:gd name="connsiteX18" fmla="*/ 1739646 w 1739645"/>
                <a:gd name="connsiteY18" fmla="*/ 973741 h 1555527"/>
                <a:gd name="connsiteX19" fmla="*/ 1350740 w 1739645"/>
                <a:gd name="connsiteY19" fmla="*/ 605885 h 1555527"/>
                <a:gd name="connsiteX20" fmla="*/ 379857 w 1739645"/>
                <a:gd name="connsiteY20" fmla="*/ 605885 h 1555527"/>
                <a:gd name="connsiteX21" fmla="*/ 379857 w 1739645"/>
                <a:gd name="connsiteY21" fmla="*/ 271367 h 1555527"/>
                <a:gd name="connsiteX22" fmla="*/ 1398842 w 1739645"/>
                <a:gd name="connsiteY22" fmla="*/ 271367 h 155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39645" h="1555527">
                  <a:moveTo>
                    <a:pt x="1398842" y="271367"/>
                  </a:moveTo>
                  <a:lnTo>
                    <a:pt x="1398842" y="439865"/>
                  </a:lnTo>
                  <a:lnTo>
                    <a:pt x="1718405" y="364522"/>
                  </a:lnTo>
                  <a:lnTo>
                    <a:pt x="1718405" y="340709"/>
                  </a:lnTo>
                  <a:cubicBezTo>
                    <a:pt x="1718405" y="72295"/>
                    <a:pt x="1609916" y="0"/>
                    <a:pt x="1332548" y="0"/>
                  </a:cubicBezTo>
                  <a:lnTo>
                    <a:pt x="449199" y="0"/>
                  </a:lnTo>
                  <a:cubicBezTo>
                    <a:pt x="156781" y="0"/>
                    <a:pt x="63341" y="75343"/>
                    <a:pt x="63341" y="367855"/>
                  </a:cubicBezTo>
                  <a:lnTo>
                    <a:pt x="63341" y="539496"/>
                  </a:lnTo>
                  <a:cubicBezTo>
                    <a:pt x="63341" y="832009"/>
                    <a:pt x="156877" y="907351"/>
                    <a:pt x="449199" y="907351"/>
                  </a:cubicBezTo>
                  <a:lnTo>
                    <a:pt x="1419987" y="907351"/>
                  </a:lnTo>
                  <a:lnTo>
                    <a:pt x="1419987" y="1263110"/>
                  </a:lnTo>
                  <a:lnTo>
                    <a:pt x="319754" y="1263110"/>
                  </a:lnTo>
                  <a:lnTo>
                    <a:pt x="319754" y="1095661"/>
                  </a:lnTo>
                  <a:lnTo>
                    <a:pt x="0" y="1162050"/>
                  </a:lnTo>
                  <a:lnTo>
                    <a:pt x="0" y="1187768"/>
                  </a:lnTo>
                  <a:cubicBezTo>
                    <a:pt x="0" y="1480185"/>
                    <a:pt x="96488" y="1555528"/>
                    <a:pt x="388906" y="1555528"/>
                  </a:cubicBezTo>
                  <a:lnTo>
                    <a:pt x="1350740" y="1555528"/>
                  </a:lnTo>
                  <a:cubicBezTo>
                    <a:pt x="1643158" y="1555528"/>
                    <a:pt x="1739646" y="1480185"/>
                    <a:pt x="1739646" y="1187768"/>
                  </a:cubicBezTo>
                  <a:lnTo>
                    <a:pt x="1739646" y="973741"/>
                  </a:lnTo>
                  <a:cubicBezTo>
                    <a:pt x="1739646" y="681228"/>
                    <a:pt x="1643158" y="605885"/>
                    <a:pt x="1350740" y="605885"/>
                  </a:cubicBezTo>
                  <a:lnTo>
                    <a:pt x="379857" y="605885"/>
                  </a:lnTo>
                  <a:lnTo>
                    <a:pt x="379857" y="271367"/>
                  </a:lnTo>
                  <a:lnTo>
                    <a:pt x="1398842" y="271367"/>
                  </a:lnTo>
                  <a:close/>
                </a:path>
              </a:pathLst>
            </a:custGeom>
            <a:grpFill/>
            <a:ln w="9525" cap="flat">
              <a:noFill/>
              <a:prstDash val="solid"/>
              <a:miter/>
            </a:ln>
          </p:spPr>
          <p:txBody>
            <a:bodyPr lIns="0" tIns="0" rIns="0" bIns="0" rtlCol="0" anchor="ctr"/>
            <a:lstStyle/>
            <a:p>
              <a:endParaRPr lang="de-DE" sz="100"/>
            </a:p>
          </p:txBody>
        </p:sp>
        <p:sp>
          <p:nvSpPr>
            <p:cNvPr id="50" name="o">
              <a:extLst>
                <a:ext uri="{FF2B5EF4-FFF2-40B4-BE49-F238E27FC236}">
                  <a16:creationId xmlns:a16="http://schemas.microsoft.com/office/drawing/2014/main" id="{D250DE14-A22F-490B-8D48-85C7B5C905DA}"/>
                </a:ext>
              </a:extLst>
            </p:cNvPr>
            <p:cNvSpPr/>
            <p:nvPr/>
          </p:nvSpPr>
          <p:spPr bwMode="gray">
            <a:xfrm>
              <a:off x="2206937" y="3966587"/>
              <a:ext cx="1682019" cy="1275212"/>
            </a:xfrm>
            <a:custGeom>
              <a:avLst/>
              <a:gdLst>
                <a:gd name="connsiteX0" fmla="*/ 326041 w 1682019"/>
                <a:gd name="connsiteY0" fmla="*/ 234982 h 1275207"/>
                <a:gd name="connsiteX1" fmla="*/ 1374648 w 1682019"/>
                <a:gd name="connsiteY1" fmla="*/ 234982 h 1275207"/>
                <a:gd name="connsiteX2" fmla="*/ 1374648 w 1682019"/>
                <a:gd name="connsiteY2" fmla="*/ 1030891 h 1275207"/>
                <a:gd name="connsiteX3" fmla="*/ 326041 w 1682019"/>
                <a:gd name="connsiteY3" fmla="*/ 1030891 h 1275207"/>
                <a:gd name="connsiteX4" fmla="*/ 326041 w 1682019"/>
                <a:gd name="connsiteY4" fmla="*/ 234982 h 1275207"/>
                <a:gd name="connsiteX5" fmla="*/ 0 w 1682019"/>
                <a:gd name="connsiteY5" fmla="*/ 301371 h 1275207"/>
                <a:gd name="connsiteX6" fmla="*/ 0 w 1682019"/>
                <a:gd name="connsiteY6" fmla="*/ 973646 h 1275207"/>
                <a:gd name="connsiteX7" fmla="*/ 338233 w 1682019"/>
                <a:gd name="connsiteY7" fmla="*/ 1275207 h 1275207"/>
                <a:gd name="connsiteX8" fmla="*/ 1343787 w 1682019"/>
                <a:gd name="connsiteY8" fmla="*/ 1275207 h 1275207"/>
                <a:gd name="connsiteX9" fmla="*/ 1682020 w 1682019"/>
                <a:gd name="connsiteY9" fmla="*/ 973646 h 1275207"/>
                <a:gd name="connsiteX10" fmla="*/ 1682020 w 1682019"/>
                <a:gd name="connsiteY10" fmla="*/ 301371 h 1275207"/>
                <a:gd name="connsiteX11" fmla="*/ 1343787 w 1682019"/>
                <a:gd name="connsiteY11" fmla="*/ 0 h 1275207"/>
                <a:gd name="connsiteX12" fmla="*/ 338233 w 1682019"/>
                <a:gd name="connsiteY12" fmla="*/ 0 h 1275207"/>
                <a:gd name="connsiteX13" fmla="*/ 0 w 1682019"/>
                <a:gd name="connsiteY13" fmla="*/ 301371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82019" h="1275207">
                  <a:moveTo>
                    <a:pt x="326041" y="234982"/>
                  </a:moveTo>
                  <a:lnTo>
                    <a:pt x="1374648" y="234982"/>
                  </a:lnTo>
                  <a:lnTo>
                    <a:pt x="1374648" y="1030891"/>
                  </a:lnTo>
                  <a:lnTo>
                    <a:pt x="326041" y="1030891"/>
                  </a:lnTo>
                  <a:lnTo>
                    <a:pt x="326041" y="234982"/>
                  </a:lnTo>
                  <a:close/>
                  <a:moveTo>
                    <a:pt x="0" y="301371"/>
                  </a:moveTo>
                  <a:lnTo>
                    <a:pt x="0" y="973646"/>
                  </a:lnTo>
                  <a:cubicBezTo>
                    <a:pt x="0" y="1214819"/>
                    <a:pt x="79915" y="1275207"/>
                    <a:pt x="338233" y="1275207"/>
                  </a:cubicBezTo>
                  <a:lnTo>
                    <a:pt x="1343787" y="1275207"/>
                  </a:lnTo>
                  <a:cubicBezTo>
                    <a:pt x="1598962" y="1275207"/>
                    <a:pt x="1682020" y="1214819"/>
                    <a:pt x="1682020" y="973646"/>
                  </a:cubicBezTo>
                  <a:lnTo>
                    <a:pt x="1682020" y="301371"/>
                  </a:lnTo>
                  <a:cubicBezTo>
                    <a:pt x="1682020" y="57150"/>
                    <a:pt x="1598867" y="0"/>
                    <a:pt x="1343787" y="0"/>
                  </a:cubicBezTo>
                  <a:lnTo>
                    <a:pt x="338233" y="0"/>
                  </a:lnTo>
                  <a:cubicBezTo>
                    <a:pt x="83153" y="0"/>
                    <a:pt x="0" y="57150"/>
                    <a:pt x="0" y="301371"/>
                  </a:cubicBezTo>
                </a:path>
              </a:pathLst>
            </a:custGeom>
            <a:grpFill/>
            <a:ln w="9525" cap="flat">
              <a:noFill/>
              <a:prstDash val="solid"/>
              <a:miter/>
            </a:ln>
          </p:spPr>
          <p:txBody>
            <a:bodyPr lIns="0" tIns="0" rIns="0" bIns="0" rtlCol="0" anchor="ctr"/>
            <a:lstStyle/>
            <a:p>
              <a:endParaRPr lang="de-DE" sz="100"/>
            </a:p>
          </p:txBody>
        </p:sp>
        <p:sp>
          <p:nvSpPr>
            <p:cNvPr id="52" name="m">
              <a:extLst>
                <a:ext uri="{FF2B5EF4-FFF2-40B4-BE49-F238E27FC236}">
                  <a16:creationId xmlns:a16="http://schemas.microsoft.com/office/drawing/2014/main" id="{1AA170DD-A83E-4919-8943-B902A585A568}"/>
                </a:ext>
              </a:extLst>
            </p:cNvPr>
            <p:cNvSpPr/>
            <p:nvPr/>
          </p:nvSpPr>
          <p:spPr bwMode="gray">
            <a:xfrm>
              <a:off x="4290154" y="3966498"/>
              <a:ext cx="1815752" cy="1275212"/>
            </a:xfrm>
            <a:custGeom>
              <a:avLst/>
              <a:gdLst>
                <a:gd name="connsiteX0" fmla="*/ 1560576 w 1815750"/>
                <a:gd name="connsiteY0" fmla="*/ 0 h 1275207"/>
                <a:gd name="connsiteX1" fmla="*/ 927163 w 1815750"/>
                <a:gd name="connsiteY1" fmla="*/ 756571 h 1275207"/>
                <a:gd name="connsiteX2" fmla="*/ 290703 w 1815750"/>
                <a:gd name="connsiteY2" fmla="*/ 0 h 1275207"/>
                <a:gd name="connsiteX3" fmla="*/ 0 w 1815750"/>
                <a:gd name="connsiteY3" fmla="*/ 0 h 1275207"/>
                <a:gd name="connsiteX4" fmla="*/ 0 w 1815750"/>
                <a:gd name="connsiteY4" fmla="*/ 1275207 h 1275207"/>
                <a:gd name="connsiteX5" fmla="*/ 290703 w 1815750"/>
                <a:gd name="connsiteY5" fmla="*/ 1275207 h 1275207"/>
                <a:gd name="connsiteX6" fmla="*/ 290703 w 1815750"/>
                <a:gd name="connsiteY6" fmla="*/ 419100 h 1275207"/>
                <a:gd name="connsiteX7" fmla="*/ 877919 w 1815750"/>
                <a:gd name="connsiteY7" fmla="*/ 1121474 h 1275207"/>
                <a:gd name="connsiteX8" fmla="*/ 939356 w 1815750"/>
                <a:gd name="connsiteY8" fmla="*/ 1121474 h 1275207"/>
                <a:gd name="connsiteX9" fmla="*/ 1520571 w 1815750"/>
                <a:gd name="connsiteY9" fmla="*/ 397859 h 1275207"/>
                <a:gd name="connsiteX10" fmla="*/ 1520571 w 1815750"/>
                <a:gd name="connsiteY10" fmla="*/ 1275207 h 1275207"/>
                <a:gd name="connsiteX11" fmla="*/ 1815751 w 1815750"/>
                <a:gd name="connsiteY11" fmla="*/ 1275207 h 1275207"/>
                <a:gd name="connsiteX12" fmla="*/ 1815751 w 1815750"/>
                <a:gd name="connsiteY12" fmla="*/ 0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5750" h="1275207">
                  <a:moveTo>
                    <a:pt x="1560576" y="0"/>
                  </a:moveTo>
                  <a:lnTo>
                    <a:pt x="927163" y="756571"/>
                  </a:lnTo>
                  <a:lnTo>
                    <a:pt x="290703" y="0"/>
                  </a:lnTo>
                  <a:lnTo>
                    <a:pt x="0" y="0"/>
                  </a:lnTo>
                  <a:lnTo>
                    <a:pt x="0" y="1275207"/>
                  </a:lnTo>
                  <a:lnTo>
                    <a:pt x="290703" y="1275207"/>
                  </a:lnTo>
                  <a:lnTo>
                    <a:pt x="290703" y="419100"/>
                  </a:lnTo>
                  <a:lnTo>
                    <a:pt x="877919" y="1121474"/>
                  </a:lnTo>
                  <a:lnTo>
                    <a:pt x="939356" y="1121474"/>
                  </a:lnTo>
                  <a:lnTo>
                    <a:pt x="1520571" y="397859"/>
                  </a:lnTo>
                  <a:lnTo>
                    <a:pt x="1520571" y="1275207"/>
                  </a:lnTo>
                  <a:lnTo>
                    <a:pt x="1815751" y="1275207"/>
                  </a:lnTo>
                  <a:lnTo>
                    <a:pt x="1815751" y="0"/>
                  </a:lnTo>
                  <a:close/>
                </a:path>
              </a:pathLst>
            </a:custGeom>
            <a:grpFill/>
            <a:ln w="9525" cap="flat">
              <a:noFill/>
              <a:prstDash val="solid"/>
              <a:miter/>
            </a:ln>
          </p:spPr>
          <p:txBody>
            <a:bodyPr lIns="0" tIns="0" rIns="0" bIns="0" rtlCol="0" anchor="ctr"/>
            <a:lstStyle/>
            <a:p>
              <a:endParaRPr lang="de-DE" sz="100"/>
            </a:p>
          </p:txBody>
        </p:sp>
        <p:sp>
          <p:nvSpPr>
            <p:cNvPr id="53" name="m">
              <a:extLst>
                <a:ext uri="{FF2B5EF4-FFF2-40B4-BE49-F238E27FC236}">
                  <a16:creationId xmlns:a16="http://schemas.microsoft.com/office/drawing/2014/main" id="{A8C9A3FA-846A-4D42-A923-FCE5361731DD}"/>
                </a:ext>
              </a:extLst>
            </p:cNvPr>
            <p:cNvSpPr/>
            <p:nvPr/>
          </p:nvSpPr>
          <p:spPr bwMode="gray">
            <a:xfrm>
              <a:off x="6535096" y="3966498"/>
              <a:ext cx="1815752" cy="1275212"/>
            </a:xfrm>
            <a:custGeom>
              <a:avLst/>
              <a:gdLst>
                <a:gd name="connsiteX0" fmla="*/ 1560672 w 1815750"/>
                <a:gd name="connsiteY0" fmla="*/ 0 h 1275207"/>
                <a:gd name="connsiteX1" fmla="*/ 927164 w 1815750"/>
                <a:gd name="connsiteY1" fmla="*/ 756571 h 1275207"/>
                <a:gd name="connsiteX2" fmla="*/ 290799 w 1815750"/>
                <a:gd name="connsiteY2" fmla="*/ 0 h 1275207"/>
                <a:gd name="connsiteX3" fmla="*/ 0 w 1815750"/>
                <a:gd name="connsiteY3" fmla="*/ 0 h 1275207"/>
                <a:gd name="connsiteX4" fmla="*/ 0 w 1815750"/>
                <a:gd name="connsiteY4" fmla="*/ 1275207 h 1275207"/>
                <a:gd name="connsiteX5" fmla="*/ 290799 w 1815750"/>
                <a:gd name="connsiteY5" fmla="*/ 1275207 h 1275207"/>
                <a:gd name="connsiteX6" fmla="*/ 290799 w 1815750"/>
                <a:gd name="connsiteY6" fmla="*/ 419100 h 1275207"/>
                <a:gd name="connsiteX7" fmla="*/ 878015 w 1815750"/>
                <a:gd name="connsiteY7" fmla="*/ 1121474 h 1275207"/>
                <a:gd name="connsiteX8" fmla="*/ 939546 w 1815750"/>
                <a:gd name="connsiteY8" fmla="*/ 1121474 h 1275207"/>
                <a:gd name="connsiteX9" fmla="*/ 1520571 w 1815750"/>
                <a:gd name="connsiteY9" fmla="*/ 397859 h 1275207"/>
                <a:gd name="connsiteX10" fmla="*/ 1520571 w 1815750"/>
                <a:gd name="connsiteY10" fmla="*/ 1275207 h 1275207"/>
                <a:gd name="connsiteX11" fmla="*/ 1815751 w 1815750"/>
                <a:gd name="connsiteY11" fmla="*/ 1275207 h 1275207"/>
                <a:gd name="connsiteX12" fmla="*/ 1815751 w 1815750"/>
                <a:gd name="connsiteY12" fmla="*/ 0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5750" h="1275207">
                  <a:moveTo>
                    <a:pt x="1560672" y="0"/>
                  </a:moveTo>
                  <a:lnTo>
                    <a:pt x="927164" y="756571"/>
                  </a:lnTo>
                  <a:lnTo>
                    <a:pt x="290799" y="0"/>
                  </a:lnTo>
                  <a:lnTo>
                    <a:pt x="0" y="0"/>
                  </a:lnTo>
                  <a:lnTo>
                    <a:pt x="0" y="1275207"/>
                  </a:lnTo>
                  <a:lnTo>
                    <a:pt x="290799" y="1275207"/>
                  </a:lnTo>
                  <a:lnTo>
                    <a:pt x="290799" y="419100"/>
                  </a:lnTo>
                  <a:lnTo>
                    <a:pt x="878015" y="1121474"/>
                  </a:lnTo>
                  <a:lnTo>
                    <a:pt x="939546" y="1121474"/>
                  </a:lnTo>
                  <a:lnTo>
                    <a:pt x="1520571" y="397859"/>
                  </a:lnTo>
                  <a:lnTo>
                    <a:pt x="1520571" y="1275207"/>
                  </a:lnTo>
                  <a:lnTo>
                    <a:pt x="1815751" y="1275207"/>
                  </a:lnTo>
                  <a:lnTo>
                    <a:pt x="1815751" y="0"/>
                  </a:lnTo>
                  <a:close/>
                </a:path>
              </a:pathLst>
            </a:custGeom>
            <a:grpFill/>
            <a:ln w="9525" cap="flat">
              <a:noFill/>
              <a:prstDash val="solid"/>
              <a:miter/>
            </a:ln>
          </p:spPr>
          <p:txBody>
            <a:bodyPr lIns="0" tIns="0" rIns="0" bIns="0" rtlCol="0" anchor="ctr"/>
            <a:lstStyle/>
            <a:p>
              <a:endParaRPr lang="de-DE" sz="100"/>
            </a:p>
          </p:txBody>
        </p:sp>
        <p:sp>
          <p:nvSpPr>
            <p:cNvPr id="54" name="e">
              <a:extLst>
                <a:ext uri="{FF2B5EF4-FFF2-40B4-BE49-F238E27FC236}">
                  <a16:creationId xmlns:a16="http://schemas.microsoft.com/office/drawing/2014/main" id="{0CE68B0C-1AB0-499C-97D9-123C86066EBB}"/>
                </a:ext>
              </a:extLst>
            </p:cNvPr>
            <p:cNvSpPr/>
            <p:nvPr/>
          </p:nvSpPr>
          <p:spPr bwMode="gray">
            <a:xfrm>
              <a:off x="8765757" y="3966498"/>
              <a:ext cx="1411313" cy="1275212"/>
            </a:xfrm>
            <a:custGeom>
              <a:avLst/>
              <a:gdLst>
                <a:gd name="connsiteX0" fmla="*/ 0 w 1411319"/>
                <a:gd name="connsiteY0" fmla="*/ 0 h 1275207"/>
                <a:gd name="connsiteX1" fmla="*/ 0 w 1411319"/>
                <a:gd name="connsiteY1" fmla="*/ 1275207 h 1275207"/>
                <a:gd name="connsiteX2" fmla="*/ 1411319 w 1411319"/>
                <a:gd name="connsiteY2" fmla="*/ 1275207 h 1275207"/>
                <a:gd name="connsiteX3" fmla="*/ 1411319 w 1411319"/>
                <a:gd name="connsiteY3" fmla="*/ 1036987 h 1275207"/>
                <a:gd name="connsiteX4" fmla="*/ 319850 w 1411319"/>
                <a:gd name="connsiteY4" fmla="*/ 1036987 h 1275207"/>
                <a:gd name="connsiteX5" fmla="*/ 319850 w 1411319"/>
                <a:gd name="connsiteY5" fmla="*/ 723424 h 1275207"/>
                <a:gd name="connsiteX6" fmla="*/ 947166 w 1411319"/>
                <a:gd name="connsiteY6" fmla="*/ 723424 h 1275207"/>
                <a:gd name="connsiteX7" fmla="*/ 947166 w 1411319"/>
                <a:gd name="connsiteY7" fmla="*/ 503396 h 1275207"/>
                <a:gd name="connsiteX8" fmla="*/ 319850 w 1411319"/>
                <a:gd name="connsiteY8" fmla="*/ 503396 h 1275207"/>
                <a:gd name="connsiteX9" fmla="*/ 319850 w 1411319"/>
                <a:gd name="connsiteY9" fmla="*/ 226219 h 1275207"/>
                <a:gd name="connsiteX10" fmla="*/ 1395984 w 1411319"/>
                <a:gd name="connsiteY10" fmla="*/ 226219 h 1275207"/>
                <a:gd name="connsiteX11" fmla="*/ 1395984 w 1411319"/>
                <a:gd name="connsiteY11" fmla="*/ 0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11319" h="1275207">
                  <a:moveTo>
                    <a:pt x="0" y="0"/>
                  </a:moveTo>
                  <a:lnTo>
                    <a:pt x="0" y="1275207"/>
                  </a:lnTo>
                  <a:lnTo>
                    <a:pt x="1411319" y="1275207"/>
                  </a:lnTo>
                  <a:lnTo>
                    <a:pt x="1411319" y="1036987"/>
                  </a:lnTo>
                  <a:lnTo>
                    <a:pt x="319850" y="1036987"/>
                  </a:lnTo>
                  <a:lnTo>
                    <a:pt x="319850" y="723424"/>
                  </a:lnTo>
                  <a:lnTo>
                    <a:pt x="947166" y="723424"/>
                  </a:lnTo>
                  <a:lnTo>
                    <a:pt x="947166" y="503396"/>
                  </a:lnTo>
                  <a:lnTo>
                    <a:pt x="319850" y="503396"/>
                  </a:lnTo>
                  <a:lnTo>
                    <a:pt x="319850" y="226219"/>
                  </a:lnTo>
                  <a:lnTo>
                    <a:pt x="1395984" y="226219"/>
                  </a:lnTo>
                  <a:lnTo>
                    <a:pt x="1395984" y="0"/>
                  </a:lnTo>
                  <a:close/>
                </a:path>
              </a:pathLst>
            </a:custGeom>
            <a:grpFill/>
            <a:ln w="9525" cap="flat">
              <a:noFill/>
              <a:prstDash val="solid"/>
              <a:miter/>
            </a:ln>
          </p:spPr>
          <p:txBody>
            <a:bodyPr lIns="0" tIns="0" rIns="0" bIns="0" rtlCol="0" anchor="ctr"/>
            <a:lstStyle/>
            <a:p>
              <a:endParaRPr lang="de-DE" sz="100"/>
            </a:p>
          </p:txBody>
        </p:sp>
        <p:sp>
          <p:nvSpPr>
            <p:cNvPr id="55" name="r">
              <a:extLst>
                <a:ext uri="{FF2B5EF4-FFF2-40B4-BE49-F238E27FC236}">
                  <a16:creationId xmlns:a16="http://schemas.microsoft.com/office/drawing/2014/main" id="{BAC294FC-A9D1-4D87-8C97-1DF51F6CACAD}"/>
                </a:ext>
              </a:extLst>
            </p:cNvPr>
            <p:cNvSpPr/>
            <p:nvPr/>
          </p:nvSpPr>
          <p:spPr bwMode="gray">
            <a:xfrm>
              <a:off x="10504356" y="3966498"/>
              <a:ext cx="1579811" cy="1275212"/>
            </a:xfrm>
            <a:custGeom>
              <a:avLst/>
              <a:gdLst>
                <a:gd name="connsiteX0" fmla="*/ 1015937 w 1579817"/>
                <a:gd name="connsiteY0" fmla="*/ 220028 h 1275207"/>
                <a:gd name="connsiteX1" fmla="*/ 1157669 w 1579817"/>
                <a:gd name="connsiteY1" fmla="*/ 322517 h 1275207"/>
                <a:gd name="connsiteX2" fmla="*/ 1157669 w 1579817"/>
                <a:gd name="connsiteY2" fmla="*/ 470249 h 1275207"/>
                <a:gd name="connsiteX3" fmla="*/ 1015937 w 1579817"/>
                <a:gd name="connsiteY3" fmla="*/ 572738 h 1275207"/>
                <a:gd name="connsiteX4" fmla="*/ 307467 w 1579817"/>
                <a:gd name="connsiteY4" fmla="*/ 572738 h 1275207"/>
                <a:gd name="connsiteX5" fmla="*/ 307467 w 1579817"/>
                <a:gd name="connsiteY5" fmla="*/ 220028 h 1275207"/>
                <a:gd name="connsiteX6" fmla="*/ 1015937 w 1579817"/>
                <a:gd name="connsiteY6" fmla="*/ 220028 h 1275207"/>
                <a:gd name="connsiteX7" fmla="*/ 0 w 1579817"/>
                <a:gd name="connsiteY7" fmla="*/ 1275207 h 1275207"/>
                <a:gd name="connsiteX8" fmla="*/ 307563 w 1579817"/>
                <a:gd name="connsiteY8" fmla="*/ 1275207 h 1275207"/>
                <a:gd name="connsiteX9" fmla="*/ 307563 w 1579817"/>
                <a:gd name="connsiteY9" fmla="*/ 792766 h 1275207"/>
                <a:gd name="connsiteX10" fmla="*/ 599981 w 1579817"/>
                <a:gd name="connsiteY10" fmla="*/ 792766 h 1275207"/>
                <a:gd name="connsiteX11" fmla="*/ 1133570 w 1579817"/>
                <a:gd name="connsiteY11" fmla="*/ 1275207 h 1275207"/>
                <a:gd name="connsiteX12" fmla="*/ 1579818 w 1579817"/>
                <a:gd name="connsiteY12" fmla="*/ 1275207 h 1275207"/>
                <a:gd name="connsiteX13" fmla="*/ 973931 w 1579817"/>
                <a:gd name="connsiteY13" fmla="*/ 792766 h 1275207"/>
                <a:gd name="connsiteX14" fmla="*/ 1148811 w 1579817"/>
                <a:gd name="connsiteY14" fmla="*/ 792766 h 1275207"/>
                <a:gd name="connsiteX15" fmla="*/ 1447229 w 1579817"/>
                <a:gd name="connsiteY15" fmla="*/ 548545 h 1275207"/>
                <a:gd name="connsiteX16" fmla="*/ 1447229 w 1579817"/>
                <a:gd name="connsiteY16" fmla="*/ 247174 h 1275207"/>
                <a:gd name="connsiteX17" fmla="*/ 1148811 w 1579817"/>
                <a:gd name="connsiteY17" fmla="*/ 0 h 1275207"/>
                <a:gd name="connsiteX18" fmla="*/ 191 w 1579817"/>
                <a:gd name="connsiteY18" fmla="*/ 0 h 1275207"/>
                <a:gd name="connsiteX19" fmla="*/ 191 w 1579817"/>
                <a:gd name="connsiteY19" fmla="*/ 1275207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79817" h="1275207">
                  <a:moveTo>
                    <a:pt x="1015937" y="220028"/>
                  </a:moveTo>
                  <a:cubicBezTo>
                    <a:pt x="1109282" y="220028"/>
                    <a:pt x="1157669" y="238220"/>
                    <a:pt x="1157669" y="322517"/>
                  </a:cubicBezTo>
                  <a:lnTo>
                    <a:pt x="1157669" y="470249"/>
                  </a:lnTo>
                  <a:cubicBezTo>
                    <a:pt x="1157669" y="554736"/>
                    <a:pt x="1109282" y="572738"/>
                    <a:pt x="1015937" y="572738"/>
                  </a:cubicBezTo>
                  <a:lnTo>
                    <a:pt x="307467" y="572738"/>
                  </a:lnTo>
                  <a:lnTo>
                    <a:pt x="307467" y="220028"/>
                  </a:lnTo>
                  <a:lnTo>
                    <a:pt x="1015937" y="220028"/>
                  </a:lnTo>
                  <a:close/>
                  <a:moveTo>
                    <a:pt x="0" y="1275207"/>
                  </a:moveTo>
                  <a:lnTo>
                    <a:pt x="307563" y="1275207"/>
                  </a:lnTo>
                  <a:lnTo>
                    <a:pt x="307563" y="792766"/>
                  </a:lnTo>
                  <a:lnTo>
                    <a:pt x="599981" y="792766"/>
                  </a:lnTo>
                  <a:lnTo>
                    <a:pt x="1133570" y="1275207"/>
                  </a:lnTo>
                  <a:lnTo>
                    <a:pt x="1579818" y="1275207"/>
                  </a:lnTo>
                  <a:lnTo>
                    <a:pt x="973931" y="792766"/>
                  </a:lnTo>
                  <a:lnTo>
                    <a:pt x="1148811" y="792766"/>
                  </a:lnTo>
                  <a:cubicBezTo>
                    <a:pt x="1353693" y="792766"/>
                    <a:pt x="1447229" y="723424"/>
                    <a:pt x="1447229" y="548545"/>
                  </a:cubicBezTo>
                  <a:lnTo>
                    <a:pt x="1447229" y="247174"/>
                  </a:lnTo>
                  <a:cubicBezTo>
                    <a:pt x="1447229" y="69342"/>
                    <a:pt x="1353693" y="0"/>
                    <a:pt x="1148811" y="0"/>
                  </a:cubicBezTo>
                  <a:lnTo>
                    <a:pt x="191" y="0"/>
                  </a:lnTo>
                  <a:lnTo>
                    <a:pt x="191" y="1275207"/>
                  </a:lnTo>
                  <a:close/>
                </a:path>
              </a:pathLst>
            </a:custGeom>
            <a:grpFill/>
            <a:ln w="9525" cap="flat">
              <a:noFill/>
              <a:prstDash val="solid"/>
              <a:miter/>
            </a:ln>
          </p:spPr>
          <p:txBody>
            <a:bodyPr lIns="0" tIns="0" rIns="0" bIns="0" rtlCol="0" anchor="ctr"/>
            <a:lstStyle/>
            <a:p>
              <a:endParaRPr lang="de-DE" sz="100"/>
            </a:p>
          </p:txBody>
        </p:sp>
      </p:grpSp>
    </p:spTree>
    <p:extLst>
      <p:ext uri="{BB962C8B-B14F-4D97-AF65-F5344CB8AC3E}">
        <p14:creationId xmlns:p14="http://schemas.microsoft.com/office/powerpoint/2010/main" val="2251330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50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250"/>
                                        <p:tgtEl>
                                          <p:spTgt spid="14"/>
                                        </p:tgtEl>
                                      </p:cBhvr>
                                    </p:animEffect>
                                  </p:childTnLst>
                                </p:cTn>
                              </p:par>
                              <p:par>
                                <p:cTn id="8" presetID="42" presetClass="path" presetSubtype="0" decel="57143" fill="hold" grpId="0" nodeType="withEffect">
                                  <p:stCondLst>
                                    <p:cond delay="500"/>
                                  </p:stCondLst>
                                  <p:childTnLst>
                                    <p:animMotion origin="layout" path="M -3.33333E-6 2.59259E-6 L 0.26355 -0.47107 " pathEditMode="relative" rAng="0" ptsTypes="AA">
                                      <p:cBhvr>
                                        <p:cTn id="9" dur="2500" spd="-100000" fill="hold"/>
                                        <p:tgtEl>
                                          <p:spTgt spid="14"/>
                                        </p:tgtEl>
                                        <p:attrNameLst>
                                          <p:attrName>ppt_x</p:attrName>
                                          <p:attrName>ppt_y</p:attrName>
                                        </p:attrNameLst>
                                      </p:cBhvr>
                                      <p:rCtr x="13177" y="-23542"/>
                                    </p:animMotion>
                                  </p:childTnLst>
                                </p:cTn>
                              </p:par>
                              <p:par>
                                <p:cTn id="10" presetID="42" presetClass="path" presetSubtype="0" accel="50000" decel="50000" fill="hold" grpId="0" nodeType="withEffect">
                                  <p:stCondLst>
                                    <p:cond delay="700"/>
                                  </p:stCondLst>
                                  <p:childTnLst>
                                    <p:animMotion origin="layout" path="M 4.79167E-6 -4.81481E-6 L 0.05625 -0.10185 " pathEditMode="relative" rAng="0" ptsTypes="AA">
                                      <p:cBhvr>
                                        <p:cTn id="11" dur="2400" fill="hold"/>
                                        <p:tgtEl>
                                          <p:spTgt spid="60"/>
                                        </p:tgtEl>
                                        <p:attrNameLst>
                                          <p:attrName>ppt_x</p:attrName>
                                          <p:attrName>ppt_y</p:attrName>
                                        </p:attrNameLst>
                                      </p:cBhvr>
                                      <p:rCtr x="2812" y="-5093"/>
                                    </p:animMotion>
                                  </p:childTnLst>
                                </p:cTn>
                              </p:par>
                              <p:par>
                                <p:cTn id="12" presetID="10" presetClass="entr" presetSubtype="0" fill="hold" grpId="1" nodeType="withEffect">
                                  <p:stCondLst>
                                    <p:cond delay="1250"/>
                                  </p:stCondLst>
                                  <p:childTnLst>
                                    <p:set>
                                      <p:cBhvr>
                                        <p:cTn id="13" dur="1" fill="hold">
                                          <p:stCondLst>
                                            <p:cond delay="0"/>
                                          </p:stCondLst>
                                        </p:cTn>
                                        <p:tgtEl>
                                          <p:spTgt spid="15"/>
                                        </p:tgtEl>
                                        <p:attrNameLst>
                                          <p:attrName>style.visibility</p:attrName>
                                        </p:attrNameLst>
                                      </p:cBhvr>
                                      <p:to>
                                        <p:strVal val="visible"/>
                                      </p:to>
                                    </p:set>
                                    <p:animEffect transition="in" filter="fade">
                                      <p:cBhvr>
                                        <p:cTn id="14" dur="250"/>
                                        <p:tgtEl>
                                          <p:spTgt spid="15"/>
                                        </p:tgtEl>
                                      </p:cBhvr>
                                    </p:animEffect>
                                  </p:childTnLst>
                                </p:cTn>
                              </p:par>
                              <p:par>
                                <p:cTn id="15" presetID="42" presetClass="path" presetSubtype="0" decel="100000" fill="hold" grpId="0" nodeType="withEffect">
                                  <p:stCondLst>
                                    <p:cond delay="1250"/>
                                  </p:stCondLst>
                                  <p:childTnLst>
                                    <p:animMotion origin="layout" path="M 4.16667E-7 1.11111E-6 L 0.22643 -0.40139 " pathEditMode="relative" rAng="0" ptsTypes="AA">
                                      <p:cBhvr>
                                        <p:cTn id="16" dur="2050" spd="-100000" fill="hold"/>
                                        <p:tgtEl>
                                          <p:spTgt spid="15"/>
                                        </p:tgtEl>
                                        <p:attrNameLst>
                                          <p:attrName>ppt_x</p:attrName>
                                          <p:attrName>ppt_y</p:attrName>
                                        </p:attrNameLst>
                                      </p:cBhvr>
                                      <p:rCtr x="11315" y="-20069"/>
                                    </p:animMotion>
                                  </p:childTnLst>
                                </p:cTn>
                              </p:par>
                              <p:par>
                                <p:cTn id="17" presetID="42" presetClass="path" presetSubtype="0" accel="50000" decel="50000" fill="hold" grpId="0" nodeType="withEffect">
                                  <p:stCondLst>
                                    <p:cond delay="900"/>
                                  </p:stCondLst>
                                  <p:childTnLst>
                                    <p:animMotion origin="layout" path="M 2.08333E-6 4.07407E-6 L -0.09401 0.16921 " pathEditMode="relative" rAng="0" ptsTypes="AA">
                                      <p:cBhvr>
                                        <p:cTn id="18" dur="2400" fill="hold"/>
                                        <p:tgtEl>
                                          <p:spTgt spid="61"/>
                                        </p:tgtEl>
                                        <p:attrNameLst>
                                          <p:attrName>ppt_x</p:attrName>
                                          <p:attrName>ppt_y</p:attrName>
                                        </p:attrNameLst>
                                      </p:cBhvr>
                                      <p:rCtr x="-4701" y="8449"/>
                                    </p:animMotion>
                                  </p:childTnLst>
                                </p:cTn>
                              </p:par>
                              <p:par>
                                <p:cTn id="19" presetID="10" presetClass="entr" presetSubtype="0" fill="hold" grpId="1" nodeType="withEffect">
                                  <p:stCondLst>
                                    <p:cond delay="200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250"/>
                                        <p:tgtEl>
                                          <p:spTgt spid="16"/>
                                        </p:tgtEl>
                                      </p:cBhvr>
                                    </p:animEffect>
                                  </p:childTnLst>
                                </p:cTn>
                              </p:par>
                              <p:par>
                                <p:cTn id="22" presetID="42" presetClass="path" presetSubtype="0" decel="76923" fill="hold" grpId="0" nodeType="withEffect">
                                  <p:stCondLst>
                                    <p:cond delay="2000"/>
                                  </p:stCondLst>
                                  <p:childTnLst>
                                    <p:animMotion origin="layout" path="M 1.04167E-6 4.44444E-6 L 0.27279 -0.48612 " pathEditMode="relative" rAng="0" ptsTypes="AA">
                                      <p:cBhvr>
                                        <p:cTn id="23" dur="1150" spd="-100000" fill="hold"/>
                                        <p:tgtEl>
                                          <p:spTgt spid="16"/>
                                        </p:tgtEl>
                                        <p:attrNameLst>
                                          <p:attrName>ppt_x</p:attrName>
                                          <p:attrName>ppt_y</p:attrName>
                                        </p:attrNameLst>
                                      </p:cBhvr>
                                      <p:rCtr x="13633" y="-24306"/>
                                    </p:animMotion>
                                  </p:childTnLst>
                                </p:cTn>
                              </p:par>
                              <p:par>
                                <p:cTn id="24" presetID="10" presetClass="entr" presetSubtype="0" fill="hold" grpId="1" nodeType="withEffect">
                                  <p:stCondLst>
                                    <p:cond delay="1000"/>
                                  </p:stCondLst>
                                  <p:childTnLst>
                                    <p:set>
                                      <p:cBhvr>
                                        <p:cTn id="25" dur="1" fill="hold">
                                          <p:stCondLst>
                                            <p:cond delay="0"/>
                                          </p:stCondLst>
                                        </p:cTn>
                                        <p:tgtEl>
                                          <p:spTgt spid="17"/>
                                        </p:tgtEl>
                                        <p:attrNameLst>
                                          <p:attrName>style.visibility</p:attrName>
                                        </p:attrNameLst>
                                      </p:cBhvr>
                                      <p:to>
                                        <p:strVal val="visible"/>
                                      </p:to>
                                    </p:set>
                                    <p:animEffect transition="in" filter="fade">
                                      <p:cBhvr>
                                        <p:cTn id="26" dur="250"/>
                                        <p:tgtEl>
                                          <p:spTgt spid="17"/>
                                        </p:tgtEl>
                                      </p:cBhvr>
                                    </p:animEffect>
                                  </p:childTnLst>
                                </p:cTn>
                              </p:par>
                              <p:par>
                                <p:cTn id="27" presetID="42" presetClass="path" presetSubtype="0" decel="61538" fill="hold" grpId="0" nodeType="withEffect">
                                  <p:stCondLst>
                                    <p:cond delay="1000"/>
                                  </p:stCondLst>
                                  <p:childTnLst>
                                    <p:animMotion origin="layout" path="M -2.5E-6 -2.59259E-6 L 0.3237 -0.57662 " pathEditMode="relative" rAng="0" ptsTypes="AA">
                                      <p:cBhvr>
                                        <p:cTn id="28" dur="2150" spd="-100000" fill="hold"/>
                                        <p:tgtEl>
                                          <p:spTgt spid="17"/>
                                        </p:tgtEl>
                                        <p:attrNameLst>
                                          <p:attrName>ppt_x</p:attrName>
                                          <p:attrName>ppt_y</p:attrName>
                                        </p:attrNameLst>
                                      </p:cBhvr>
                                      <p:rCtr x="16185" y="-28819"/>
                                    </p:animMotion>
                                  </p:childTnLst>
                                </p:cTn>
                              </p:par>
                              <p:par>
                                <p:cTn id="29" presetID="42" presetClass="path" presetSubtype="0" accel="50000" decel="50000" fill="hold" grpId="0" nodeType="withEffect">
                                  <p:stCondLst>
                                    <p:cond delay="800"/>
                                  </p:stCondLst>
                                  <p:childTnLst>
                                    <p:animMotion origin="layout" path="M -4.375E-6 -1.11111E-6 L -0.12239 0.21783 " pathEditMode="relative" rAng="0" ptsTypes="AA">
                                      <p:cBhvr>
                                        <p:cTn id="30" dur="2350" fill="hold"/>
                                        <p:tgtEl>
                                          <p:spTgt spid="63"/>
                                        </p:tgtEl>
                                        <p:attrNameLst>
                                          <p:attrName>ppt_x</p:attrName>
                                          <p:attrName>ppt_y</p:attrName>
                                        </p:attrNameLst>
                                      </p:cBhvr>
                                      <p:rCtr x="-6120" y="10880"/>
                                    </p:animMotion>
                                  </p:childTnLst>
                                </p:cTn>
                              </p:par>
                              <p:par>
                                <p:cTn id="31" presetID="10" presetClass="entr" presetSubtype="0" fill="hold" grpId="1" nodeType="withEffect">
                                  <p:stCondLst>
                                    <p:cond delay="2000"/>
                                  </p:stCondLst>
                                  <p:childTnLst>
                                    <p:set>
                                      <p:cBhvr>
                                        <p:cTn id="32" dur="1" fill="hold">
                                          <p:stCondLst>
                                            <p:cond delay="0"/>
                                          </p:stCondLst>
                                        </p:cTn>
                                        <p:tgtEl>
                                          <p:spTgt spid="18"/>
                                        </p:tgtEl>
                                        <p:attrNameLst>
                                          <p:attrName>style.visibility</p:attrName>
                                        </p:attrNameLst>
                                      </p:cBhvr>
                                      <p:to>
                                        <p:strVal val="visible"/>
                                      </p:to>
                                    </p:set>
                                    <p:animEffect transition="in" filter="fade">
                                      <p:cBhvr>
                                        <p:cTn id="33" dur="250"/>
                                        <p:tgtEl>
                                          <p:spTgt spid="18"/>
                                        </p:tgtEl>
                                      </p:cBhvr>
                                    </p:animEffect>
                                  </p:childTnLst>
                                </p:cTn>
                              </p:par>
                              <p:par>
                                <p:cTn id="34" presetID="42" presetClass="path" presetSubtype="0" decel="62500" fill="hold" grpId="0" nodeType="withEffect">
                                  <p:stCondLst>
                                    <p:cond delay="2000"/>
                                  </p:stCondLst>
                                  <p:childTnLst>
                                    <p:animMotion origin="layout" path="M -3.33333E-6 -3.7037E-6 L 0.30443 -0.5412 " pathEditMode="relative" rAng="0" ptsTypes="AA">
                                      <p:cBhvr>
                                        <p:cTn id="35" dur="1200" spd="-100000" fill="hold"/>
                                        <p:tgtEl>
                                          <p:spTgt spid="18"/>
                                        </p:tgtEl>
                                        <p:attrNameLst>
                                          <p:attrName>ppt_x</p:attrName>
                                          <p:attrName>ppt_y</p:attrName>
                                        </p:attrNameLst>
                                      </p:cBhvr>
                                      <p:rCtr x="15221" y="-2706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15" grpId="0"/>
      <p:bldP spid="15" grpId="1"/>
      <p:bldP spid="16" grpId="0"/>
      <p:bldP spid="16" grpId="1"/>
      <p:bldP spid="17" grpId="0"/>
      <p:bldP spid="17" grpId="1"/>
      <p:bldP spid="18" grpId="0"/>
      <p:bldP spid="18" grpId="1"/>
      <p:bldP spid="60" grpId="0" animBg="1"/>
      <p:bldP spid="61" grpId="0" animBg="1"/>
      <p:bldP spid="63" grpId="0" animBg="1"/>
    </p:bldLst>
  </p:timing>
  <p:hf sldNum="0" hdr="0" ftr="0" dt="0"/>
  <p:extLst>
    <p:ext uri="{DCECCB84-F9BA-43D5-87BE-67443E8EF086}">
      <p15:sldGuideLst xmlns:p15="http://schemas.microsoft.com/office/powerpoint/2012/main">
        <p15:guide id="1" pos="2085">
          <p15:clr>
            <a:srgbClr val="FBAE40"/>
          </p15:clr>
        </p15:guide>
        <p15:guide id="2" pos="5595">
          <p15:clr>
            <a:srgbClr val="FBAE40"/>
          </p15:clr>
        </p15:guide>
        <p15:guide id="3" orient="horz" pos="1646">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Final slide en">
    <p:bg>
      <p:bgPr>
        <a:solidFill>
          <a:schemeClr val="accent1"/>
        </a:solidFill>
        <a:effectLst/>
      </p:bgPr>
    </p:bg>
    <p:spTree>
      <p:nvGrpSpPr>
        <p:cNvPr id="1" name=""/>
        <p:cNvGrpSpPr/>
        <p:nvPr/>
      </p:nvGrpSpPr>
      <p:grpSpPr>
        <a:xfrm>
          <a:off x="0" y="0"/>
          <a:ext cx="0" cy="0"/>
          <a:chOff x="0" y="0"/>
          <a:chExt cx="0" cy="0"/>
        </a:xfrm>
      </p:grpSpPr>
      <p:sp>
        <p:nvSpPr>
          <p:cNvPr id="6" name="slide number">
            <a:extLst>
              <a:ext uri="{FF2B5EF4-FFF2-40B4-BE49-F238E27FC236}">
                <a16:creationId xmlns:a16="http://schemas.microsoft.com/office/drawing/2014/main" id="{90B54C2D-8235-4852-8EB7-5E05529B2499}"/>
              </a:ext>
            </a:extLst>
          </p:cNvPr>
          <p:cNvSpPr>
            <a:spLocks noGrp="1"/>
          </p:cNvSpPr>
          <p:nvPr userDrawn="1">
            <p:ph type="sldNum" sz="quarter" idx="12"/>
          </p:nvPr>
        </p:nvSpPr>
        <p:spPr>
          <a:xfrm>
            <a:off x="525600" y="7200000"/>
            <a:ext cx="234000" cy="180000"/>
          </a:xfrm>
        </p:spPr>
        <p:txBody>
          <a:bodyPr lIns="0" tIns="0" rIns="0" bIns="0"/>
          <a:lstStyle/>
          <a:p>
            <a:fld id="{9829449A-3FF3-45CE-9F4F-09BADC0910C6}" type="slidenum">
              <a:rPr lang="en-US" smtClean="0"/>
              <a:t>‹Nr.›</a:t>
            </a:fld>
            <a:endParaRPr lang="en-US"/>
          </a:p>
        </p:txBody>
      </p:sp>
      <p:sp>
        <p:nvSpPr>
          <p:cNvPr id="5" name="footer">
            <a:extLst>
              <a:ext uri="{FF2B5EF4-FFF2-40B4-BE49-F238E27FC236}">
                <a16:creationId xmlns:a16="http://schemas.microsoft.com/office/drawing/2014/main" id="{A4534FC4-D037-44B0-B266-D9E820FC1DF2}"/>
              </a:ext>
            </a:extLst>
          </p:cNvPr>
          <p:cNvSpPr>
            <a:spLocks noGrp="1"/>
          </p:cNvSpPr>
          <p:nvPr userDrawn="1">
            <p:ph type="ftr" sz="quarter" idx="11"/>
          </p:nvPr>
        </p:nvSpPr>
        <p:spPr>
          <a:xfrm>
            <a:off x="763200" y="7200000"/>
            <a:ext cx="7880400" cy="180000"/>
          </a:xfrm>
        </p:spPr>
        <p:txBody>
          <a:bodyPr lIns="0" tIns="0" rIns="0" bIns="0"/>
          <a:lstStyle/>
          <a:p>
            <a:endParaRPr lang="en-US"/>
          </a:p>
        </p:txBody>
      </p:sp>
      <p:sp>
        <p:nvSpPr>
          <p:cNvPr id="14" name="Successful Buildings">
            <a:extLst>
              <a:ext uri="{FF2B5EF4-FFF2-40B4-BE49-F238E27FC236}">
                <a16:creationId xmlns:a16="http://schemas.microsoft.com/office/drawing/2014/main" id="{D32A9B0A-8969-4932-87DC-8AFDCA4149B3}"/>
              </a:ext>
            </a:extLst>
          </p:cNvPr>
          <p:cNvSpPr/>
          <p:nvPr/>
        </p:nvSpPr>
        <p:spPr>
          <a:xfrm rot="18900000">
            <a:off x="-781146" y="437764"/>
            <a:ext cx="5401673" cy="660305"/>
          </a:xfrm>
          <a:custGeom>
            <a:avLst/>
            <a:gdLst>
              <a:gd name="connsiteX0" fmla="*/ 0 w 6846488"/>
              <a:gd name="connsiteY0" fmla="*/ 0 h 660305"/>
              <a:gd name="connsiteX1" fmla="*/ 6846488 w 6846488"/>
              <a:gd name="connsiteY1" fmla="*/ 0 h 660305"/>
              <a:gd name="connsiteX2" fmla="*/ 6846488 w 6846488"/>
              <a:gd name="connsiteY2" fmla="*/ 660306 h 660305"/>
              <a:gd name="connsiteX3" fmla="*/ 0 w 6846488"/>
              <a:gd name="connsiteY3" fmla="*/ 660306 h 660305"/>
            </a:gdLst>
            <a:ahLst/>
            <a:cxnLst>
              <a:cxn ang="0">
                <a:pos x="connsiteX0" y="connsiteY0"/>
              </a:cxn>
              <a:cxn ang="0">
                <a:pos x="connsiteX1" y="connsiteY1"/>
              </a:cxn>
              <a:cxn ang="0">
                <a:pos x="connsiteX2" y="connsiteY2"/>
              </a:cxn>
              <a:cxn ang="0">
                <a:pos x="connsiteX3" y="connsiteY3"/>
              </a:cxn>
            </a:cxnLst>
            <a:rect l="l" t="t" r="r" b="b"/>
            <a:pathLst>
              <a:path w="6846488" h="660305">
                <a:moveTo>
                  <a:pt x="0" y="0"/>
                </a:moveTo>
                <a:lnTo>
                  <a:pt x="6846488" y="0"/>
                </a:lnTo>
                <a:lnTo>
                  <a:pt x="6846488" y="660306"/>
                </a:lnTo>
                <a:lnTo>
                  <a:pt x="0" y="660306"/>
                </a:lnTo>
                <a:close/>
              </a:path>
            </a:pathLst>
          </a:custGeom>
          <a:noFill/>
          <a:ln w="15210" cap="flat">
            <a:noFill/>
            <a:prstDash val="solid"/>
            <a:miter/>
          </a:ln>
        </p:spPr>
        <p:txBody>
          <a:bodyPr lIns="0" tIns="0" rIns="1854000" bIns="0" rtlCol="0" anchor="ctr"/>
          <a:lstStyle/>
          <a:p>
            <a:pPr algn="r"/>
            <a:r>
              <a:rPr lang="de-DE" sz="2500" b="1" cap="all" baseline="0" err="1">
                <a:solidFill>
                  <a:schemeClr val="bg1"/>
                </a:solidFill>
              </a:rPr>
              <a:t>Successful</a:t>
            </a:r>
            <a:r>
              <a:rPr lang="de-DE" sz="2500" b="1" cap="all" baseline="0">
                <a:solidFill>
                  <a:schemeClr val="bg1"/>
                </a:solidFill>
              </a:rPr>
              <a:t> </a:t>
            </a:r>
            <a:r>
              <a:rPr lang="de-DE" sz="2500" b="1" cap="all" baseline="0" err="1">
                <a:solidFill>
                  <a:schemeClr val="bg1"/>
                </a:solidFill>
              </a:rPr>
              <a:t>buildings</a:t>
            </a:r>
            <a:endParaRPr lang="de-DE" sz="2500" b="1" cap="all" baseline="0">
              <a:solidFill>
                <a:schemeClr val="bg1"/>
              </a:solidFill>
            </a:endParaRPr>
          </a:p>
        </p:txBody>
      </p:sp>
      <p:sp>
        <p:nvSpPr>
          <p:cNvPr id="15" name="Livable Cities">
            <a:extLst>
              <a:ext uri="{FF2B5EF4-FFF2-40B4-BE49-F238E27FC236}">
                <a16:creationId xmlns:a16="http://schemas.microsoft.com/office/drawing/2014/main" id="{4FC0A3E7-9620-4441-B673-52FA37599C97}"/>
              </a:ext>
            </a:extLst>
          </p:cNvPr>
          <p:cNvSpPr/>
          <p:nvPr/>
        </p:nvSpPr>
        <p:spPr>
          <a:xfrm rot="18900000">
            <a:off x="1714712" y="12822"/>
            <a:ext cx="4199450" cy="660305"/>
          </a:xfrm>
          <a:custGeom>
            <a:avLst/>
            <a:gdLst>
              <a:gd name="connsiteX0" fmla="*/ 0 w 5074464"/>
              <a:gd name="connsiteY0" fmla="*/ 0 h 660305"/>
              <a:gd name="connsiteX1" fmla="*/ 5074466 w 5074464"/>
              <a:gd name="connsiteY1" fmla="*/ 0 h 660305"/>
              <a:gd name="connsiteX2" fmla="*/ 5074466 w 5074464"/>
              <a:gd name="connsiteY2" fmla="*/ 660306 h 660305"/>
              <a:gd name="connsiteX3" fmla="*/ 0 w 5074464"/>
              <a:gd name="connsiteY3" fmla="*/ 660306 h 660305"/>
            </a:gdLst>
            <a:ahLst/>
            <a:cxnLst>
              <a:cxn ang="0">
                <a:pos x="connsiteX0" y="connsiteY0"/>
              </a:cxn>
              <a:cxn ang="0">
                <a:pos x="connsiteX1" y="connsiteY1"/>
              </a:cxn>
              <a:cxn ang="0">
                <a:pos x="connsiteX2" y="connsiteY2"/>
              </a:cxn>
              <a:cxn ang="0">
                <a:pos x="connsiteX3" y="connsiteY3"/>
              </a:cxn>
            </a:cxnLst>
            <a:rect l="l" t="t" r="r" b="b"/>
            <a:pathLst>
              <a:path w="5074464" h="660305">
                <a:moveTo>
                  <a:pt x="0" y="0"/>
                </a:moveTo>
                <a:lnTo>
                  <a:pt x="5074466" y="0"/>
                </a:lnTo>
                <a:lnTo>
                  <a:pt x="5074466" y="660306"/>
                </a:lnTo>
                <a:lnTo>
                  <a:pt x="0" y="660306"/>
                </a:lnTo>
                <a:close/>
              </a:path>
            </a:pathLst>
          </a:custGeom>
          <a:noFill/>
          <a:ln w="15210" cap="flat">
            <a:noFill/>
            <a:prstDash val="solid"/>
            <a:miter/>
          </a:ln>
        </p:spPr>
        <p:txBody>
          <a:bodyPr lIns="0" tIns="0" rIns="1854000" bIns="0" rtlCol="0" anchor="ctr"/>
          <a:lstStyle/>
          <a:p>
            <a:pPr marL="0" algn="r" defTabSz="914400" rtl="0" eaLnBrk="1" latinLnBrk="0" hangingPunct="1"/>
            <a:r>
              <a:rPr lang="de-DE" sz="2500" b="1" kern="1200" cap="all" baseline="0" err="1">
                <a:solidFill>
                  <a:schemeClr val="bg1"/>
                </a:solidFill>
                <a:latin typeface="+mn-lt"/>
                <a:ea typeface="+mn-ea"/>
                <a:cs typeface="+mn-cs"/>
              </a:rPr>
              <a:t>Liveable</a:t>
            </a:r>
            <a:r>
              <a:rPr lang="de-DE" sz="2500" b="1" kern="1200" cap="all" baseline="0">
                <a:solidFill>
                  <a:schemeClr val="bg1"/>
                </a:solidFill>
                <a:latin typeface="+mn-lt"/>
                <a:ea typeface="+mn-ea"/>
                <a:cs typeface="+mn-cs"/>
              </a:rPr>
              <a:t> </a:t>
            </a:r>
            <a:r>
              <a:rPr lang="de-DE" sz="2500" b="1" kern="1200" cap="all" baseline="0" err="1">
                <a:solidFill>
                  <a:schemeClr val="bg1"/>
                </a:solidFill>
                <a:latin typeface="+mn-lt"/>
                <a:ea typeface="+mn-ea"/>
                <a:cs typeface="+mn-cs"/>
              </a:rPr>
              <a:t>cities</a:t>
            </a:r>
            <a:endParaRPr lang="de-DE" sz="2500" b="1" kern="1200" cap="all" baseline="0">
              <a:solidFill>
                <a:schemeClr val="bg1"/>
              </a:solidFill>
              <a:latin typeface="+mn-lt"/>
              <a:ea typeface="+mn-ea"/>
              <a:cs typeface="+mn-cs"/>
            </a:endParaRPr>
          </a:p>
        </p:txBody>
      </p:sp>
      <p:sp>
        <p:nvSpPr>
          <p:cNvPr id="16" name="High Return Portfolios">
            <a:extLst>
              <a:ext uri="{FF2B5EF4-FFF2-40B4-BE49-F238E27FC236}">
                <a16:creationId xmlns:a16="http://schemas.microsoft.com/office/drawing/2014/main" id="{88B635C4-811B-4F53-998E-61C90EA69BC2}"/>
              </a:ext>
            </a:extLst>
          </p:cNvPr>
          <p:cNvSpPr/>
          <p:nvPr/>
        </p:nvSpPr>
        <p:spPr>
          <a:xfrm rot="18900000">
            <a:off x="1855510" y="562199"/>
            <a:ext cx="5753623" cy="660305"/>
          </a:xfrm>
          <a:custGeom>
            <a:avLst/>
            <a:gdLst>
              <a:gd name="connsiteX0" fmla="*/ 0 w 6004522"/>
              <a:gd name="connsiteY0" fmla="*/ 0 h 660305"/>
              <a:gd name="connsiteX1" fmla="*/ 6004522 w 6004522"/>
              <a:gd name="connsiteY1" fmla="*/ 0 h 660305"/>
              <a:gd name="connsiteX2" fmla="*/ 6004522 w 6004522"/>
              <a:gd name="connsiteY2" fmla="*/ 660306 h 660305"/>
              <a:gd name="connsiteX3" fmla="*/ 0 w 6004522"/>
              <a:gd name="connsiteY3" fmla="*/ 660306 h 660305"/>
            </a:gdLst>
            <a:ahLst/>
            <a:cxnLst>
              <a:cxn ang="0">
                <a:pos x="connsiteX0" y="connsiteY0"/>
              </a:cxn>
              <a:cxn ang="0">
                <a:pos x="connsiteX1" y="connsiteY1"/>
              </a:cxn>
              <a:cxn ang="0">
                <a:pos x="connsiteX2" y="connsiteY2"/>
              </a:cxn>
              <a:cxn ang="0">
                <a:pos x="connsiteX3" y="connsiteY3"/>
              </a:cxn>
            </a:cxnLst>
            <a:rect l="l" t="t" r="r" b="b"/>
            <a:pathLst>
              <a:path w="6004522" h="660305">
                <a:moveTo>
                  <a:pt x="0" y="0"/>
                </a:moveTo>
                <a:lnTo>
                  <a:pt x="6004522" y="0"/>
                </a:lnTo>
                <a:lnTo>
                  <a:pt x="6004522" y="660306"/>
                </a:lnTo>
                <a:lnTo>
                  <a:pt x="0" y="660306"/>
                </a:lnTo>
                <a:close/>
              </a:path>
            </a:pathLst>
          </a:custGeom>
          <a:noFill/>
          <a:ln w="15210" cap="flat">
            <a:noFill/>
            <a:prstDash val="solid"/>
            <a:miter/>
          </a:ln>
        </p:spPr>
        <p:txBody>
          <a:bodyPr rot="0" spcFirstLastPara="0" vertOverflow="overflow" horzOverflow="overflow" vert="horz" wrap="square" lIns="0" tIns="0" rIns="1854000" bIns="0" numCol="1" spcCol="0" rtlCol="0" fromWordArt="0" anchor="ctr" anchorCtr="0" forceAA="0" compatLnSpc="1">
            <a:prstTxWarp prst="textNoShape">
              <a:avLst/>
            </a:prstTxWarp>
            <a:noAutofit/>
          </a:bodyPr>
          <a:lstStyle/>
          <a:p>
            <a:pPr lvl="0" algn="r"/>
            <a:r>
              <a:rPr lang="de-DE" sz="2500" b="1" cap="all" baseline="0">
                <a:solidFill>
                  <a:schemeClr val="bg1"/>
                </a:solidFill>
              </a:rPr>
              <a:t>High-YIELD Portfolios</a:t>
            </a:r>
          </a:p>
        </p:txBody>
      </p:sp>
      <p:sp>
        <p:nvSpPr>
          <p:cNvPr id="17" name="Powerful Infrastructure">
            <a:extLst>
              <a:ext uri="{FF2B5EF4-FFF2-40B4-BE49-F238E27FC236}">
                <a16:creationId xmlns:a16="http://schemas.microsoft.com/office/drawing/2014/main" id="{34572720-8B6B-41C4-A138-6BC95F2579B5}"/>
              </a:ext>
            </a:extLst>
          </p:cNvPr>
          <p:cNvSpPr/>
          <p:nvPr/>
        </p:nvSpPr>
        <p:spPr>
          <a:xfrm rot="18900000">
            <a:off x="2991637" y="700276"/>
            <a:ext cx="6144220" cy="660305"/>
          </a:xfrm>
          <a:custGeom>
            <a:avLst/>
            <a:gdLst>
              <a:gd name="connsiteX0" fmla="*/ 0 w 6846488"/>
              <a:gd name="connsiteY0" fmla="*/ 0 h 660305"/>
              <a:gd name="connsiteX1" fmla="*/ 6846489 w 6846488"/>
              <a:gd name="connsiteY1" fmla="*/ 0 h 660305"/>
              <a:gd name="connsiteX2" fmla="*/ 6846489 w 6846488"/>
              <a:gd name="connsiteY2" fmla="*/ 660306 h 660305"/>
              <a:gd name="connsiteX3" fmla="*/ 0 w 6846488"/>
              <a:gd name="connsiteY3" fmla="*/ 660306 h 660305"/>
            </a:gdLst>
            <a:ahLst/>
            <a:cxnLst>
              <a:cxn ang="0">
                <a:pos x="connsiteX0" y="connsiteY0"/>
              </a:cxn>
              <a:cxn ang="0">
                <a:pos x="connsiteX1" y="connsiteY1"/>
              </a:cxn>
              <a:cxn ang="0">
                <a:pos x="connsiteX2" y="connsiteY2"/>
              </a:cxn>
              <a:cxn ang="0">
                <a:pos x="connsiteX3" y="connsiteY3"/>
              </a:cxn>
            </a:cxnLst>
            <a:rect l="l" t="t" r="r" b="b"/>
            <a:pathLst>
              <a:path w="6846488" h="660305">
                <a:moveTo>
                  <a:pt x="0" y="0"/>
                </a:moveTo>
                <a:lnTo>
                  <a:pt x="6846489" y="0"/>
                </a:lnTo>
                <a:lnTo>
                  <a:pt x="6846489" y="660306"/>
                </a:lnTo>
                <a:lnTo>
                  <a:pt x="0" y="660306"/>
                </a:lnTo>
                <a:close/>
              </a:path>
            </a:pathLst>
          </a:custGeom>
          <a:noFill/>
          <a:ln w="15210" cap="flat">
            <a:noFill/>
            <a:prstDash val="solid"/>
            <a:miter/>
          </a:ln>
        </p:spPr>
        <p:txBody>
          <a:bodyPr rot="0" spcFirstLastPara="0" vertOverflow="overflow" horzOverflow="overflow" vert="horz" wrap="square" lIns="0" tIns="0" rIns="1854000" bIns="0" numCol="1" spcCol="0" rtlCol="0" fromWordArt="0" anchor="ctr" anchorCtr="0" forceAA="0" compatLnSpc="1">
            <a:prstTxWarp prst="textNoShape">
              <a:avLst/>
            </a:prstTxWarp>
            <a:noAutofit/>
          </a:bodyPr>
          <a:lstStyle/>
          <a:p>
            <a:pPr lvl="0" algn="r"/>
            <a:r>
              <a:rPr lang="de-DE" sz="2500" b="1" cap="all" baseline="0">
                <a:solidFill>
                  <a:schemeClr val="bg1"/>
                </a:solidFill>
              </a:rPr>
              <a:t>Powerful </a:t>
            </a:r>
            <a:r>
              <a:rPr lang="de-DE" sz="2500" b="1" cap="all" baseline="0" err="1">
                <a:solidFill>
                  <a:schemeClr val="bg1"/>
                </a:solidFill>
              </a:rPr>
              <a:t>infrastructure</a:t>
            </a:r>
            <a:endParaRPr lang="de-DE" sz="2500" b="1" cap="all" baseline="0">
              <a:solidFill>
                <a:schemeClr val="bg1"/>
              </a:solidFill>
            </a:endParaRPr>
          </a:p>
        </p:txBody>
      </p:sp>
      <p:sp>
        <p:nvSpPr>
          <p:cNvPr id="18" name="Future-oriented Consulting">
            <a:extLst>
              <a:ext uri="{FF2B5EF4-FFF2-40B4-BE49-F238E27FC236}">
                <a16:creationId xmlns:a16="http://schemas.microsoft.com/office/drawing/2014/main" id="{C3DD2E5D-D243-4401-928B-9E65FE97C8CF}"/>
              </a:ext>
            </a:extLst>
          </p:cNvPr>
          <p:cNvSpPr/>
          <p:nvPr/>
        </p:nvSpPr>
        <p:spPr>
          <a:xfrm rot="18900000">
            <a:off x="4138922" y="831966"/>
            <a:ext cx="6516414" cy="660305"/>
          </a:xfrm>
          <a:custGeom>
            <a:avLst/>
            <a:gdLst>
              <a:gd name="connsiteX0" fmla="*/ 0 w 6455021"/>
              <a:gd name="connsiteY0" fmla="*/ 0 h 660305"/>
              <a:gd name="connsiteX1" fmla="*/ 6455022 w 6455021"/>
              <a:gd name="connsiteY1" fmla="*/ 0 h 660305"/>
              <a:gd name="connsiteX2" fmla="*/ 6455022 w 6455021"/>
              <a:gd name="connsiteY2" fmla="*/ 660306 h 660305"/>
              <a:gd name="connsiteX3" fmla="*/ 0 w 6455021"/>
              <a:gd name="connsiteY3" fmla="*/ 660306 h 660305"/>
            </a:gdLst>
            <a:ahLst/>
            <a:cxnLst>
              <a:cxn ang="0">
                <a:pos x="connsiteX0" y="connsiteY0"/>
              </a:cxn>
              <a:cxn ang="0">
                <a:pos x="connsiteX1" y="connsiteY1"/>
              </a:cxn>
              <a:cxn ang="0">
                <a:pos x="connsiteX2" y="connsiteY2"/>
              </a:cxn>
              <a:cxn ang="0">
                <a:pos x="connsiteX3" y="connsiteY3"/>
              </a:cxn>
            </a:cxnLst>
            <a:rect l="l" t="t" r="r" b="b"/>
            <a:pathLst>
              <a:path w="6455021" h="660305">
                <a:moveTo>
                  <a:pt x="0" y="0"/>
                </a:moveTo>
                <a:lnTo>
                  <a:pt x="6455022" y="0"/>
                </a:lnTo>
                <a:lnTo>
                  <a:pt x="6455022" y="660306"/>
                </a:lnTo>
                <a:lnTo>
                  <a:pt x="0" y="660306"/>
                </a:lnTo>
                <a:close/>
              </a:path>
            </a:pathLst>
          </a:custGeom>
          <a:noFill/>
          <a:ln w="15210" cap="flat">
            <a:noFill/>
            <a:prstDash val="solid"/>
            <a:miter/>
          </a:ln>
        </p:spPr>
        <p:txBody>
          <a:bodyPr rot="0" spcFirstLastPara="0" vertOverflow="overflow" horzOverflow="overflow" vert="horz" wrap="square" lIns="0" tIns="0" rIns="1854000" bIns="0" numCol="1" spcCol="0" rtlCol="0" fromWordArt="0" anchor="ctr" anchorCtr="0" forceAA="0" compatLnSpc="1">
            <a:prstTxWarp prst="textNoShape">
              <a:avLst/>
            </a:prstTxWarp>
            <a:noAutofit/>
          </a:bodyPr>
          <a:lstStyle/>
          <a:p>
            <a:pPr lvl="0" algn="r"/>
            <a:r>
              <a:rPr lang="de-DE" sz="2500" b="1" cap="all" baseline="0">
                <a:solidFill>
                  <a:schemeClr val="bg1"/>
                </a:solidFill>
              </a:rPr>
              <a:t>Future-</a:t>
            </a:r>
            <a:r>
              <a:rPr lang="de-DE" sz="2500" b="1" cap="all" baseline="0" err="1">
                <a:solidFill>
                  <a:schemeClr val="bg1"/>
                </a:solidFill>
              </a:rPr>
              <a:t>oriented</a:t>
            </a:r>
            <a:r>
              <a:rPr lang="de-DE" sz="2500" b="1" cap="all" baseline="0">
                <a:solidFill>
                  <a:schemeClr val="bg1"/>
                </a:solidFill>
              </a:rPr>
              <a:t> </a:t>
            </a:r>
            <a:r>
              <a:rPr lang="de-DE" sz="2500" b="1" cap="all" baseline="0" err="1">
                <a:solidFill>
                  <a:schemeClr val="bg1"/>
                </a:solidFill>
              </a:rPr>
              <a:t>consulting</a:t>
            </a:r>
            <a:endParaRPr lang="de-DE" sz="2500" b="1" cap="all" baseline="0">
              <a:solidFill>
                <a:schemeClr val="bg1"/>
              </a:solidFill>
            </a:endParaRPr>
          </a:p>
        </p:txBody>
      </p:sp>
      <p:sp>
        <p:nvSpPr>
          <p:cNvPr id="59" name="bar 1">
            <a:extLst>
              <a:ext uri="{FF2B5EF4-FFF2-40B4-BE49-F238E27FC236}">
                <a16:creationId xmlns:a16="http://schemas.microsoft.com/office/drawing/2014/main" id="{8BE6467B-6385-4CF2-95A0-E240BAC0C685}"/>
              </a:ext>
            </a:extLst>
          </p:cNvPr>
          <p:cNvSpPr/>
          <p:nvPr/>
        </p:nvSpPr>
        <p:spPr>
          <a:xfrm rot="18900000">
            <a:off x="-1117997" y="-414081"/>
            <a:ext cx="6602163" cy="370858"/>
          </a:xfrm>
          <a:custGeom>
            <a:avLst/>
            <a:gdLst>
              <a:gd name="connsiteX0" fmla="*/ 0 w 2952721"/>
              <a:gd name="connsiteY0" fmla="*/ 0 h 229645"/>
              <a:gd name="connsiteX1" fmla="*/ 2952722 w 2952721"/>
              <a:gd name="connsiteY1" fmla="*/ 0 h 229645"/>
              <a:gd name="connsiteX2" fmla="*/ 2952722 w 2952721"/>
              <a:gd name="connsiteY2" fmla="*/ 229645 h 229645"/>
              <a:gd name="connsiteX3" fmla="*/ 0 w 2952721"/>
              <a:gd name="connsiteY3" fmla="*/ 229645 h 229645"/>
            </a:gdLst>
            <a:ahLst/>
            <a:cxnLst>
              <a:cxn ang="0">
                <a:pos x="connsiteX0" y="connsiteY0"/>
              </a:cxn>
              <a:cxn ang="0">
                <a:pos x="connsiteX1" y="connsiteY1"/>
              </a:cxn>
              <a:cxn ang="0">
                <a:pos x="connsiteX2" y="connsiteY2"/>
              </a:cxn>
              <a:cxn ang="0">
                <a:pos x="connsiteX3" y="connsiteY3"/>
              </a:cxn>
            </a:cxnLst>
            <a:rect l="l" t="t" r="r" b="b"/>
            <a:pathLst>
              <a:path w="2952721" h="229645">
                <a:moveTo>
                  <a:pt x="0" y="0"/>
                </a:moveTo>
                <a:lnTo>
                  <a:pt x="2952722" y="0"/>
                </a:lnTo>
                <a:lnTo>
                  <a:pt x="2952722" y="229645"/>
                </a:lnTo>
                <a:lnTo>
                  <a:pt x="0" y="229645"/>
                </a:lnTo>
                <a:close/>
              </a:path>
            </a:pathLst>
          </a:custGeom>
          <a:solidFill>
            <a:schemeClr val="bg1"/>
          </a:solidFill>
          <a:ln w="9525" cap="flat">
            <a:noFill/>
            <a:prstDash val="solid"/>
            <a:miter/>
          </a:ln>
        </p:spPr>
        <p:txBody>
          <a:bodyPr rtlCol="0" anchor="ctr"/>
          <a:lstStyle/>
          <a:p>
            <a:endParaRPr lang="de-DE"/>
          </a:p>
        </p:txBody>
      </p:sp>
      <p:sp>
        <p:nvSpPr>
          <p:cNvPr id="60" name="bar 2">
            <a:extLst>
              <a:ext uri="{FF2B5EF4-FFF2-40B4-BE49-F238E27FC236}">
                <a16:creationId xmlns:a16="http://schemas.microsoft.com/office/drawing/2014/main" id="{E8793D50-4231-4FEC-8C0C-413B7BDAF9CF}"/>
              </a:ext>
            </a:extLst>
          </p:cNvPr>
          <p:cNvSpPr/>
          <p:nvPr/>
        </p:nvSpPr>
        <p:spPr>
          <a:xfrm rot="18900000">
            <a:off x="363239" y="-383555"/>
            <a:ext cx="6516120" cy="370858"/>
          </a:xfrm>
          <a:custGeom>
            <a:avLst/>
            <a:gdLst>
              <a:gd name="connsiteX0" fmla="*/ 0 w 2952721"/>
              <a:gd name="connsiteY0" fmla="*/ 0 h 229645"/>
              <a:gd name="connsiteX1" fmla="*/ 2952722 w 2952721"/>
              <a:gd name="connsiteY1" fmla="*/ 0 h 229645"/>
              <a:gd name="connsiteX2" fmla="*/ 2952722 w 2952721"/>
              <a:gd name="connsiteY2" fmla="*/ 229645 h 229645"/>
              <a:gd name="connsiteX3" fmla="*/ 0 w 2952721"/>
              <a:gd name="connsiteY3" fmla="*/ 229645 h 229645"/>
            </a:gdLst>
            <a:ahLst/>
            <a:cxnLst>
              <a:cxn ang="0">
                <a:pos x="connsiteX0" y="connsiteY0"/>
              </a:cxn>
              <a:cxn ang="0">
                <a:pos x="connsiteX1" y="connsiteY1"/>
              </a:cxn>
              <a:cxn ang="0">
                <a:pos x="connsiteX2" y="connsiteY2"/>
              </a:cxn>
              <a:cxn ang="0">
                <a:pos x="connsiteX3" y="connsiteY3"/>
              </a:cxn>
            </a:cxnLst>
            <a:rect l="l" t="t" r="r" b="b"/>
            <a:pathLst>
              <a:path w="2952721" h="229645">
                <a:moveTo>
                  <a:pt x="0" y="0"/>
                </a:moveTo>
                <a:lnTo>
                  <a:pt x="2952722" y="0"/>
                </a:lnTo>
                <a:lnTo>
                  <a:pt x="2952722" y="229645"/>
                </a:lnTo>
                <a:lnTo>
                  <a:pt x="0" y="229645"/>
                </a:lnTo>
                <a:close/>
              </a:path>
            </a:pathLst>
          </a:custGeom>
          <a:solidFill>
            <a:schemeClr val="bg1"/>
          </a:solidFill>
          <a:ln w="9525" cap="flat">
            <a:noFill/>
            <a:prstDash val="solid"/>
            <a:miter/>
          </a:ln>
        </p:spPr>
        <p:txBody>
          <a:bodyPr rtlCol="0" anchor="ctr"/>
          <a:lstStyle/>
          <a:p>
            <a:endParaRPr lang="de-DE"/>
          </a:p>
        </p:txBody>
      </p:sp>
      <p:sp>
        <p:nvSpPr>
          <p:cNvPr id="61" name="bar 3">
            <a:extLst>
              <a:ext uri="{FF2B5EF4-FFF2-40B4-BE49-F238E27FC236}">
                <a16:creationId xmlns:a16="http://schemas.microsoft.com/office/drawing/2014/main" id="{0C0027FF-43A6-468E-9C5B-1521FA7B1F5F}"/>
              </a:ext>
            </a:extLst>
          </p:cNvPr>
          <p:cNvSpPr/>
          <p:nvPr/>
        </p:nvSpPr>
        <p:spPr>
          <a:xfrm rot="18900000">
            <a:off x="1863605" y="-307220"/>
            <a:ext cx="6300168" cy="370858"/>
          </a:xfrm>
          <a:custGeom>
            <a:avLst/>
            <a:gdLst>
              <a:gd name="connsiteX0" fmla="*/ 0 w 2952721"/>
              <a:gd name="connsiteY0" fmla="*/ 0 h 229645"/>
              <a:gd name="connsiteX1" fmla="*/ 2952722 w 2952721"/>
              <a:gd name="connsiteY1" fmla="*/ 0 h 229645"/>
              <a:gd name="connsiteX2" fmla="*/ 2952722 w 2952721"/>
              <a:gd name="connsiteY2" fmla="*/ 229645 h 229645"/>
              <a:gd name="connsiteX3" fmla="*/ 0 w 2952721"/>
              <a:gd name="connsiteY3" fmla="*/ 229645 h 229645"/>
            </a:gdLst>
            <a:ahLst/>
            <a:cxnLst>
              <a:cxn ang="0">
                <a:pos x="connsiteX0" y="connsiteY0"/>
              </a:cxn>
              <a:cxn ang="0">
                <a:pos x="connsiteX1" y="connsiteY1"/>
              </a:cxn>
              <a:cxn ang="0">
                <a:pos x="connsiteX2" y="connsiteY2"/>
              </a:cxn>
              <a:cxn ang="0">
                <a:pos x="connsiteX3" y="connsiteY3"/>
              </a:cxn>
            </a:cxnLst>
            <a:rect l="l" t="t" r="r" b="b"/>
            <a:pathLst>
              <a:path w="2952721" h="229645">
                <a:moveTo>
                  <a:pt x="0" y="0"/>
                </a:moveTo>
                <a:lnTo>
                  <a:pt x="2952722" y="0"/>
                </a:lnTo>
                <a:lnTo>
                  <a:pt x="2952722" y="229645"/>
                </a:lnTo>
                <a:lnTo>
                  <a:pt x="0" y="229645"/>
                </a:lnTo>
                <a:close/>
              </a:path>
            </a:pathLst>
          </a:custGeom>
          <a:solidFill>
            <a:schemeClr val="bg1"/>
          </a:solidFill>
          <a:ln w="9525" cap="flat">
            <a:noFill/>
            <a:prstDash val="solid"/>
            <a:miter/>
          </a:ln>
        </p:spPr>
        <p:txBody>
          <a:bodyPr rtlCol="0" anchor="ctr"/>
          <a:lstStyle/>
          <a:p>
            <a:endParaRPr lang="de-DE"/>
          </a:p>
        </p:txBody>
      </p:sp>
      <p:sp>
        <p:nvSpPr>
          <p:cNvPr id="62" name="bar 4">
            <a:extLst>
              <a:ext uri="{FF2B5EF4-FFF2-40B4-BE49-F238E27FC236}">
                <a16:creationId xmlns:a16="http://schemas.microsoft.com/office/drawing/2014/main" id="{A337BA6D-C590-42C0-9A29-78A21DE68CBD}"/>
              </a:ext>
            </a:extLst>
          </p:cNvPr>
          <p:cNvSpPr/>
          <p:nvPr/>
        </p:nvSpPr>
        <p:spPr>
          <a:xfrm rot="18900000">
            <a:off x="3361543" y="-236745"/>
            <a:ext cx="6100819" cy="370858"/>
          </a:xfrm>
          <a:custGeom>
            <a:avLst/>
            <a:gdLst>
              <a:gd name="connsiteX0" fmla="*/ 0 w 2952721"/>
              <a:gd name="connsiteY0" fmla="*/ 0 h 229645"/>
              <a:gd name="connsiteX1" fmla="*/ 2952722 w 2952721"/>
              <a:gd name="connsiteY1" fmla="*/ 0 h 229645"/>
              <a:gd name="connsiteX2" fmla="*/ 2952722 w 2952721"/>
              <a:gd name="connsiteY2" fmla="*/ 229645 h 229645"/>
              <a:gd name="connsiteX3" fmla="*/ 0 w 2952721"/>
              <a:gd name="connsiteY3" fmla="*/ 229645 h 229645"/>
            </a:gdLst>
            <a:ahLst/>
            <a:cxnLst>
              <a:cxn ang="0">
                <a:pos x="connsiteX0" y="connsiteY0"/>
              </a:cxn>
              <a:cxn ang="0">
                <a:pos x="connsiteX1" y="connsiteY1"/>
              </a:cxn>
              <a:cxn ang="0">
                <a:pos x="connsiteX2" y="connsiteY2"/>
              </a:cxn>
              <a:cxn ang="0">
                <a:pos x="connsiteX3" y="connsiteY3"/>
              </a:cxn>
            </a:cxnLst>
            <a:rect l="l" t="t" r="r" b="b"/>
            <a:pathLst>
              <a:path w="2952721" h="229645">
                <a:moveTo>
                  <a:pt x="0" y="0"/>
                </a:moveTo>
                <a:lnTo>
                  <a:pt x="2952722" y="0"/>
                </a:lnTo>
                <a:lnTo>
                  <a:pt x="2952722" y="229645"/>
                </a:lnTo>
                <a:lnTo>
                  <a:pt x="0" y="229645"/>
                </a:lnTo>
                <a:close/>
              </a:path>
            </a:pathLst>
          </a:custGeom>
          <a:solidFill>
            <a:schemeClr val="bg1"/>
          </a:solidFill>
          <a:ln w="9525" cap="flat">
            <a:noFill/>
            <a:prstDash val="solid"/>
            <a:miter/>
          </a:ln>
        </p:spPr>
        <p:txBody>
          <a:bodyPr rtlCol="0" anchor="ctr"/>
          <a:lstStyle/>
          <a:p>
            <a:endParaRPr lang="de-DE"/>
          </a:p>
        </p:txBody>
      </p:sp>
      <p:sp>
        <p:nvSpPr>
          <p:cNvPr id="63" name="bar 5">
            <a:extLst>
              <a:ext uri="{FF2B5EF4-FFF2-40B4-BE49-F238E27FC236}">
                <a16:creationId xmlns:a16="http://schemas.microsoft.com/office/drawing/2014/main" id="{EBAB8952-A0A8-4951-ADDF-F7A4E67E3C03}"/>
              </a:ext>
            </a:extLst>
          </p:cNvPr>
          <p:cNvSpPr/>
          <p:nvPr/>
        </p:nvSpPr>
        <p:spPr>
          <a:xfrm rot="18900000">
            <a:off x="4829779" y="-237973"/>
            <a:ext cx="6104249" cy="370858"/>
          </a:xfrm>
          <a:custGeom>
            <a:avLst/>
            <a:gdLst>
              <a:gd name="connsiteX0" fmla="*/ 0 w 2952721"/>
              <a:gd name="connsiteY0" fmla="*/ 0 h 229645"/>
              <a:gd name="connsiteX1" fmla="*/ 2952722 w 2952721"/>
              <a:gd name="connsiteY1" fmla="*/ 0 h 229645"/>
              <a:gd name="connsiteX2" fmla="*/ 2952722 w 2952721"/>
              <a:gd name="connsiteY2" fmla="*/ 229645 h 229645"/>
              <a:gd name="connsiteX3" fmla="*/ 0 w 2952721"/>
              <a:gd name="connsiteY3" fmla="*/ 229645 h 229645"/>
            </a:gdLst>
            <a:ahLst/>
            <a:cxnLst>
              <a:cxn ang="0">
                <a:pos x="connsiteX0" y="connsiteY0"/>
              </a:cxn>
              <a:cxn ang="0">
                <a:pos x="connsiteX1" y="connsiteY1"/>
              </a:cxn>
              <a:cxn ang="0">
                <a:pos x="connsiteX2" y="connsiteY2"/>
              </a:cxn>
              <a:cxn ang="0">
                <a:pos x="connsiteX3" y="connsiteY3"/>
              </a:cxn>
            </a:cxnLst>
            <a:rect l="l" t="t" r="r" b="b"/>
            <a:pathLst>
              <a:path w="2952721" h="229645">
                <a:moveTo>
                  <a:pt x="0" y="0"/>
                </a:moveTo>
                <a:lnTo>
                  <a:pt x="2952722" y="0"/>
                </a:lnTo>
                <a:lnTo>
                  <a:pt x="2952722" y="229645"/>
                </a:lnTo>
                <a:lnTo>
                  <a:pt x="0" y="229645"/>
                </a:lnTo>
                <a:close/>
              </a:path>
            </a:pathLst>
          </a:custGeom>
          <a:solidFill>
            <a:schemeClr val="bg1"/>
          </a:solidFill>
          <a:ln w="9525" cap="flat">
            <a:noFill/>
            <a:prstDash val="solid"/>
            <a:miter/>
          </a:ln>
        </p:spPr>
        <p:txBody>
          <a:bodyPr rtlCol="0" anchor="ctr"/>
          <a:lstStyle/>
          <a:p>
            <a:endParaRPr lang="de-DE"/>
          </a:p>
        </p:txBody>
      </p:sp>
      <p:pic>
        <p:nvPicPr>
          <p:cNvPr id="3" name="qr code" descr="Ein Bild, das Text enthält.&#10;&#10;Automatisch generierte Beschreibung">
            <a:extLst>
              <a:ext uri="{FF2B5EF4-FFF2-40B4-BE49-F238E27FC236}">
                <a16:creationId xmlns:a16="http://schemas.microsoft.com/office/drawing/2014/main" id="{B25EAACA-7D5C-45DB-833F-A71A51FA889C}"/>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479338" y="5387338"/>
            <a:ext cx="1145877" cy="1145877"/>
          </a:xfrm>
          <a:prstGeom prst="rect">
            <a:avLst/>
          </a:prstGeom>
          <a:noFill/>
        </p:spPr>
      </p:pic>
      <p:grpSp>
        <p:nvGrpSpPr>
          <p:cNvPr id="65" name="logo drees&amp;sommer white">
            <a:extLst>
              <a:ext uri="{FF2B5EF4-FFF2-40B4-BE49-F238E27FC236}">
                <a16:creationId xmlns:a16="http://schemas.microsoft.com/office/drawing/2014/main" id="{137549E5-8B7E-4667-960D-886A91588E3D}"/>
              </a:ext>
            </a:extLst>
          </p:cNvPr>
          <p:cNvGrpSpPr>
            <a:grpSpLocks noChangeAspect="1"/>
          </p:cNvGrpSpPr>
          <p:nvPr userDrawn="1"/>
        </p:nvGrpSpPr>
        <p:grpSpPr bwMode="gray">
          <a:xfrm>
            <a:off x="9982200" y="5897503"/>
            <a:ext cx="1682751" cy="507815"/>
            <a:chOff x="95247" y="1619247"/>
            <a:chExt cx="12004075" cy="3622552"/>
          </a:xfrm>
          <a:solidFill>
            <a:schemeClr val="bg1"/>
          </a:solidFill>
        </p:grpSpPr>
        <p:sp>
          <p:nvSpPr>
            <p:cNvPr id="66" name="d">
              <a:extLst>
                <a:ext uri="{FF2B5EF4-FFF2-40B4-BE49-F238E27FC236}">
                  <a16:creationId xmlns:a16="http://schemas.microsoft.com/office/drawing/2014/main" id="{E131106B-D141-4210-AF7F-1D041C972B9A}"/>
                </a:ext>
              </a:extLst>
            </p:cNvPr>
            <p:cNvSpPr/>
            <p:nvPr/>
          </p:nvSpPr>
          <p:spPr bwMode="gray">
            <a:xfrm>
              <a:off x="146585" y="1619247"/>
              <a:ext cx="1890145" cy="1555528"/>
            </a:xfrm>
            <a:custGeom>
              <a:avLst/>
              <a:gdLst>
                <a:gd name="connsiteX0" fmla="*/ 361760 w 1890141"/>
                <a:gd name="connsiteY0" fmla="*/ 1263206 h 1555527"/>
                <a:gd name="connsiteX1" fmla="*/ 361760 w 1890141"/>
                <a:gd name="connsiteY1" fmla="*/ 277368 h 1555527"/>
                <a:gd name="connsiteX2" fmla="*/ 1003840 w 1890141"/>
                <a:gd name="connsiteY2" fmla="*/ 277368 h 1555527"/>
                <a:gd name="connsiteX3" fmla="*/ 1516380 w 1890141"/>
                <a:gd name="connsiteY3" fmla="*/ 762762 h 1555527"/>
                <a:gd name="connsiteX4" fmla="*/ 828961 w 1890141"/>
                <a:gd name="connsiteY4" fmla="*/ 1263206 h 1555527"/>
                <a:gd name="connsiteX5" fmla="*/ 361760 w 1890141"/>
                <a:gd name="connsiteY5" fmla="*/ 1263206 h 1555527"/>
                <a:gd name="connsiteX6" fmla="*/ 0 w 1890141"/>
                <a:gd name="connsiteY6" fmla="*/ 1555528 h 1555527"/>
                <a:gd name="connsiteX7" fmla="*/ 907447 w 1890141"/>
                <a:gd name="connsiteY7" fmla="*/ 1555528 h 1555527"/>
                <a:gd name="connsiteX8" fmla="*/ 1546574 w 1890141"/>
                <a:gd name="connsiteY8" fmla="*/ 1435037 h 1555527"/>
                <a:gd name="connsiteX9" fmla="*/ 1890141 w 1890141"/>
                <a:gd name="connsiteY9" fmla="*/ 768763 h 1555527"/>
                <a:gd name="connsiteX10" fmla="*/ 1000792 w 1890141"/>
                <a:gd name="connsiteY10" fmla="*/ 0 h 1555527"/>
                <a:gd name="connsiteX11" fmla="*/ 0 w 1890141"/>
                <a:gd name="connsiteY11" fmla="*/ 0 h 1555527"/>
                <a:gd name="connsiteX12" fmla="*/ 0 w 1890141"/>
                <a:gd name="connsiteY12" fmla="*/ 1555528 h 155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90141" h="1555527">
                  <a:moveTo>
                    <a:pt x="361760" y="1263206"/>
                  </a:moveTo>
                  <a:lnTo>
                    <a:pt x="361760" y="277368"/>
                  </a:lnTo>
                  <a:lnTo>
                    <a:pt x="1003840" y="277368"/>
                  </a:lnTo>
                  <a:cubicBezTo>
                    <a:pt x="1344549" y="277368"/>
                    <a:pt x="1516380" y="446246"/>
                    <a:pt x="1516380" y="762762"/>
                  </a:cubicBezTo>
                  <a:cubicBezTo>
                    <a:pt x="1516380" y="1148620"/>
                    <a:pt x="1287209" y="1263206"/>
                    <a:pt x="828961" y="1263206"/>
                  </a:cubicBezTo>
                  <a:lnTo>
                    <a:pt x="361760" y="1263206"/>
                  </a:lnTo>
                  <a:close/>
                  <a:moveTo>
                    <a:pt x="0" y="1555528"/>
                  </a:moveTo>
                  <a:lnTo>
                    <a:pt x="907447" y="1555528"/>
                  </a:lnTo>
                  <a:cubicBezTo>
                    <a:pt x="1184624" y="1555528"/>
                    <a:pt x="1395698" y="1528382"/>
                    <a:pt x="1546574" y="1435037"/>
                  </a:cubicBezTo>
                  <a:cubicBezTo>
                    <a:pt x="1763649" y="1302353"/>
                    <a:pt x="1890141" y="1061180"/>
                    <a:pt x="1890141" y="768763"/>
                  </a:cubicBezTo>
                  <a:cubicBezTo>
                    <a:pt x="1890141" y="286417"/>
                    <a:pt x="1582769" y="0"/>
                    <a:pt x="1000792" y="0"/>
                  </a:cubicBezTo>
                  <a:lnTo>
                    <a:pt x="0" y="0"/>
                  </a:lnTo>
                  <a:lnTo>
                    <a:pt x="0" y="1555528"/>
                  </a:lnTo>
                  <a:close/>
                </a:path>
              </a:pathLst>
            </a:custGeom>
            <a:grpFill/>
            <a:ln w="9525" cap="flat">
              <a:noFill/>
              <a:prstDash val="solid"/>
              <a:miter/>
            </a:ln>
          </p:spPr>
          <p:txBody>
            <a:bodyPr lIns="0" tIns="0" rIns="0" bIns="0" rtlCol="0" anchor="ctr"/>
            <a:lstStyle/>
            <a:p>
              <a:endParaRPr lang="de-DE" sz="100"/>
            </a:p>
          </p:txBody>
        </p:sp>
        <p:sp>
          <p:nvSpPr>
            <p:cNvPr id="67" name="r">
              <a:extLst>
                <a:ext uri="{FF2B5EF4-FFF2-40B4-BE49-F238E27FC236}">
                  <a16:creationId xmlns:a16="http://schemas.microsoft.com/office/drawing/2014/main" id="{947EBCE2-AB06-4B3A-85A5-50A546029817}"/>
                </a:ext>
              </a:extLst>
            </p:cNvPr>
            <p:cNvSpPr/>
            <p:nvPr/>
          </p:nvSpPr>
          <p:spPr bwMode="gray">
            <a:xfrm>
              <a:off x="2405150" y="1899664"/>
              <a:ext cx="1579811" cy="1275112"/>
            </a:xfrm>
            <a:custGeom>
              <a:avLst/>
              <a:gdLst>
                <a:gd name="connsiteX0" fmla="*/ 1015937 w 1579816"/>
                <a:gd name="connsiteY0" fmla="*/ 220028 h 1275111"/>
                <a:gd name="connsiteX1" fmla="*/ 1157668 w 1579816"/>
                <a:gd name="connsiteY1" fmla="*/ 322517 h 1275111"/>
                <a:gd name="connsiteX2" fmla="*/ 1157668 w 1579816"/>
                <a:gd name="connsiteY2" fmla="*/ 470249 h 1275111"/>
                <a:gd name="connsiteX3" fmla="*/ 1015937 w 1579816"/>
                <a:gd name="connsiteY3" fmla="*/ 572738 h 1275111"/>
                <a:gd name="connsiteX4" fmla="*/ 307467 w 1579816"/>
                <a:gd name="connsiteY4" fmla="*/ 572738 h 1275111"/>
                <a:gd name="connsiteX5" fmla="*/ 307467 w 1579816"/>
                <a:gd name="connsiteY5" fmla="*/ 220028 h 1275111"/>
                <a:gd name="connsiteX6" fmla="*/ 1015937 w 1579816"/>
                <a:gd name="connsiteY6" fmla="*/ 220028 h 1275111"/>
                <a:gd name="connsiteX7" fmla="*/ 0 w 1579816"/>
                <a:gd name="connsiteY7" fmla="*/ 1275112 h 1275111"/>
                <a:gd name="connsiteX8" fmla="*/ 307562 w 1579816"/>
                <a:gd name="connsiteY8" fmla="*/ 1275112 h 1275111"/>
                <a:gd name="connsiteX9" fmla="*/ 307562 w 1579816"/>
                <a:gd name="connsiteY9" fmla="*/ 792671 h 1275111"/>
                <a:gd name="connsiteX10" fmla="*/ 599980 w 1579816"/>
                <a:gd name="connsiteY10" fmla="*/ 792671 h 1275111"/>
                <a:gd name="connsiteX11" fmla="*/ 1133570 w 1579816"/>
                <a:gd name="connsiteY11" fmla="*/ 1275112 h 1275111"/>
                <a:gd name="connsiteX12" fmla="*/ 1579817 w 1579816"/>
                <a:gd name="connsiteY12" fmla="*/ 1275112 h 1275111"/>
                <a:gd name="connsiteX13" fmla="*/ 973741 w 1579816"/>
                <a:gd name="connsiteY13" fmla="*/ 792671 h 1275111"/>
                <a:gd name="connsiteX14" fmla="*/ 1148620 w 1579816"/>
                <a:gd name="connsiteY14" fmla="*/ 792671 h 1275111"/>
                <a:gd name="connsiteX15" fmla="*/ 1447133 w 1579816"/>
                <a:gd name="connsiteY15" fmla="*/ 548640 h 1275111"/>
                <a:gd name="connsiteX16" fmla="*/ 1447133 w 1579816"/>
                <a:gd name="connsiteY16" fmla="*/ 247174 h 1275111"/>
                <a:gd name="connsiteX17" fmla="*/ 1148620 w 1579816"/>
                <a:gd name="connsiteY17" fmla="*/ 0 h 1275111"/>
                <a:gd name="connsiteX18" fmla="*/ 0 w 1579816"/>
                <a:gd name="connsiteY18" fmla="*/ 0 h 1275111"/>
                <a:gd name="connsiteX19" fmla="*/ 0 w 1579816"/>
                <a:gd name="connsiteY19" fmla="*/ 1275112 h 127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79816" h="1275111">
                  <a:moveTo>
                    <a:pt x="1015937" y="220028"/>
                  </a:moveTo>
                  <a:cubicBezTo>
                    <a:pt x="1109282" y="220028"/>
                    <a:pt x="1157668" y="238220"/>
                    <a:pt x="1157668" y="322517"/>
                  </a:cubicBezTo>
                  <a:lnTo>
                    <a:pt x="1157668" y="470249"/>
                  </a:lnTo>
                  <a:cubicBezTo>
                    <a:pt x="1157668" y="554736"/>
                    <a:pt x="1109282" y="572738"/>
                    <a:pt x="1015937" y="572738"/>
                  </a:cubicBezTo>
                  <a:lnTo>
                    <a:pt x="307467" y="572738"/>
                  </a:lnTo>
                  <a:lnTo>
                    <a:pt x="307467" y="220028"/>
                  </a:lnTo>
                  <a:lnTo>
                    <a:pt x="1015937" y="220028"/>
                  </a:lnTo>
                  <a:close/>
                  <a:moveTo>
                    <a:pt x="0" y="1275112"/>
                  </a:moveTo>
                  <a:lnTo>
                    <a:pt x="307562" y="1275112"/>
                  </a:lnTo>
                  <a:lnTo>
                    <a:pt x="307562" y="792671"/>
                  </a:lnTo>
                  <a:lnTo>
                    <a:pt x="599980" y="792671"/>
                  </a:lnTo>
                  <a:lnTo>
                    <a:pt x="1133570" y="1275112"/>
                  </a:lnTo>
                  <a:lnTo>
                    <a:pt x="1579817" y="1275112"/>
                  </a:lnTo>
                  <a:lnTo>
                    <a:pt x="973741" y="792671"/>
                  </a:lnTo>
                  <a:lnTo>
                    <a:pt x="1148620" y="792671"/>
                  </a:lnTo>
                  <a:cubicBezTo>
                    <a:pt x="1353693" y="792671"/>
                    <a:pt x="1447133" y="723329"/>
                    <a:pt x="1447133" y="548640"/>
                  </a:cubicBezTo>
                  <a:lnTo>
                    <a:pt x="1447133" y="247174"/>
                  </a:lnTo>
                  <a:cubicBezTo>
                    <a:pt x="1447133" y="69342"/>
                    <a:pt x="1353598" y="0"/>
                    <a:pt x="1148620" y="0"/>
                  </a:cubicBezTo>
                  <a:lnTo>
                    <a:pt x="0" y="0"/>
                  </a:lnTo>
                  <a:lnTo>
                    <a:pt x="0" y="1275112"/>
                  </a:lnTo>
                  <a:close/>
                </a:path>
              </a:pathLst>
            </a:custGeom>
            <a:grpFill/>
            <a:ln w="9525" cap="flat">
              <a:noFill/>
              <a:prstDash val="solid"/>
              <a:miter/>
            </a:ln>
          </p:spPr>
          <p:txBody>
            <a:bodyPr lIns="0" tIns="0" rIns="0" bIns="0" rtlCol="0" anchor="ctr"/>
            <a:lstStyle/>
            <a:p>
              <a:endParaRPr lang="de-DE" sz="100"/>
            </a:p>
          </p:txBody>
        </p:sp>
        <p:sp>
          <p:nvSpPr>
            <p:cNvPr id="68" name="e">
              <a:extLst>
                <a:ext uri="{FF2B5EF4-FFF2-40B4-BE49-F238E27FC236}">
                  <a16:creationId xmlns:a16="http://schemas.microsoft.com/office/drawing/2014/main" id="{126BEA48-E14F-4EB1-87C1-C0F42B7DBFCB}"/>
                </a:ext>
              </a:extLst>
            </p:cNvPr>
            <p:cNvSpPr/>
            <p:nvPr/>
          </p:nvSpPr>
          <p:spPr bwMode="gray">
            <a:xfrm>
              <a:off x="4279102" y="1899664"/>
              <a:ext cx="1383701" cy="1275112"/>
            </a:xfrm>
            <a:custGeom>
              <a:avLst/>
              <a:gdLst>
                <a:gd name="connsiteX0" fmla="*/ 0 w 1383696"/>
                <a:gd name="connsiteY0" fmla="*/ 1275112 h 1275111"/>
                <a:gd name="connsiteX1" fmla="*/ 1383697 w 1383696"/>
                <a:gd name="connsiteY1" fmla="*/ 1275112 h 1275111"/>
                <a:gd name="connsiteX2" fmla="*/ 1383697 w 1383696"/>
                <a:gd name="connsiteY2" fmla="*/ 1036987 h 1275111"/>
                <a:gd name="connsiteX3" fmla="*/ 313563 w 1383696"/>
                <a:gd name="connsiteY3" fmla="*/ 1036987 h 1275111"/>
                <a:gd name="connsiteX4" fmla="*/ 313563 w 1383696"/>
                <a:gd name="connsiteY4" fmla="*/ 723424 h 1275111"/>
                <a:gd name="connsiteX5" fmla="*/ 928497 w 1383696"/>
                <a:gd name="connsiteY5" fmla="*/ 723424 h 1275111"/>
                <a:gd name="connsiteX6" fmla="*/ 928497 w 1383696"/>
                <a:gd name="connsiteY6" fmla="*/ 503396 h 1275111"/>
                <a:gd name="connsiteX7" fmla="*/ 313563 w 1383696"/>
                <a:gd name="connsiteY7" fmla="*/ 503396 h 1275111"/>
                <a:gd name="connsiteX8" fmla="*/ 313563 w 1383696"/>
                <a:gd name="connsiteY8" fmla="*/ 226028 h 1275111"/>
                <a:gd name="connsiteX9" fmla="*/ 1368743 w 1383696"/>
                <a:gd name="connsiteY9" fmla="*/ 226028 h 1275111"/>
                <a:gd name="connsiteX10" fmla="*/ 1368743 w 1383696"/>
                <a:gd name="connsiteY10" fmla="*/ 0 h 1275111"/>
                <a:gd name="connsiteX11" fmla="*/ 0 w 1383696"/>
                <a:gd name="connsiteY11" fmla="*/ 0 h 127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3696" h="1275111">
                  <a:moveTo>
                    <a:pt x="0" y="1275112"/>
                  </a:moveTo>
                  <a:lnTo>
                    <a:pt x="1383697" y="1275112"/>
                  </a:lnTo>
                  <a:lnTo>
                    <a:pt x="1383697" y="1036987"/>
                  </a:lnTo>
                  <a:lnTo>
                    <a:pt x="313563" y="1036987"/>
                  </a:lnTo>
                  <a:lnTo>
                    <a:pt x="313563" y="723424"/>
                  </a:lnTo>
                  <a:lnTo>
                    <a:pt x="928497" y="723424"/>
                  </a:lnTo>
                  <a:lnTo>
                    <a:pt x="928497" y="503396"/>
                  </a:lnTo>
                  <a:lnTo>
                    <a:pt x="313563" y="503396"/>
                  </a:lnTo>
                  <a:lnTo>
                    <a:pt x="313563" y="226028"/>
                  </a:lnTo>
                  <a:lnTo>
                    <a:pt x="1368743" y="226028"/>
                  </a:lnTo>
                  <a:lnTo>
                    <a:pt x="1368743" y="0"/>
                  </a:lnTo>
                  <a:lnTo>
                    <a:pt x="0" y="0"/>
                  </a:lnTo>
                  <a:close/>
                </a:path>
              </a:pathLst>
            </a:custGeom>
            <a:grpFill/>
            <a:ln w="9525" cap="flat">
              <a:noFill/>
              <a:prstDash val="solid"/>
              <a:miter/>
            </a:ln>
          </p:spPr>
          <p:txBody>
            <a:bodyPr lIns="0" tIns="0" rIns="0" bIns="0" rtlCol="0" anchor="ctr"/>
            <a:lstStyle/>
            <a:p>
              <a:endParaRPr lang="de-DE" sz="100"/>
            </a:p>
          </p:txBody>
        </p:sp>
        <p:sp>
          <p:nvSpPr>
            <p:cNvPr id="69" name="e">
              <a:extLst>
                <a:ext uri="{FF2B5EF4-FFF2-40B4-BE49-F238E27FC236}">
                  <a16:creationId xmlns:a16="http://schemas.microsoft.com/office/drawing/2014/main" id="{8EA24D95-239C-4DC3-BF24-77798224BCBD}"/>
                </a:ext>
              </a:extLst>
            </p:cNvPr>
            <p:cNvSpPr/>
            <p:nvPr/>
          </p:nvSpPr>
          <p:spPr bwMode="gray">
            <a:xfrm>
              <a:off x="6022562" y="1899664"/>
              <a:ext cx="1383701" cy="1275112"/>
            </a:xfrm>
            <a:custGeom>
              <a:avLst/>
              <a:gdLst>
                <a:gd name="connsiteX0" fmla="*/ 0 w 1383696"/>
                <a:gd name="connsiteY0" fmla="*/ 1275112 h 1275111"/>
                <a:gd name="connsiteX1" fmla="*/ 1383697 w 1383696"/>
                <a:gd name="connsiteY1" fmla="*/ 1275112 h 1275111"/>
                <a:gd name="connsiteX2" fmla="*/ 1383697 w 1383696"/>
                <a:gd name="connsiteY2" fmla="*/ 1036987 h 1275111"/>
                <a:gd name="connsiteX3" fmla="*/ 313563 w 1383696"/>
                <a:gd name="connsiteY3" fmla="*/ 1036987 h 1275111"/>
                <a:gd name="connsiteX4" fmla="*/ 313563 w 1383696"/>
                <a:gd name="connsiteY4" fmla="*/ 723424 h 1275111"/>
                <a:gd name="connsiteX5" fmla="*/ 928497 w 1383696"/>
                <a:gd name="connsiteY5" fmla="*/ 723424 h 1275111"/>
                <a:gd name="connsiteX6" fmla="*/ 928497 w 1383696"/>
                <a:gd name="connsiteY6" fmla="*/ 503396 h 1275111"/>
                <a:gd name="connsiteX7" fmla="*/ 313563 w 1383696"/>
                <a:gd name="connsiteY7" fmla="*/ 503396 h 1275111"/>
                <a:gd name="connsiteX8" fmla="*/ 313563 w 1383696"/>
                <a:gd name="connsiteY8" fmla="*/ 226028 h 1275111"/>
                <a:gd name="connsiteX9" fmla="*/ 1368743 w 1383696"/>
                <a:gd name="connsiteY9" fmla="*/ 226028 h 1275111"/>
                <a:gd name="connsiteX10" fmla="*/ 1368743 w 1383696"/>
                <a:gd name="connsiteY10" fmla="*/ 0 h 1275111"/>
                <a:gd name="connsiteX11" fmla="*/ 0 w 1383696"/>
                <a:gd name="connsiteY11" fmla="*/ 0 h 127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3696" h="1275111">
                  <a:moveTo>
                    <a:pt x="0" y="1275112"/>
                  </a:moveTo>
                  <a:lnTo>
                    <a:pt x="1383697" y="1275112"/>
                  </a:lnTo>
                  <a:lnTo>
                    <a:pt x="1383697" y="1036987"/>
                  </a:lnTo>
                  <a:lnTo>
                    <a:pt x="313563" y="1036987"/>
                  </a:lnTo>
                  <a:lnTo>
                    <a:pt x="313563" y="723424"/>
                  </a:lnTo>
                  <a:lnTo>
                    <a:pt x="928497" y="723424"/>
                  </a:lnTo>
                  <a:lnTo>
                    <a:pt x="928497" y="503396"/>
                  </a:lnTo>
                  <a:lnTo>
                    <a:pt x="313563" y="503396"/>
                  </a:lnTo>
                  <a:lnTo>
                    <a:pt x="313563" y="226028"/>
                  </a:lnTo>
                  <a:lnTo>
                    <a:pt x="1368743" y="226028"/>
                  </a:lnTo>
                  <a:lnTo>
                    <a:pt x="1368743" y="0"/>
                  </a:lnTo>
                  <a:lnTo>
                    <a:pt x="0" y="0"/>
                  </a:lnTo>
                  <a:close/>
                </a:path>
              </a:pathLst>
            </a:custGeom>
            <a:grpFill/>
            <a:ln w="9525" cap="flat">
              <a:noFill/>
              <a:prstDash val="solid"/>
              <a:miter/>
            </a:ln>
          </p:spPr>
          <p:txBody>
            <a:bodyPr lIns="0" tIns="0" rIns="0" bIns="0" rtlCol="0" anchor="ctr"/>
            <a:lstStyle/>
            <a:p>
              <a:endParaRPr lang="de-DE" sz="100"/>
            </a:p>
          </p:txBody>
        </p:sp>
        <p:sp>
          <p:nvSpPr>
            <p:cNvPr id="70" name="s">
              <a:extLst>
                <a:ext uri="{FF2B5EF4-FFF2-40B4-BE49-F238E27FC236}">
                  <a16:creationId xmlns:a16="http://schemas.microsoft.com/office/drawing/2014/main" id="{EBCBAD87-0819-496E-B75B-E21C17F6F25C}"/>
                </a:ext>
              </a:extLst>
            </p:cNvPr>
            <p:cNvSpPr/>
            <p:nvPr/>
          </p:nvSpPr>
          <p:spPr bwMode="gray">
            <a:xfrm>
              <a:off x="7714204" y="1899664"/>
              <a:ext cx="1495239" cy="1275213"/>
            </a:xfrm>
            <a:custGeom>
              <a:avLst/>
              <a:gdLst>
                <a:gd name="connsiteX0" fmla="*/ 1211770 w 1495234"/>
                <a:gd name="connsiteY0" fmla="*/ 229076 h 1275207"/>
                <a:gd name="connsiteX1" fmla="*/ 1211770 w 1495234"/>
                <a:gd name="connsiteY1" fmla="*/ 348234 h 1275207"/>
                <a:gd name="connsiteX2" fmla="*/ 1479995 w 1495234"/>
                <a:gd name="connsiteY2" fmla="*/ 291084 h 1275207"/>
                <a:gd name="connsiteX3" fmla="*/ 1479995 w 1495234"/>
                <a:gd name="connsiteY3" fmla="*/ 277368 h 1275207"/>
                <a:gd name="connsiteX4" fmla="*/ 1145477 w 1495234"/>
                <a:gd name="connsiteY4" fmla="*/ 0 h 1275207"/>
                <a:gd name="connsiteX5" fmla="*/ 388905 w 1495234"/>
                <a:gd name="connsiteY5" fmla="*/ 0 h 1275207"/>
                <a:gd name="connsiteX6" fmla="*/ 54197 w 1495234"/>
                <a:gd name="connsiteY6" fmla="*/ 301561 h 1275207"/>
                <a:gd name="connsiteX7" fmla="*/ 54197 w 1495234"/>
                <a:gd name="connsiteY7" fmla="*/ 443294 h 1275207"/>
                <a:gd name="connsiteX8" fmla="*/ 388905 w 1495234"/>
                <a:gd name="connsiteY8" fmla="*/ 744665 h 1275207"/>
                <a:gd name="connsiteX9" fmla="*/ 1214818 w 1495234"/>
                <a:gd name="connsiteY9" fmla="*/ 744665 h 1275207"/>
                <a:gd name="connsiteX10" fmla="*/ 1214818 w 1495234"/>
                <a:gd name="connsiteY10" fmla="*/ 1037177 h 1275207"/>
                <a:gd name="connsiteX11" fmla="*/ 277177 w 1495234"/>
                <a:gd name="connsiteY11" fmla="*/ 1037177 h 1275207"/>
                <a:gd name="connsiteX12" fmla="*/ 277177 w 1495234"/>
                <a:gd name="connsiteY12" fmla="*/ 902875 h 1275207"/>
                <a:gd name="connsiteX13" fmla="*/ 0 w 1495234"/>
                <a:gd name="connsiteY13" fmla="*/ 954214 h 1275207"/>
                <a:gd name="connsiteX14" fmla="*/ 0 w 1495234"/>
                <a:gd name="connsiteY14" fmla="*/ 973836 h 1275207"/>
                <a:gd name="connsiteX15" fmla="*/ 334518 w 1495234"/>
                <a:gd name="connsiteY15" fmla="*/ 1275207 h 1275207"/>
                <a:gd name="connsiteX16" fmla="*/ 1163669 w 1495234"/>
                <a:gd name="connsiteY16" fmla="*/ 1275207 h 1275207"/>
                <a:gd name="connsiteX17" fmla="*/ 1495234 w 1495234"/>
                <a:gd name="connsiteY17" fmla="*/ 973836 h 1275207"/>
                <a:gd name="connsiteX18" fmla="*/ 1495234 w 1495234"/>
                <a:gd name="connsiteY18" fmla="*/ 798957 h 1275207"/>
                <a:gd name="connsiteX19" fmla="*/ 1163669 w 1495234"/>
                <a:gd name="connsiteY19" fmla="*/ 497586 h 1275207"/>
                <a:gd name="connsiteX20" fmla="*/ 334518 w 1495234"/>
                <a:gd name="connsiteY20" fmla="*/ 497586 h 1275207"/>
                <a:gd name="connsiteX21" fmla="*/ 334518 w 1495234"/>
                <a:gd name="connsiteY21" fmla="*/ 229076 h 1275207"/>
                <a:gd name="connsiteX22" fmla="*/ 1211770 w 1495234"/>
                <a:gd name="connsiteY22" fmla="*/ 229076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95234" h="1275207">
                  <a:moveTo>
                    <a:pt x="1211770" y="229076"/>
                  </a:moveTo>
                  <a:lnTo>
                    <a:pt x="1211770" y="348234"/>
                  </a:lnTo>
                  <a:lnTo>
                    <a:pt x="1479995" y="291084"/>
                  </a:lnTo>
                  <a:lnTo>
                    <a:pt x="1479995" y="277368"/>
                  </a:lnTo>
                  <a:cubicBezTo>
                    <a:pt x="1479995" y="54388"/>
                    <a:pt x="1380649" y="0"/>
                    <a:pt x="1145477" y="0"/>
                  </a:cubicBezTo>
                  <a:lnTo>
                    <a:pt x="388905" y="0"/>
                  </a:lnTo>
                  <a:cubicBezTo>
                    <a:pt x="138684" y="0"/>
                    <a:pt x="54197" y="60388"/>
                    <a:pt x="54197" y="301561"/>
                  </a:cubicBezTo>
                  <a:lnTo>
                    <a:pt x="54197" y="443294"/>
                  </a:lnTo>
                  <a:cubicBezTo>
                    <a:pt x="54197" y="684467"/>
                    <a:pt x="138684" y="744665"/>
                    <a:pt x="388905" y="744665"/>
                  </a:cubicBezTo>
                  <a:lnTo>
                    <a:pt x="1214818" y="744665"/>
                  </a:lnTo>
                  <a:lnTo>
                    <a:pt x="1214818" y="1037177"/>
                  </a:lnTo>
                  <a:lnTo>
                    <a:pt x="277177" y="1037177"/>
                  </a:lnTo>
                  <a:lnTo>
                    <a:pt x="277177" y="902875"/>
                  </a:lnTo>
                  <a:lnTo>
                    <a:pt x="0" y="954214"/>
                  </a:lnTo>
                  <a:lnTo>
                    <a:pt x="0" y="973836"/>
                  </a:lnTo>
                  <a:cubicBezTo>
                    <a:pt x="0" y="1212056"/>
                    <a:pt x="81343" y="1275207"/>
                    <a:pt x="334518" y="1275207"/>
                  </a:cubicBezTo>
                  <a:lnTo>
                    <a:pt x="1163669" y="1275207"/>
                  </a:lnTo>
                  <a:cubicBezTo>
                    <a:pt x="1416844" y="1275207"/>
                    <a:pt x="1495234" y="1212056"/>
                    <a:pt x="1495234" y="973836"/>
                  </a:cubicBezTo>
                  <a:lnTo>
                    <a:pt x="1495234" y="798957"/>
                  </a:lnTo>
                  <a:cubicBezTo>
                    <a:pt x="1495234" y="557784"/>
                    <a:pt x="1416939" y="497586"/>
                    <a:pt x="1163669" y="497586"/>
                  </a:cubicBezTo>
                  <a:lnTo>
                    <a:pt x="334518" y="497586"/>
                  </a:lnTo>
                  <a:lnTo>
                    <a:pt x="334518" y="229076"/>
                  </a:lnTo>
                  <a:lnTo>
                    <a:pt x="1211770" y="229076"/>
                  </a:lnTo>
                  <a:close/>
                </a:path>
              </a:pathLst>
            </a:custGeom>
            <a:grpFill/>
            <a:ln w="9525" cap="flat">
              <a:noFill/>
              <a:prstDash val="solid"/>
              <a:miter/>
            </a:ln>
          </p:spPr>
          <p:txBody>
            <a:bodyPr lIns="0" tIns="0" rIns="0" bIns="0" rtlCol="0" anchor="ctr"/>
            <a:lstStyle/>
            <a:p>
              <a:endParaRPr lang="de-DE" sz="100"/>
            </a:p>
          </p:txBody>
        </p:sp>
        <p:sp>
          <p:nvSpPr>
            <p:cNvPr id="71" name="&amp;">
              <a:extLst>
                <a:ext uri="{FF2B5EF4-FFF2-40B4-BE49-F238E27FC236}">
                  <a16:creationId xmlns:a16="http://schemas.microsoft.com/office/drawing/2014/main" id="{946B3D5D-7E43-44D1-BB58-AEDC3185ABB0}"/>
                </a:ext>
              </a:extLst>
            </p:cNvPr>
            <p:cNvSpPr/>
            <p:nvPr/>
          </p:nvSpPr>
          <p:spPr bwMode="gray">
            <a:xfrm>
              <a:off x="9995063" y="1619247"/>
              <a:ext cx="2104259" cy="1555528"/>
            </a:xfrm>
            <a:custGeom>
              <a:avLst/>
              <a:gdLst>
                <a:gd name="connsiteX0" fmla="*/ 304514 w 2104263"/>
                <a:gd name="connsiteY0" fmla="*/ 1284161 h 1555527"/>
                <a:gd name="connsiteX1" fmla="*/ 304514 w 2104263"/>
                <a:gd name="connsiteY1" fmla="*/ 1018985 h 1555527"/>
                <a:gd name="connsiteX2" fmla="*/ 702373 w 2104263"/>
                <a:gd name="connsiteY2" fmla="*/ 771811 h 1555527"/>
                <a:gd name="connsiteX3" fmla="*/ 1169575 w 2104263"/>
                <a:gd name="connsiteY3" fmla="*/ 1160717 h 1555527"/>
                <a:gd name="connsiteX4" fmla="*/ 1024890 w 2104263"/>
                <a:gd name="connsiteY4" fmla="*/ 1284256 h 1555527"/>
                <a:gd name="connsiteX5" fmla="*/ 304514 w 2104263"/>
                <a:gd name="connsiteY5" fmla="*/ 1284256 h 1555527"/>
                <a:gd name="connsiteX6" fmla="*/ 388811 w 2104263"/>
                <a:gd name="connsiteY6" fmla="*/ 1555528 h 1555527"/>
                <a:gd name="connsiteX7" fmla="*/ 943547 w 2104263"/>
                <a:gd name="connsiteY7" fmla="*/ 1555528 h 1555527"/>
                <a:gd name="connsiteX8" fmla="*/ 1235964 w 2104263"/>
                <a:gd name="connsiteY8" fmla="*/ 1461992 h 1555527"/>
                <a:gd name="connsiteX9" fmla="*/ 1374649 w 2104263"/>
                <a:gd name="connsiteY9" fmla="*/ 1338453 h 1555527"/>
                <a:gd name="connsiteX10" fmla="*/ 1630870 w 2104263"/>
                <a:gd name="connsiteY10" fmla="*/ 1555528 h 1555527"/>
                <a:gd name="connsiteX11" fmla="*/ 2104264 w 2104263"/>
                <a:gd name="connsiteY11" fmla="*/ 1555528 h 1555527"/>
                <a:gd name="connsiteX12" fmla="*/ 1612869 w 2104263"/>
                <a:gd name="connsiteY12" fmla="*/ 1142429 h 1555527"/>
                <a:gd name="connsiteX13" fmla="*/ 1971580 w 2104263"/>
                <a:gd name="connsiteY13" fmla="*/ 844106 h 1555527"/>
                <a:gd name="connsiteX14" fmla="*/ 1766507 w 2104263"/>
                <a:gd name="connsiteY14" fmla="*/ 666274 h 1555527"/>
                <a:gd name="connsiteX15" fmla="*/ 1404747 w 2104263"/>
                <a:gd name="connsiteY15" fmla="*/ 967645 h 1555527"/>
                <a:gd name="connsiteX16" fmla="*/ 672180 w 2104263"/>
                <a:gd name="connsiteY16" fmla="*/ 358712 h 1555527"/>
                <a:gd name="connsiteX17" fmla="*/ 672180 w 2104263"/>
                <a:gd name="connsiteY17" fmla="*/ 247174 h 1555527"/>
                <a:gd name="connsiteX18" fmla="*/ 1181767 w 2104263"/>
                <a:gd name="connsiteY18" fmla="*/ 247174 h 1555527"/>
                <a:gd name="connsiteX19" fmla="*/ 1181767 w 2104263"/>
                <a:gd name="connsiteY19" fmla="*/ 455295 h 1555527"/>
                <a:gd name="connsiteX20" fmla="*/ 1461992 w 2104263"/>
                <a:gd name="connsiteY20" fmla="*/ 407099 h 1555527"/>
                <a:gd name="connsiteX21" fmla="*/ 1461992 w 2104263"/>
                <a:gd name="connsiteY21" fmla="*/ 313563 h 1555527"/>
                <a:gd name="connsiteX22" fmla="*/ 1076134 w 2104263"/>
                <a:gd name="connsiteY22" fmla="*/ 0 h 1555527"/>
                <a:gd name="connsiteX23" fmla="*/ 762763 w 2104263"/>
                <a:gd name="connsiteY23" fmla="*/ 0 h 1555527"/>
                <a:gd name="connsiteX24" fmla="*/ 376905 w 2104263"/>
                <a:gd name="connsiteY24" fmla="*/ 283369 h 1555527"/>
                <a:gd name="connsiteX25" fmla="*/ 376905 w 2104263"/>
                <a:gd name="connsiteY25" fmla="*/ 370713 h 1555527"/>
                <a:gd name="connsiteX26" fmla="*/ 509588 w 2104263"/>
                <a:gd name="connsiteY26" fmla="*/ 605885 h 1555527"/>
                <a:gd name="connsiteX27" fmla="*/ 192881 w 2104263"/>
                <a:gd name="connsiteY27" fmla="*/ 795909 h 1555527"/>
                <a:gd name="connsiteX28" fmla="*/ 0 w 2104263"/>
                <a:gd name="connsiteY28" fmla="*/ 1085279 h 1555527"/>
                <a:gd name="connsiteX29" fmla="*/ 0 w 2104263"/>
                <a:gd name="connsiteY29" fmla="*/ 1187768 h 1555527"/>
                <a:gd name="connsiteX30" fmla="*/ 388811 w 2104263"/>
                <a:gd name="connsiteY30" fmla="*/ 1555528 h 155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104263" h="1555527">
                  <a:moveTo>
                    <a:pt x="304514" y="1284161"/>
                  </a:moveTo>
                  <a:lnTo>
                    <a:pt x="304514" y="1018985"/>
                  </a:lnTo>
                  <a:lnTo>
                    <a:pt x="702373" y="771811"/>
                  </a:lnTo>
                  <a:lnTo>
                    <a:pt x="1169575" y="1160717"/>
                  </a:lnTo>
                  <a:lnTo>
                    <a:pt x="1024890" y="1284256"/>
                  </a:lnTo>
                  <a:lnTo>
                    <a:pt x="304514" y="1284256"/>
                  </a:lnTo>
                  <a:close/>
                  <a:moveTo>
                    <a:pt x="388811" y="1555528"/>
                  </a:moveTo>
                  <a:lnTo>
                    <a:pt x="943547" y="1555528"/>
                  </a:lnTo>
                  <a:cubicBezTo>
                    <a:pt x="1073087" y="1555528"/>
                    <a:pt x="1136428" y="1549527"/>
                    <a:pt x="1235964" y="1461992"/>
                  </a:cubicBezTo>
                  <a:lnTo>
                    <a:pt x="1374649" y="1338453"/>
                  </a:lnTo>
                  <a:lnTo>
                    <a:pt x="1630870" y="1555528"/>
                  </a:lnTo>
                  <a:lnTo>
                    <a:pt x="2104264" y="1555528"/>
                  </a:lnTo>
                  <a:lnTo>
                    <a:pt x="1612869" y="1142429"/>
                  </a:lnTo>
                  <a:lnTo>
                    <a:pt x="1971580" y="844106"/>
                  </a:lnTo>
                  <a:lnTo>
                    <a:pt x="1766507" y="666274"/>
                  </a:lnTo>
                  <a:lnTo>
                    <a:pt x="1404747" y="967645"/>
                  </a:lnTo>
                  <a:lnTo>
                    <a:pt x="672180" y="358712"/>
                  </a:lnTo>
                  <a:lnTo>
                    <a:pt x="672180" y="247174"/>
                  </a:lnTo>
                  <a:lnTo>
                    <a:pt x="1181767" y="247174"/>
                  </a:lnTo>
                  <a:lnTo>
                    <a:pt x="1181767" y="455295"/>
                  </a:lnTo>
                  <a:lnTo>
                    <a:pt x="1461992" y="407099"/>
                  </a:lnTo>
                  <a:lnTo>
                    <a:pt x="1461992" y="313563"/>
                  </a:lnTo>
                  <a:cubicBezTo>
                    <a:pt x="1461992" y="60389"/>
                    <a:pt x="1356456" y="0"/>
                    <a:pt x="1076134" y="0"/>
                  </a:cubicBezTo>
                  <a:lnTo>
                    <a:pt x="762763" y="0"/>
                  </a:lnTo>
                  <a:cubicBezTo>
                    <a:pt x="497395" y="0"/>
                    <a:pt x="376905" y="60389"/>
                    <a:pt x="376905" y="283369"/>
                  </a:cubicBezTo>
                  <a:lnTo>
                    <a:pt x="376905" y="370713"/>
                  </a:lnTo>
                  <a:cubicBezTo>
                    <a:pt x="376905" y="461200"/>
                    <a:pt x="419100" y="530543"/>
                    <a:pt x="509588" y="605885"/>
                  </a:cubicBezTo>
                  <a:lnTo>
                    <a:pt x="192881" y="795909"/>
                  </a:lnTo>
                  <a:cubicBezTo>
                    <a:pt x="57341" y="877253"/>
                    <a:pt x="0" y="925449"/>
                    <a:pt x="0" y="1085279"/>
                  </a:cubicBezTo>
                  <a:lnTo>
                    <a:pt x="0" y="1187768"/>
                  </a:lnTo>
                  <a:cubicBezTo>
                    <a:pt x="0" y="1480185"/>
                    <a:pt x="96488" y="1555528"/>
                    <a:pt x="388811" y="1555528"/>
                  </a:cubicBezTo>
                </a:path>
              </a:pathLst>
            </a:custGeom>
            <a:grpFill/>
            <a:ln w="9525" cap="flat">
              <a:noFill/>
              <a:prstDash val="solid"/>
              <a:miter/>
            </a:ln>
          </p:spPr>
          <p:txBody>
            <a:bodyPr lIns="0" tIns="0" rIns="0" bIns="0" rtlCol="0" anchor="ctr"/>
            <a:lstStyle/>
            <a:p>
              <a:endParaRPr lang="de-DE" sz="100"/>
            </a:p>
          </p:txBody>
        </p:sp>
        <p:sp>
          <p:nvSpPr>
            <p:cNvPr id="72" name="s">
              <a:extLst>
                <a:ext uri="{FF2B5EF4-FFF2-40B4-BE49-F238E27FC236}">
                  <a16:creationId xmlns:a16="http://schemas.microsoft.com/office/drawing/2014/main" id="{B82E555D-4CF6-4990-95FA-66EB6A9A5E44}"/>
                </a:ext>
              </a:extLst>
            </p:cNvPr>
            <p:cNvSpPr/>
            <p:nvPr/>
          </p:nvSpPr>
          <p:spPr bwMode="gray">
            <a:xfrm>
              <a:off x="95247" y="3686081"/>
              <a:ext cx="1739650" cy="1555528"/>
            </a:xfrm>
            <a:custGeom>
              <a:avLst/>
              <a:gdLst>
                <a:gd name="connsiteX0" fmla="*/ 1398842 w 1739645"/>
                <a:gd name="connsiteY0" fmla="*/ 271367 h 1555527"/>
                <a:gd name="connsiteX1" fmla="*/ 1398842 w 1739645"/>
                <a:gd name="connsiteY1" fmla="*/ 439865 h 1555527"/>
                <a:gd name="connsiteX2" fmla="*/ 1718405 w 1739645"/>
                <a:gd name="connsiteY2" fmla="*/ 364522 h 1555527"/>
                <a:gd name="connsiteX3" fmla="*/ 1718405 w 1739645"/>
                <a:gd name="connsiteY3" fmla="*/ 340709 h 1555527"/>
                <a:gd name="connsiteX4" fmla="*/ 1332548 w 1739645"/>
                <a:gd name="connsiteY4" fmla="*/ 0 h 1555527"/>
                <a:gd name="connsiteX5" fmla="*/ 449199 w 1739645"/>
                <a:gd name="connsiteY5" fmla="*/ 0 h 1555527"/>
                <a:gd name="connsiteX6" fmla="*/ 63341 w 1739645"/>
                <a:gd name="connsiteY6" fmla="*/ 367855 h 1555527"/>
                <a:gd name="connsiteX7" fmla="*/ 63341 w 1739645"/>
                <a:gd name="connsiteY7" fmla="*/ 539496 h 1555527"/>
                <a:gd name="connsiteX8" fmla="*/ 449199 w 1739645"/>
                <a:gd name="connsiteY8" fmla="*/ 907351 h 1555527"/>
                <a:gd name="connsiteX9" fmla="*/ 1419987 w 1739645"/>
                <a:gd name="connsiteY9" fmla="*/ 907351 h 1555527"/>
                <a:gd name="connsiteX10" fmla="*/ 1419987 w 1739645"/>
                <a:gd name="connsiteY10" fmla="*/ 1263110 h 1555527"/>
                <a:gd name="connsiteX11" fmla="*/ 319754 w 1739645"/>
                <a:gd name="connsiteY11" fmla="*/ 1263110 h 1555527"/>
                <a:gd name="connsiteX12" fmla="*/ 319754 w 1739645"/>
                <a:gd name="connsiteY12" fmla="*/ 1095661 h 1555527"/>
                <a:gd name="connsiteX13" fmla="*/ 0 w 1739645"/>
                <a:gd name="connsiteY13" fmla="*/ 1162050 h 1555527"/>
                <a:gd name="connsiteX14" fmla="*/ 0 w 1739645"/>
                <a:gd name="connsiteY14" fmla="*/ 1187768 h 1555527"/>
                <a:gd name="connsiteX15" fmla="*/ 388906 w 1739645"/>
                <a:gd name="connsiteY15" fmla="*/ 1555528 h 1555527"/>
                <a:gd name="connsiteX16" fmla="*/ 1350740 w 1739645"/>
                <a:gd name="connsiteY16" fmla="*/ 1555528 h 1555527"/>
                <a:gd name="connsiteX17" fmla="*/ 1739646 w 1739645"/>
                <a:gd name="connsiteY17" fmla="*/ 1187768 h 1555527"/>
                <a:gd name="connsiteX18" fmla="*/ 1739646 w 1739645"/>
                <a:gd name="connsiteY18" fmla="*/ 973741 h 1555527"/>
                <a:gd name="connsiteX19" fmla="*/ 1350740 w 1739645"/>
                <a:gd name="connsiteY19" fmla="*/ 605885 h 1555527"/>
                <a:gd name="connsiteX20" fmla="*/ 379857 w 1739645"/>
                <a:gd name="connsiteY20" fmla="*/ 605885 h 1555527"/>
                <a:gd name="connsiteX21" fmla="*/ 379857 w 1739645"/>
                <a:gd name="connsiteY21" fmla="*/ 271367 h 1555527"/>
                <a:gd name="connsiteX22" fmla="*/ 1398842 w 1739645"/>
                <a:gd name="connsiteY22" fmla="*/ 271367 h 155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39645" h="1555527">
                  <a:moveTo>
                    <a:pt x="1398842" y="271367"/>
                  </a:moveTo>
                  <a:lnTo>
                    <a:pt x="1398842" y="439865"/>
                  </a:lnTo>
                  <a:lnTo>
                    <a:pt x="1718405" y="364522"/>
                  </a:lnTo>
                  <a:lnTo>
                    <a:pt x="1718405" y="340709"/>
                  </a:lnTo>
                  <a:cubicBezTo>
                    <a:pt x="1718405" y="72295"/>
                    <a:pt x="1609916" y="0"/>
                    <a:pt x="1332548" y="0"/>
                  </a:cubicBezTo>
                  <a:lnTo>
                    <a:pt x="449199" y="0"/>
                  </a:lnTo>
                  <a:cubicBezTo>
                    <a:pt x="156781" y="0"/>
                    <a:pt x="63341" y="75343"/>
                    <a:pt x="63341" y="367855"/>
                  </a:cubicBezTo>
                  <a:lnTo>
                    <a:pt x="63341" y="539496"/>
                  </a:lnTo>
                  <a:cubicBezTo>
                    <a:pt x="63341" y="832009"/>
                    <a:pt x="156877" y="907351"/>
                    <a:pt x="449199" y="907351"/>
                  </a:cubicBezTo>
                  <a:lnTo>
                    <a:pt x="1419987" y="907351"/>
                  </a:lnTo>
                  <a:lnTo>
                    <a:pt x="1419987" y="1263110"/>
                  </a:lnTo>
                  <a:lnTo>
                    <a:pt x="319754" y="1263110"/>
                  </a:lnTo>
                  <a:lnTo>
                    <a:pt x="319754" y="1095661"/>
                  </a:lnTo>
                  <a:lnTo>
                    <a:pt x="0" y="1162050"/>
                  </a:lnTo>
                  <a:lnTo>
                    <a:pt x="0" y="1187768"/>
                  </a:lnTo>
                  <a:cubicBezTo>
                    <a:pt x="0" y="1480185"/>
                    <a:pt x="96488" y="1555528"/>
                    <a:pt x="388906" y="1555528"/>
                  </a:cubicBezTo>
                  <a:lnTo>
                    <a:pt x="1350740" y="1555528"/>
                  </a:lnTo>
                  <a:cubicBezTo>
                    <a:pt x="1643158" y="1555528"/>
                    <a:pt x="1739646" y="1480185"/>
                    <a:pt x="1739646" y="1187768"/>
                  </a:cubicBezTo>
                  <a:lnTo>
                    <a:pt x="1739646" y="973741"/>
                  </a:lnTo>
                  <a:cubicBezTo>
                    <a:pt x="1739646" y="681228"/>
                    <a:pt x="1643158" y="605885"/>
                    <a:pt x="1350740" y="605885"/>
                  </a:cubicBezTo>
                  <a:lnTo>
                    <a:pt x="379857" y="605885"/>
                  </a:lnTo>
                  <a:lnTo>
                    <a:pt x="379857" y="271367"/>
                  </a:lnTo>
                  <a:lnTo>
                    <a:pt x="1398842" y="271367"/>
                  </a:lnTo>
                  <a:close/>
                </a:path>
              </a:pathLst>
            </a:custGeom>
            <a:grpFill/>
            <a:ln w="9525" cap="flat">
              <a:noFill/>
              <a:prstDash val="solid"/>
              <a:miter/>
            </a:ln>
          </p:spPr>
          <p:txBody>
            <a:bodyPr lIns="0" tIns="0" rIns="0" bIns="0" rtlCol="0" anchor="ctr"/>
            <a:lstStyle/>
            <a:p>
              <a:endParaRPr lang="de-DE" sz="100"/>
            </a:p>
          </p:txBody>
        </p:sp>
        <p:sp>
          <p:nvSpPr>
            <p:cNvPr id="73" name="o">
              <a:extLst>
                <a:ext uri="{FF2B5EF4-FFF2-40B4-BE49-F238E27FC236}">
                  <a16:creationId xmlns:a16="http://schemas.microsoft.com/office/drawing/2014/main" id="{BDDC15AB-4E89-4BEE-A155-ED8ED9C6AF60}"/>
                </a:ext>
              </a:extLst>
            </p:cNvPr>
            <p:cNvSpPr/>
            <p:nvPr/>
          </p:nvSpPr>
          <p:spPr bwMode="gray">
            <a:xfrm>
              <a:off x="2206937" y="3966587"/>
              <a:ext cx="1682019" cy="1275212"/>
            </a:xfrm>
            <a:custGeom>
              <a:avLst/>
              <a:gdLst>
                <a:gd name="connsiteX0" fmla="*/ 326041 w 1682019"/>
                <a:gd name="connsiteY0" fmla="*/ 234982 h 1275207"/>
                <a:gd name="connsiteX1" fmla="*/ 1374648 w 1682019"/>
                <a:gd name="connsiteY1" fmla="*/ 234982 h 1275207"/>
                <a:gd name="connsiteX2" fmla="*/ 1374648 w 1682019"/>
                <a:gd name="connsiteY2" fmla="*/ 1030891 h 1275207"/>
                <a:gd name="connsiteX3" fmla="*/ 326041 w 1682019"/>
                <a:gd name="connsiteY3" fmla="*/ 1030891 h 1275207"/>
                <a:gd name="connsiteX4" fmla="*/ 326041 w 1682019"/>
                <a:gd name="connsiteY4" fmla="*/ 234982 h 1275207"/>
                <a:gd name="connsiteX5" fmla="*/ 0 w 1682019"/>
                <a:gd name="connsiteY5" fmla="*/ 301371 h 1275207"/>
                <a:gd name="connsiteX6" fmla="*/ 0 w 1682019"/>
                <a:gd name="connsiteY6" fmla="*/ 973646 h 1275207"/>
                <a:gd name="connsiteX7" fmla="*/ 338233 w 1682019"/>
                <a:gd name="connsiteY7" fmla="*/ 1275207 h 1275207"/>
                <a:gd name="connsiteX8" fmla="*/ 1343787 w 1682019"/>
                <a:gd name="connsiteY8" fmla="*/ 1275207 h 1275207"/>
                <a:gd name="connsiteX9" fmla="*/ 1682020 w 1682019"/>
                <a:gd name="connsiteY9" fmla="*/ 973646 h 1275207"/>
                <a:gd name="connsiteX10" fmla="*/ 1682020 w 1682019"/>
                <a:gd name="connsiteY10" fmla="*/ 301371 h 1275207"/>
                <a:gd name="connsiteX11" fmla="*/ 1343787 w 1682019"/>
                <a:gd name="connsiteY11" fmla="*/ 0 h 1275207"/>
                <a:gd name="connsiteX12" fmla="*/ 338233 w 1682019"/>
                <a:gd name="connsiteY12" fmla="*/ 0 h 1275207"/>
                <a:gd name="connsiteX13" fmla="*/ 0 w 1682019"/>
                <a:gd name="connsiteY13" fmla="*/ 301371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82019" h="1275207">
                  <a:moveTo>
                    <a:pt x="326041" y="234982"/>
                  </a:moveTo>
                  <a:lnTo>
                    <a:pt x="1374648" y="234982"/>
                  </a:lnTo>
                  <a:lnTo>
                    <a:pt x="1374648" y="1030891"/>
                  </a:lnTo>
                  <a:lnTo>
                    <a:pt x="326041" y="1030891"/>
                  </a:lnTo>
                  <a:lnTo>
                    <a:pt x="326041" y="234982"/>
                  </a:lnTo>
                  <a:close/>
                  <a:moveTo>
                    <a:pt x="0" y="301371"/>
                  </a:moveTo>
                  <a:lnTo>
                    <a:pt x="0" y="973646"/>
                  </a:lnTo>
                  <a:cubicBezTo>
                    <a:pt x="0" y="1214819"/>
                    <a:pt x="79915" y="1275207"/>
                    <a:pt x="338233" y="1275207"/>
                  </a:cubicBezTo>
                  <a:lnTo>
                    <a:pt x="1343787" y="1275207"/>
                  </a:lnTo>
                  <a:cubicBezTo>
                    <a:pt x="1598962" y="1275207"/>
                    <a:pt x="1682020" y="1214819"/>
                    <a:pt x="1682020" y="973646"/>
                  </a:cubicBezTo>
                  <a:lnTo>
                    <a:pt x="1682020" y="301371"/>
                  </a:lnTo>
                  <a:cubicBezTo>
                    <a:pt x="1682020" y="57150"/>
                    <a:pt x="1598867" y="0"/>
                    <a:pt x="1343787" y="0"/>
                  </a:cubicBezTo>
                  <a:lnTo>
                    <a:pt x="338233" y="0"/>
                  </a:lnTo>
                  <a:cubicBezTo>
                    <a:pt x="83153" y="0"/>
                    <a:pt x="0" y="57150"/>
                    <a:pt x="0" y="301371"/>
                  </a:cubicBezTo>
                </a:path>
              </a:pathLst>
            </a:custGeom>
            <a:grpFill/>
            <a:ln w="9525" cap="flat">
              <a:noFill/>
              <a:prstDash val="solid"/>
              <a:miter/>
            </a:ln>
          </p:spPr>
          <p:txBody>
            <a:bodyPr lIns="0" tIns="0" rIns="0" bIns="0" rtlCol="0" anchor="ctr"/>
            <a:lstStyle/>
            <a:p>
              <a:endParaRPr lang="de-DE" sz="100"/>
            </a:p>
          </p:txBody>
        </p:sp>
        <p:sp>
          <p:nvSpPr>
            <p:cNvPr id="74" name="m">
              <a:extLst>
                <a:ext uri="{FF2B5EF4-FFF2-40B4-BE49-F238E27FC236}">
                  <a16:creationId xmlns:a16="http://schemas.microsoft.com/office/drawing/2014/main" id="{828C6DBC-73B3-425B-9514-0C5D55EB0836}"/>
                </a:ext>
              </a:extLst>
            </p:cNvPr>
            <p:cNvSpPr/>
            <p:nvPr/>
          </p:nvSpPr>
          <p:spPr bwMode="gray">
            <a:xfrm>
              <a:off x="4290154" y="3966498"/>
              <a:ext cx="1815752" cy="1275212"/>
            </a:xfrm>
            <a:custGeom>
              <a:avLst/>
              <a:gdLst>
                <a:gd name="connsiteX0" fmla="*/ 1560576 w 1815750"/>
                <a:gd name="connsiteY0" fmla="*/ 0 h 1275207"/>
                <a:gd name="connsiteX1" fmla="*/ 927163 w 1815750"/>
                <a:gd name="connsiteY1" fmla="*/ 756571 h 1275207"/>
                <a:gd name="connsiteX2" fmla="*/ 290703 w 1815750"/>
                <a:gd name="connsiteY2" fmla="*/ 0 h 1275207"/>
                <a:gd name="connsiteX3" fmla="*/ 0 w 1815750"/>
                <a:gd name="connsiteY3" fmla="*/ 0 h 1275207"/>
                <a:gd name="connsiteX4" fmla="*/ 0 w 1815750"/>
                <a:gd name="connsiteY4" fmla="*/ 1275207 h 1275207"/>
                <a:gd name="connsiteX5" fmla="*/ 290703 w 1815750"/>
                <a:gd name="connsiteY5" fmla="*/ 1275207 h 1275207"/>
                <a:gd name="connsiteX6" fmla="*/ 290703 w 1815750"/>
                <a:gd name="connsiteY6" fmla="*/ 419100 h 1275207"/>
                <a:gd name="connsiteX7" fmla="*/ 877919 w 1815750"/>
                <a:gd name="connsiteY7" fmla="*/ 1121474 h 1275207"/>
                <a:gd name="connsiteX8" fmla="*/ 939356 w 1815750"/>
                <a:gd name="connsiteY8" fmla="*/ 1121474 h 1275207"/>
                <a:gd name="connsiteX9" fmla="*/ 1520571 w 1815750"/>
                <a:gd name="connsiteY9" fmla="*/ 397859 h 1275207"/>
                <a:gd name="connsiteX10" fmla="*/ 1520571 w 1815750"/>
                <a:gd name="connsiteY10" fmla="*/ 1275207 h 1275207"/>
                <a:gd name="connsiteX11" fmla="*/ 1815751 w 1815750"/>
                <a:gd name="connsiteY11" fmla="*/ 1275207 h 1275207"/>
                <a:gd name="connsiteX12" fmla="*/ 1815751 w 1815750"/>
                <a:gd name="connsiteY12" fmla="*/ 0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5750" h="1275207">
                  <a:moveTo>
                    <a:pt x="1560576" y="0"/>
                  </a:moveTo>
                  <a:lnTo>
                    <a:pt x="927163" y="756571"/>
                  </a:lnTo>
                  <a:lnTo>
                    <a:pt x="290703" y="0"/>
                  </a:lnTo>
                  <a:lnTo>
                    <a:pt x="0" y="0"/>
                  </a:lnTo>
                  <a:lnTo>
                    <a:pt x="0" y="1275207"/>
                  </a:lnTo>
                  <a:lnTo>
                    <a:pt x="290703" y="1275207"/>
                  </a:lnTo>
                  <a:lnTo>
                    <a:pt x="290703" y="419100"/>
                  </a:lnTo>
                  <a:lnTo>
                    <a:pt x="877919" y="1121474"/>
                  </a:lnTo>
                  <a:lnTo>
                    <a:pt x="939356" y="1121474"/>
                  </a:lnTo>
                  <a:lnTo>
                    <a:pt x="1520571" y="397859"/>
                  </a:lnTo>
                  <a:lnTo>
                    <a:pt x="1520571" y="1275207"/>
                  </a:lnTo>
                  <a:lnTo>
                    <a:pt x="1815751" y="1275207"/>
                  </a:lnTo>
                  <a:lnTo>
                    <a:pt x="1815751" y="0"/>
                  </a:lnTo>
                  <a:close/>
                </a:path>
              </a:pathLst>
            </a:custGeom>
            <a:grpFill/>
            <a:ln w="9525" cap="flat">
              <a:noFill/>
              <a:prstDash val="solid"/>
              <a:miter/>
            </a:ln>
          </p:spPr>
          <p:txBody>
            <a:bodyPr lIns="0" tIns="0" rIns="0" bIns="0" rtlCol="0" anchor="ctr"/>
            <a:lstStyle/>
            <a:p>
              <a:endParaRPr lang="de-DE" sz="100"/>
            </a:p>
          </p:txBody>
        </p:sp>
        <p:sp>
          <p:nvSpPr>
            <p:cNvPr id="75" name="m">
              <a:extLst>
                <a:ext uri="{FF2B5EF4-FFF2-40B4-BE49-F238E27FC236}">
                  <a16:creationId xmlns:a16="http://schemas.microsoft.com/office/drawing/2014/main" id="{B7CC2523-6F91-47B1-AA9F-0E1C6190CAF4}"/>
                </a:ext>
              </a:extLst>
            </p:cNvPr>
            <p:cNvSpPr/>
            <p:nvPr/>
          </p:nvSpPr>
          <p:spPr bwMode="gray">
            <a:xfrm>
              <a:off x="6535096" y="3966498"/>
              <a:ext cx="1815752" cy="1275212"/>
            </a:xfrm>
            <a:custGeom>
              <a:avLst/>
              <a:gdLst>
                <a:gd name="connsiteX0" fmla="*/ 1560672 w 1815750"/>
                <a:gd name="connsiteY0" fmla="*/ 0 h 1275207"/>
                <a:gd name="connsiteX1" fmla="*/ 927164 w 1815750"/>
                <a:gd name="connsiteY1" fmla="*/ 756571 h 1275207"/>
                <a:gd name="connsiteX2" fmla="*/ 290799 w 1815750"/>
                <a:gd name="connsiteY2" fmla="*/ 0 h 1275207"/>
                <a:gd name="connsiteX3" fmla="*/ 0 w 1815750"/>
                <a:gd name="connsiteY3" fmla="*/ 0 h 1275207"/>
                <a:gd name="connsiteX4" fmla="*/ 0 w 1815750"/>
                <a:gd name="connsiteY4" fmla="*/ 1275207 h 1275207"/>
                <a:gd name="connsiteX5" fmla="*/ 290799 w 1815750"/>
                <a:gd name="connsiteY5" fmla="*/ 1275207 h 1275207"/>
                <a:gd name="connsiteX6" fmla="*/ 290799 w 1815750"/>
                <a:gd name="connsiteY6" fmla="*/ 419100 h 1275207"/>
                <a:gd name="connsiteX7" fmla="*/ 878015 w 1815750"/>
                <a:gd name="connsiteY7" fmla="*/ 1121474 h 1275207"/>
                <a:gd name="connsiteX8" fmla="*/ 939546 w 1815750"/>
                <a:gd name="connsiteY8" fmla="*/ 1121474 h 1275207"/>
                <a:gd name="connsiteX9" fmla="*/ 1520571 w 1815750"/>
                <a:gd name="connsiteY9" fmla="*/ 397859 h 1275207"/>
                <a:gd name="connsiteX10" fmla="*/ 1520571 w 1815750"/>
                <a:gd name="connsiteY10" fmla="*/ 1275207 h 1275207"/>
                <a:gd name="connsiteX11" fmla="*/ 1815751 w 1815750"/>
                <a:gd name="connsiteY11" fmla="*/ 1275207 h 1275207"/>
                <a:gd name="connsiteX12" fmla="*/ 1815751 w 1815750"/>
                <a:gd name="connsiteY12" fmla="*/ 0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5750" h="1275207">
                  <a:moveTo>
                    <a:pt x="1560672" y="0"/>
                  </a:moveTo>
                  <a:lnTo>
                    <a:pt x="927164" y="756571"/>
                  </a:lnTo>
                  <a:lnTo>
                    <a:pt x="290799" y="0"/>
                  </a:lnTo>
                  <a:lnTo>
                    <a:pt x="0" y="0"/>
                  </a:lnTo>
                  <a:lnTo>
                    <a:pt x="0" y="1275207"/>
                  </a:lnTo>
                  <a:lnTo>
                    <a:pt x="290799" y="1275207"/>
                  </a:lnTo>
                  <a:lnTo>
                    <a:pt x="290799" y="419100"/>
                  </a:lnTo>
                  <a:lnTo>
                    <a:pt x="878015" y="1121474"/>
                  </a:lnTo>
                  <a:lnTo>
                    <a:pt x="939546" y="1121474"/>
                  </a:lnTo>
                  <a:lnTo>
                    <a:pt x="1520571" y="397859"/>
                  </a:lnTo>
                  <a:lnTo>
                    <a:pt x="1520571" y="1275207"/>
                  </a:lnTo>
                  <a:lnTo>
                    <a:pt x="1815751" y="1275207"/>
                  </a:lnTo>
                  <a:lnTo>
                    <a:pt x="1815751" y="0"/>
                  </a:lnTo>
                  <a:close/>
                </a:path>
              </a:pathLst>
            </a:custGeom>
            <a:grpFill/>
            <a:ln w="9525" cap="flat">
              <a:noFill/>
              <a:prstDash val="solid"/>
              <a:miter/>
            </a:ln>
          </p:spPr>
          <p:txBody>
            <a:bodyPr lIns="0" tIns="0" rIns="0" bIns="0" rtlCol="0" anchor="ctr"/>
            <a:lstStyle/>
            <a:p>
              <a:endParaRPr lang="de-DE" sz="100"/>
            </a:p>
          </p:txBody>
        </p:sp>
        <p:sp>
          <p:nvSpPr>
            <p:cNvPr id="76" name="e">
              <a:extLst>
                <a:ext uri="{FF2B5EF4-FFF2-40B4-BE49-F238E27FC236}">
                  <a16:creationId xmlns:a16="http://schemas.microsoft.com/office/drawing/2014/main" id="{BDB84670-E564-4EFB-8549-AE1D9B4B3137}"/>
                </a:ext>
              </a:extLst>
            </p:cNvPr>
            <p:cNvSpPr/>
            <p:nvPr/>
          </p:nvSpPr>
          <p:spPr bwMode="gray">
            <a:xfrm>
              <a:off x="8765757" y="3966498"/>
              <a:ext cx="1411313" cy="1275212"/>
            </a:xfrm>
            <a:custGeom>
              <a:avLst/>
              <a:gdLst>
                <a:gd name="connsiteX0" fmla="*/ 0 w 1411319"/>
                <a:gd name="connsiteY0" fmla="*/ 0 h 1275207"/>
                <a:gd name="connsiteX1" fmla="*/ 0 w 1411319"/>
                <a:gd name="connsiteY1" fmla="*/ 1275207 h 1275207"/>
                <a:gd name="connsiteX2" fmla="*/ 1411319 w 1411319"/>
                <a:gd name="connsiteY2" fmla="*/ 1275207 h 1275207"/>
                <a:gd name="connsiteX3" fmla="*/ 1411319 w 1411319"/>
                <a:gd name="connsiteY3" fmla="*/ 1036987 h 1275207"/>
                <a:gd name="connsiteX4" fmla="*/ 319850 w 1411319"/>
                <a:gd name="connsiteY4" fmla="*/ 1036987 h 1275207"/>
                <a:gd name="connsiteX5" fmla="*/ 319850 w 1411319"/>
                <a:gd name="connsiteY5" fmla="*/ 723424 h 1275207"/>
                <a:gd name="connsiteX6" fmla="*/ 947166 w 1411319"/>
                <a:gd name="connsiteY6" fmla="*/ 723424 h 1275207"/>
                <a:gd name="connsiteX7" fmla="*/ 947166 w 1411319"/>
                <a:gd name="connsiteY7" fmla="*/ 503396 h 1275207"/>
                <a:gd name="connsiteX8" fmla="*/ 319850 w 1411319"/>
                <a:gd name="connsiteY8" fmla="*/ 503396 h 1275207"/>
                <a:gd name="connsiteX9" fmla="*/ 319850 w 1411319"/>
                <a:gd name="connsiteY9" fmla="*/ 226219 h 1275207"/>
                <a:gd name="connsiteX10" fmla="*/ 1395984 w 1411319"/>
                <a:gd name="connsiteY10" fmla="*/ 226219 h 1275207"/>
                <a:gd name="connsiteX11" fmla="*/ 1395984 w 1411319"/>
                <a:gd name="connsiteY11" fmla="*/ 0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11319" h="1275207">
                  <a:moveTo>
                    <a:pt x="0" y="0"/>
                  </a:moveTo>
                  <a:lnTo>
                    <a:pt x="0" y="1275207"/>
                  </a:lnTo>
                  <a:lnTo>
                    <a:pt x="1411319" y="1275207"/>
                  </a:lnTo>
                  <a:lnTo>
                    <a:pt x="1411319" y="1036987"/>
                  </a:lnTo>
                  <a:lnTo>
                    <a:pt x="319850" y="1036987"/>
                  </a:lnTo>
                  <a:lnTo>
                    <a:pt x="319850" y="723424"/>
                  </a:lnTo>
                  <a:lnTo>
                    <a:pt x="947166" y="723424"/>
                  </a:lnTo>
                  <a:lnTo>
                    <a:pt x="947166" y="503396"/>
                  </a:lnTo>
                  <a:lnTo>
                    <a:pt x="319850" y="503396"/>
                  </a:lnTo>
                  <a:lnTo>
                    <a:pt x="319850" y="226219"/>
                  </a:lnTo>
                  <a:lnTo>
                    <a:pt x="1395984" y="226219"/>
                  </a:lnTo>
                  <a:lnTo>
                    <a:pt x="1395984" y="0"/>
                  </a:lnTo>
                  <a:close/>
                </a:path>
              </a:pathLst>
            </a:custGeom>
            <a:grpFill/>
            <a:ln w="9525" cap="flat">
              <a:noFill/>
              <a:prstDash val="solid"/>
              <a:miter/>
            </a:ln>
          </p:spPr>
          <p:txBody>
            <a:bodyPr lIns="0" tIns="0" rIns="0" bIns="0" rtlCol="0" anchor="ctr"/>
            <a:lstStyle/>
            <a:p>
              <a:endParaRPr lang="de-DE" sz="100"/>
            </a:p>
          </p:txBody>
        </p:sp>
        <p:sp>
          <p:nvSpPr>
            <p:cNvPr id="77" name="r">
              <a:extLst>
                <a:ext uri="{FF2B5EF4-FFF2-40B4-BE49-F238E27FC236}">
                  <a16:creationId xmlns:a16="http://schemas.microsoft.com/office/drawing/2014/main" id="{340FB9F8-F938-4A53-A285-8CABE9B4AB76}"/>
                </a:ext>
              </a:extLst>
            </p:cNvPr>
            <p:cNvSpPr/>
            <p:nvPr/>
          </p:nvSpPr>
          <p:spPr bwMode="gray">
            <a:xfrm>
              <a:off x="10504356" y="3966498"/>
              <a:ext cx="1579811" cy="1275212"/>
            </a:xfrm>
            <a:custGeom>
              <a:avLst/>
              <a:gdLst>
                <a:gd name="connsiteX0" fmla="*/ 1015937 w 1579817"/>
                <a:gd name="connsiteY0" fmla="*/ 220028 h 1275207"/>
                <a:gd name="connsiteX1" fmla="*/ 1157669 w 1579817"/>
                <a:gd name="connsiteY1" fmla="*/ 322517 h 1275207"/>
                <a:gd name="connsiteX2" fmla="*/ 1157669 w 1579817"/>
                <a:gd name="connsiteY2" fmla="*/ 470249 h 1275207"/>
                <a:gd name="connsiteX3" fmla="*/ 1015937 w 1579817"/>
                <a:gd name="connsiteY3" fmla="*/ 572738 h 1275207"/>
                <a:gd name="connsiteX4" fmla="*/ 307467 w 1579817"/>
                <a:gd name="connsiteY4" fmla="*/ 572738 h 1275207"/>
                <a:gd name="connsiteX5" fmla="*/ 307467 w 1579817"/>
                <a:gd name="connsiteY5" fmla="*/ 220028 h 1275207"/>
                <a:gd name="connsiteX6" fmla="*/ 1015937 w 1579817"/>
                <a:gd name="connsiteY6" fmla="*/ 220028 h 1275207"/>
                <a:gd name="connsiteX7" fmla="*/ 0 w 1579817"/>
                <a:gd name="connsiteY7" fmla="*/ 1275207 h 1275207"/>
                <a:gd name="connsiteX8" fmla="*/ 307563 w 1579817"/>
                <a:gd name="connsiteY8" fmla="*/ 1275207 h 1275207"/>
                <a:gd name="connsiteX9" fmla="*/ 307563 w 1579817"/>
                <a:gd name="connsiteY9" fmla="*/ 792766 h 1275207"/>
                <a:gd name="connsiteX10" fmla="*/ 599981 w 1579817"/>
                <a:gd name="connsiteY10" fmla="*/ 792766 h 1275207"/>
                <a:gd name="connsiteX11" fmla="*/ 1133570 w 1579817"/>
                <a:gd name="connsiteY11" fmla="*/ 1275207 h 1275207"/>
                <a:gd name="connsiteX12" fmla="*/ 1579818 w 1579817"/>
                <a:gd name="connsiteY12" fmla="*/ 1275207 h 1275207"/>
                <a:gd name="connsiteX13" fmla="*/ 973931 w 1579817"/>
                <a:gd name="connsiteY13" fmla="*/ 792766 h 1275207"/>
                <a:gd name="connsiteX14" fmla="*/ 1148811 w 1579817"/>
                <a:gd name="connsiteY14" fmla="*/ 792766 h 1275207"/>
                <a:gd name="connsiteX15" fmla="*/ 1447229 w 1579817"/>
                <a:gd name="connsiteY15" fmla="*/ 548545 h 1275207"/>
                <a:gd name="connsiteX16" fmla="*/ 1447229 w 1579817"/>
                <a:gd name="connsiteY16" fmla="*/ 247174 h 1275207"/>
                <a:gd name="connsiteX17" fmla="*/ 1148811 w 1579817"/>
                <a:gd name="connsiteY17" fmla="*/ 0 h 1275207"/>
                <a:gd name="connsiteX18" fmla="*/ 191 w 1579817"/>
                <a:gd name="connsiteY18" fmla="*/ 0 h 1275207"/>
                <a:gd name="connsiteX19" fmla="*/ 191 w 1579817"/>
                <a:gd name="connsiteY19" fmla="*/ 1275207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79817" h="1275207">
                  <a:moveTo>
                    <a:pt x="1015937" y="220028"/>
                  </a:moveTo>
                  <a:cubicBezTo>
                    <a:pt x="1109282" y="220028"/>
                    <a:pt x="1157669" y="238220"/>
                    <a:pt x="1157669" y="322517"/>
                  </a:cubicBezTo>
                  <a:lnTo>
                    <a:pt x="1157669" y="470249"/>
                  </a:lnTo>
                  <a:cubicBezTo>
                    <a:pt x="1157669" y="554736"/>
                    <a:pt x="1109282" y="572738"/>
                    <a:pt x="1015937" y="572738"/>
                  </a:cubicBezTo>
                  <a:lnTo>
                    <a:pt x="307467" y="572738"/>
                  </a:lnTo>
                  <a:lnTo>
                    <a:pt x="307467" y="220028"/>
                  </a:lnTo>
                  <a:lnTo>
                    <a:pt x="1015937" y="220028"/>
                  </a:lnTo>
                  <a:close/>
                  <a:moveTo>
                    <a:pt x="0" y="1275207"/>
                  </a:moveTo>
                  <a:lnTo>
                    <a:pt x="307563" y="1275207"/>
                  </a:lnTo>
                  <a:lnTo>
                    <a:pt x="307563" y="792766"/>
                  </a:lnTo>
                  <a:lnTo>
                    <a:pt x="599981" y="792766"/>
                  </a:lnTo>
                  <a:lnTo>
                    <a:pt x="1133570" y="1275207"/>
                  </a:lnTo>
                  <a:lnTo>
                    <a:pt x="1579818" y="1275207"/>
                  </a:lnTo>
                  <a:lnTo>
                    <a:pt x="973931" y="792766"/>
                  </a:lnTo>
                  <a:lnTo>
                    <a:pt x="1148811" y="792766"/>
                  </a:lnTo>
                  <a:cubicBezTo>
                    <a:pt x="1353693" y="792766"/>
                    <a:pt x="1447229" y="723424"/>
                    <a:pt x="1447229" y="548545"/>
                  </a:cubicBezTo>
                  <a:lnTo>
                    <a:pt x="1447229" y="247174"/>
                  </a:lnTo>
                  <a:cubicBezTo>
                    <a:pt x="1447229" y="69342"/>
                    <a:pt x="1353693" y="0"/>
                    <a:pt x="1148811" y="0"/>
                  </a:cubicBezTo>
                  <a:lnTo>
                    <a:pt x="191" y="0"/>
                  </a:lnTo>
                  <a:lnTo>
                    <a:pt x="191" y="1275207"/>
                  </a:lnTo>
                  <a:close/>
                </a:path>
              </a:pathLst>
            </a:custGeom>
            <a:grpFill/>
            <a:ln w="9525" cap="flat">
              <a:noFill/>
              <a:prstDash val="solid"/>
              <a:miter/>
            </a:ln>
          </p:spPr>
          <p:txBody>
            <a:bodyPr lIns="0" tIns="0" rIns="0" bIns="0" rtlCol="0" anchor="ctr"/>
            <a:lstStyle/>
            <a:p>
              <a:endParaRPr lang="de-DE" sz="100"/>
            </a:p>
          </p:txBody>
        </p:sp>
      </p:grpSp>
    </p:spTree>
    <p:extLst>
      <p:ext uri="{BB962C8B-B14F-4D97-AF65-F5344CB8AC3E}">
        <p14:creationId xmlns:p14="http://schemas.microsoft.com/office/powerpoint/2010/main" val="3768946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50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250"/>
                                        <p:tgtEl>
                                          <p:spTgt spid="14"/>
                                        </p:tgtEl>
                                      </p:cBhvr>
                                    </p:animEffect>
                                  </p:childTnLst>
                                </p:cTn>
                              </p:par>
                              <p:par>
                                <p:cTn id="8" presetID="42" presetClass="path" presetSubtype="0" decel="57143" fill="hold" grpId="0" nodeType="withEffect">
                                  <p:stCondLst>
                                    <p:cond delay="500"/>
                                  </p:stCondLst>
                                  <p:childTnLst>
                                    <p:animMotion origin="layout" path="M -3.75E-6 -3.7037E-6 L 0.26355 -0.47106 " pathEditMode="relative" rAng="0" ptsTypes="AA">
                                      <p:cBhvr>
                                        <p:cTn id="9" dur="2500" spd="-100000" fill="hold"/>
                                        <p:tgtEl>
                                          <p:spTgt spid="14"/>
                                        </p:tgtEl>
                                        <p:attrNameLst>
                                          <p:attrName>ppt_x</p:attrName>
                                          <p:attrName>ppt_y</p:attrName>
                                        </p:attrNameLst>
                                      </p:cBhvr>
                                      <p:rCtr x="13177" y="-23542"/>
                                    </p:animMotion>
                                  </p:childTnLst>
                                </p:cTn>
                              </p:par>
                              <p:par>
                                <p:cTn id="10" presetID="42" presetClass="path" presetSubtype="0" accel="50000" decel="50000" fill="hold" grpId="0" nodeType="withEffect">
                                  <p:stCondLst>
                                    <p:cond delay="700"/>
                                  </p:stCondLst>
                                  <p:childTnLst>
                                    <p:animMotion origin="layout" path="M 4.79167E-6 -4.81481E-6 L 0.03606 -0.0655 " pathEditMode="relative" rAng="0" ptsTypes="AA">
                                      <p:cBhvr>
                                        <p:cTn id="11" dur="2400" fill="hold"/>
                                        <p:tgtEl>
                                          <p:spTgt spid="60"/>
                                        </p:tgtEl>
                                        <p:attrNameLst>
                                          <p:attrName>ppt_x</p:attrName>
                                          <p:attrName>ppt_y</p:attrName>
                                        </p:attrNameLst>
                                      </p:cBhvr>
                                      <p:rCtr x="1797" y="-3264"/>
                                    </p:animMotion>
                                  </p:childTnLst>
                                </p:cTn>
                              </p:par>
                              <p:par>
                                <p:cTn id="12" presetID="10" presetClass="entr" presetSubtype="0" fill="hold" grpId="1" nodeType="withEffect">
                                  <p:stCondLst>
                                    <p:cond delay="1250"/>
                                  </p:stCondLst>
                                  <p:childTnLst>
                                    <p:set>
                                      <p:cBhvr>
                                        <p:cTn id="13" dur="1" fill="hold">
                                          <p:stCondLst>
                                            <p:cond delay="0"/>
                                          </p:stCondLst>
                                        </p:cTn>
                                        <p:tgtEl>
                                          <p:spTgt spid="15"/>
                                        </p:tgtEl>
                                        <p:attrNameLst>
                                          <p:attrName>style.visibility</p:attrName>
                                        </p:attrNameLst>
                                      </p:cBhvr>
                                      <p:to>
                                        <p:strVal val="visible"/>
                                      </p:to>
                                    </p:set>
                                    <p:animEffect transition="in" filter="fade">
                                      <p:cBhvr>
                                        <p:cTn id="14" dur="250"/>
                                        <p:tgtEl>
                                          <p:spTgt spid="15"/>
                                        </p:tgtEl>
                                      </p:cBhvr>
                                    </p:animEffect>
                                  </p:childTnLst>
                                </p:cTn>
                              </p:par>
                              <p:par>
                                <p:cTn id="15" presetID="42" presetClass="path" presetSubtype="0" decel="100000" fill="hold" grpId="0" nodeType="withEffect">
                                  <p:stCondLst>
                                    <p:cond delay="1250"/>
                                  </p:stCondLst>
                                  <p:childTnLst>
                                    <p:animMotion origin="layout" path="M 5E-6 4.07407E-6 L 0.22644 -0.40139 " pathEditMode="relative" rAng="0" ptsTypes="AA">
                                      <p:cBhvr>
                                        <p:cTn id="16" dur="2050" spd="-100000" fill="hold"/>
                                        <p:tgtEl>
                                          <p:spTgt spid="15"/>
                                        </p:tgtEl>
                                        <p:attrNameLst>
                                          <p:attrName>ppt_x</p:attrName>
                                          <p:attrName>ppt_y</p:attrName>
                                        </p:attrNameLst>
                                      </p:cBhvr>
                                      <p:rCtr x="11315" y="-20069"/>
                                    </p:animMotion>
                                  </p:childTnLst>
                                </p:cTn>
                              </p:par>
                              <p:par>
                                <p:cTn id="17" presetID="42" presetClass="path" presetSubtype="0" accel="50000" decel="50000" fill="hold" grpId="0" nodeType="withEffect">
                                  <p:stCondLst>
                                    <p:cond delay="900"/>
                                  </p:stCondLst>
                                  <p:childTnLst>
                                    <p:animMotion origin="layout" path="M 2.08333E-6 4.07407E-6 L -0.09401 0.16921 " pathEditMode="relative" rAng="0" ptsTypes="AA">
                                      <p:cBhvr>
                                        <p:cTn id="18" dur="2400" fill="hold"/>
                                        <p:tgtEl>
                                          <p:spTgt spid="61"/>
                                        </p:tgtEl>
                                        <p:attrNameLst>
                                          <p:attrName>ppt_x</p:attrName>
                                          <p:attrName>ppt_y</p:attrName>
                                        </p:attrNameLst>
                                      </p:cBhvr>
                                      <p:rCtr x="-4701" y="8449"/>
                                    </p:animMotion>
                                  </p:childTnLst>
                                </p:cTn>
                              </p:par>
                              <p:par>
                                <p:cTn id="19" presetID="10" presetClass="entr" presetSubtype="0" fill="hold" grpId="1" nodeType="withEffect">
                                  <p:stCondLst>
                                    <p:cond delay="2000"/>
                                  </p:stCondLst>
                                  <p:childTnLst>
                                    <p:set>
                                      <p:cBhvr>
                                        <p:cTn id="20" dur="1" fill="hold">
                                          <p:stCondLst>
                                            <p:cond delay="0"/>
                                          </p:stCondLst>
                                        </p:cTn>
                                        <p:tgtEl>
                                          <p:spTgt spid="16"/>
                                        </p:tgtEl>
                                        <p:attrNameLst>
                                          <p:attrName>style.visibility</p:attrName>
                                        </p:attrNameLst>
                                      </p:cBhvr>
                                      <p:to>
                                        <p:strVal val="visible"/>
                                      </p:to>
                                    </p:set>
                                    <p:animEffect transition="in" filter="fade">
                                      <p:cBhvr>
                                        <p:cTn id="21" dur="250"/>
                                        <p:tgtEl>
                                          <p:spTgt spid="16"/>
                                        </p:tgtEl>
                                      </p:cBhvr>
                                    </p:animEffect>
                                  </p:childTnLst>
                                </p:cTn>
                              </p:par>
                              <p:par>
                                <p:cTn id="22" presetID="42" presetClass="path" presetSubtype="0" decel="76923" fill="hold" grpId="0" nodeType="withEffect">
                                  <p:stCondLst>
                                    <p:cond delay="2000"/>
                                  </p:stCondLst>
                                  <p:childTnLst>
                                    <p:animMotion origin="layout" path="M -4.375E-6 4.07407E-6 L 0.27279 -0.48612 " pathEditMode="relative" rAng="0" ptsTypes="AA">
                                      <p:cBhvr>
                                        <p:cTn id="23" dur="1150" spd="-100000" fill="hold"/>
                                        <p:tgtEl>
                                          <p:spTgt spid="16"/>
                                        </p:tgtEl>
                                        <p:attrNameLst>
                                          <p:attrName>ppt_x</p:attrName>
                                          <p:attrName>ppt_y</p:attrName>
                                        </p:attrNameLst>
                                      </p:cBhvr>
                                      <p:rCtr x="13633" y="-24306"/>
                                    </p:animMotion>
                                  </p:childTnLst>
                                </p:cTn>
                              </p:par>
                              <p:par>
                                <p:cTn id="24" presetID="10" presetClass="entr" presetSubtype="0" fill="hold" grpId="1" nodeType="withEffect">
                                  <p:stCondLst>
                                    <p:cond delay="1000"/>
                                  </p:stCondLst>
                                  <p:childTnLst>
                                    <p:set>
                                      <p:cBhvr>
                                        <p:cTn id="25" dur="1" fill="hold">
                                          <p:stCondLst>
                                            <p:cond delay="0"/>
                                          </p:stCondLst>
                                        </p:cTn>
                                        <p:tgtEl>
                                          <p:spTgt spid="17"/>
                                        </p:tgtEl>
                                        <p:attrNameLst>
                                          <p:attrName>style.visibility</p:attrName>
                                        </p:attrNameLst>
                                      </p:cBhvr>
                                      <p:to>
                                        <p:strVal val="visible"/>
                                      </p:to>
                                    </p:set>
                                    <p:animEffect transition="in" filter="fade">
                                      <p:cBhvr>
                                        <p:cTn id="26" dur="250"/>
                                        <p:tgtEl>
                                          <p:spTgt spid="17"/>
                                        </p:tgtEl>
                                      </p:cBhvr>
                                    </p:animEffect>
                                  </p:childTnLst>
                                </p:cTn>
                              </p:par>
                              <p:par>
                                <p:cTn id="27" presetID="42" presetClass="path" presetSubtype="0" decel="61538" fill="hold" grpId="0" nodeType="withEffect">
                                  <p:stCondLst>
                                    <p:cond delay="1000"/>
                                  </p:stCondLst>
                                  <p:childTnLst>
                                    <p:animMotion origin="layout" path="M -1.25E-6 1.48148E-6 L 0.3237 -0.57662 " pathEditMode="relative" rAng="0" ptsTypes="AA">
                                      <p:cBhvr>
                                        <p:cTn id="28" dur="2150" spd="-100000" fill="hold"/>
                                        <p:tgtEl>
                                          <p:spTgt spid="17"/>
                                        </p:tgtEl>
                                        <p:attrNameLst>
                                          <p:attrName>ppt_x</p:attrName>
                                          <p:attrName>ppt_y</p:attrName>
                                        </p:attrNameLst>
                                      </p:cBhvr>
                                      <p:rCtr x="16185" y="-28819"/>
                                    </p:animMotion>
                                  </p:childTnLst>
                                </p:cTn>
                              </p:par>
                              <p:par>
                                <p:cTn id="29" presetID="42" presetClass="path" presetSubtype="0" accel="50000" decel="50000" fill="hold" grpId="0" nodeType="withEffect">
                                  <p:stCondLst>
                                    <p:cond delay="800"/>
                                  </p:stCondLst>
                                  <p:childTnLst>
                                    <p:animMotion origin="layout" path="M -4.375E-6 -1.11111E-6 L -0.09817 0.17477 " pathEditMode="relative" rAng="0" ptsTypes="AA">
                                      <p:cBhvr>
                                        <p:cTn id="30" dur="2350" fill="hold"/>
                                        <p:tgtEl>
                                          <p:spTgt spid="63"/>
                                        </p:tgtEl>
                                        <p:attrNameLst>
                                          <p:attrName>ppt_x</p:attrName>
                                          <p:attrName>ppt_y</p:attrName>
                                        </p:attrNameLst>
                                      </p:cBhvr>
                                      <p:rCtr x="-4909" y="8727"/>
                                    </p:animMotion>
                                  </p:childTnLst>
                                </p:cTn>
                              </p:par>
                              <p:par>
                                <p:cTn id="31" presetID="10" presetClass="entr" presetSubtype="0" fill="hold" grpId="1" nodeType="withEffect">
                                  <p:stCondLst>
                                    <p:cond delay="2000"/>
                                  </p:stCondLst>
                                  <p:childTnLst>
                                    <p:set>
                                      <p:cBhvr>
                                        <p:cTn id="32" dur="1" fill="hold">
                                          <p:stCondLst>
                                            <p:cond delay="0"/>
                                          </p:stCondLst>
                                        </p:cTn>
                                        <p:tgtEl>
                                          <p:spTgt spid="18"/>
                                        </p:tgtEl>
                                        <p:attrNameLst>
                                          <p:attrName>style.visibility</p:attrName>
                                        </p:attrNameLst>
                                      </p:cBhvr>
                                      <p:to>
                                        <p:strVal val="visible"/>
                                      </p:to>
                                    </p:set>
                                    <p:animEffect transition="in" filter="fade">
                                      <p:cBhvr>
                                        <p:cTn id="33" dur="250"/>
                                        <p:tgtEl>
                                          <p:spTgt spid="18"/>
                                        </p:tgtEl>
                                      </p:cBhvr>
                                    </p:animEffect>
                                  </p:childTnLst>
                                </p:cTn>
                              </p:par>
                              <p:par>
                                <p:cTn id="34" presetID="42" presetClass="path" presetSubtype="0" decel="62500" fill="hold" grpId="0" nodeType="withEffect">
                                  <p:stCondLst>
                                    <p:cond delay="2000"/>
                                  </p:stCondLst>
                                  <p:childTnLst>
                                    <p:animMotion origin="layout" path="M -3.33333E-6 -3.7037E-6 L 0.30443 -0.5412 " pathEditMode="relative" rAng="0" ptsTypes="AA">
                                      <p:cBhvr>
                                        <p:cTn id="35" dur="1200" spd="-100000" fill="hold"/>
                                        <p:tgtEl>
                                          <p:spTgt spid="18"/>
                                        </p:tgtEl>
                                        <p:attrNameLst>
                                          <p:attrName>ppt_x</p:attrName>
                                          <p:attrName>ppt_y</p:attrName>
                                        </p:attrNameLst>
                                      </p:cBhvr>
                                      <p:rCtr x="15221" y="-2706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15" grpId="0"/>
      <p:bldP spid="15" grpId="1"/>
      <p:bldP spid="16" grpId="0"/>
      <p:bldP spid="16" grpId="1"/>
      <p:bldP spid="17" grpId="0"/>
      <p:bldP spid="17" grpId="1"/>
      <p:bldP spid="18" grpId="0"/>
      <p:bldP spid="18" grpId="1"/>
      <p:bldP spid="60" grpId="0" animBg="1"/>
      <p:bldP spid="61" grpId="0" animBg="1"/>
      <p:bldP spid="63" grpId="0" animBg="1"/>
    </p:bldLst>
  </p:timing>
  <p:hf sldNum="0" hdr="0" ftr="0" dt="0"/>
  <p:extLst>
    <p:ext uri="{DCECCB84-F9BA-43D5-87BE-67443E8EF086}">
      <p15:sldGuideLst xmlns:p15="http://schemas.microsoft.com/office/powerpoint/2012/main">
        <p15:guide id="1" pos="2071" userDrawn="1">
          <p15:clr>
            <a:srgbClr val="FBAE40"/>
          </p15:clr>
        </p15:guide>
        <p15:guide id="2" pos="5595">
          <p15:clr>
            <a:srgbClr val="FBAE40"/>
          </p15:clr>
        </p15:guide>
        <p15:guide id="3" orient="horz" pos="1646">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C2A5B85-573B-A534-6709-92F4CFACDFA2}"/>
              </a:ext>
            </a:extLst>
          </p:cNvPr>
          <p:cNvSpPr>
            <a:spLocks noGrp="1"/>
          </p:cNvSpPr>
          <p:nvPr>
            <p:ph type="sldNum" sz="quarter" idx="10"/>
          </p:nvPr>
        </p:nvSpPr>
        <p:spPr/>
        <p:txBody>
          <a:bodyPr/>
          <a:lstStyle/>
          <a:p>
            <a:fld id="{9829449A-3FF3-45CE-9F4F-09BADC0910C6}" type="slidenum">
              <a:rPr lang="de-DE" smtClean="0"/>
              <a:pPr/>
              <a:t>‹Nr.›</a:t>
            </a:fld>
            <a:endParaRPr lang="de-DE"/>
          </a:p>
        </p:txBody>
      </p:sp>
      <p:sp>
        <p:nvSpPr>
          <p:cNvPr id="3" name="Footer Placeholder 2">
            <a:extLst>
              <a:ext uri="{FF2B5EF4-FFF2-40B4-BE49-F238E27FC236}">
                <a16:creationId xmlns:a16="http://schemas.microsoft.com/office/drawing/2014/main" id="{68A6D14F-70E1-7334-C1A5-FA76830AF434}"/>
              </a:ext>
            </a:extLst>
          </p:cNvPr>
          <p:cNvSpPr>
            <a:spLocks noGrp="1"/>
          </p:cNvSpPr>
          <p:nvPr>
            <p:ph type="ftr" sz="quarter" idx="11"/>
          </p:nvPr>
        </p:nvSpPr>
        <p:spPr/>
        <p:txBody>
          <a:bodyPr/>
          <a:lstStyle/>
          <a:p>
            <a:endParaRPr lang="de-DE"/>
          </a:p>
        </p:txBody>
      </p:sp>
    </p:spTree>
    <p:extLst>
      <p:ext uri="{BB962C8B-B14F-4D97-AF65-F5344CB8AC3E}">
        <p14:creationId xmlns:p14="http://schemas.microsoft.com/office/powerpoint/2010/main" val="2754409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Blank">
    <p:bg bwMode="gray">
      <p:bgRef idx="1001">
        <a:schemeClr val="bg1"/>
      </p:bgRef>
    </p:bg>
    <p:spTree>
      <p:nvGrpSpPr>
        <p:cNvPr id="1" name=""/>
        <p:cNvGrpSpPr/>
        <p:nvPr/>
      </p:nvGrpSpPr>
      <p:grpSpPr>
        <a:xfrm>
          <a:off x="0" y="0"/>
          <a:ext cx="0" cy="0"/>
          <a:chOff x="0" y="0"/>
          <a:chExt cx="0" cy="0"/>
        </a:xfrm>
      </p:grpSpPr>
      <p:sp>
        <p:nvSpPr>
          <p:cNvPr id="34" name="Bildplatzhalter 33">
            <a:extLst>
              <a:ext uri="{FF2B5EF4-FFF2-40B4-BE49-F238E27FC236}">
                <a16:creationId xmlns:a16="http://schemas.microsoft.com/office/drawing/2014/main" id="{A82564C4-44BF-4DFE-9528-98B0E637DCDE}"/>
              </a:ext>
            </a:extLst>
          </p:cNvPr>
          <p:cNvSpPr>
            <a:spLocks noGrp="1"/>
          </p:cNvSpPr>
          <p:nvPr>
            <p:ph type="pic" sz="quarter" idx="16"/>
          </p:nvPr>
        </p:nvSpPr>
        <p:spPr bwMode="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5400000 w 12192000"/>
              <a:gd name="connsiteY3" fmla="*/ 6858000 h 6858000"/>
              <a:gd name="connsiteX4" fmla="*/ 5400000 w 12192000"/>
              <a:gd name="connsiteY4" fmla="*/ 3661334 h 6858000"/>
              <a:gd name="connsiteX5" fmla="*/ 0 w 12192000"/>
              <a:gd name="connsiteY5" fmla="*/ 366133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0" y="0"/>
                </a:moveTo>
                <a:lnTo>
                  <a:pt x="12192000" y="0"/>
                </a:lnTo>
                <a:lnTo>
                  <a:pt x="12192000" y="6858000"/>
                </a:lnTo>
                <a:lnTo>
                  <a:pt x="5400000" y="6858000"/>
                </a:lnTo>
                <a:lnTo>
                  <a:pt x="5400000" y="3661334"/>
                </a:lnTo>
                <a:lnTo>
                  <a:pt x="0" y="3661334"/>
                </a:lnTo>
                <a:close/>
              </a:path>
            </a:pathLst>
          </a:custGeom>
        </p:spPr>
        <p:txBody>
          <a:bodyPr wrap="square">
            <a:noAutofit/>
          </a:bodyPr>
          <a:lstStyle/>
          <a:p>
            <a:endParaRPr lang="de-DE"/>
          </a:p>
        </p:txBody>
      </p:sp>
      <p:grpSp>
        <p:nvGrpSpPr>
          <p:cNvPr id="8" name="line element">
            <a:extLst>
              <a:ext uri="{FF2B5EF4-FFF2-40B4-BE49-F238E27FC236}">
                <a16:creationId xmlns:a16="http://schemas.microsoft.com/office/drawing/2014/main" id="{10F17B53-AF31-47E3-A654-EFE6792CC744}"/>
              </a:ext>
            </a:extLst>
          </p:cNvPr>
          <p:cNvGrpSpPr>
            <a:grpSpLocks noChangeAspect="1"/>
          </p:cNvGrpSpPr>
          <p:nvPr userDrawn="1"/>
        </p:nvGrpSpPr>
        <p:grpSpPr bwMode="gray">
          <a:xfrm>
            <a:off x="508288" y="3978755"/>
            <a:ext cx="740827" cy="26783"/>
            <a:chOff x="508288" y="461121"/>
            <a:chExt cx="740827" cy="26783"/>
          </a:xfrm>
          <a:solidFill>
            <a:schemeClr val="tx1"/>
          </a:solidFill>
        </p:grpSpPr>
        <p:sp>
          <p:nvSpPr>
            <p:cNvPr id="9" name="line 1">
              <a:extLst>
                <a:ext uri="{FF2B5EF4-FFF2-40B4-BE49-F238E27FC236}">
                  <a16:creationId xmlns:a16="http://schemas.microsoft.com/office/drawing/2014/main" id="{F02C5073-3597-44EC-8DBA-919730153A7B}"/>
                </a:ext>
              </a:extLst>
            </p:cNvPr>
            <p:cNvSpPr>
              <a:spLocks/>
            </p:cNvSpPr>
            <p:nvPr/>
          </p:nvSpPr>
          <p:spPr bwMode="gray">
            <a:xfrm rot="2700000">
              <a:off x="617300" y="352116"/>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sp>
          <p:nvSpPr>
            <p:cNvPr id="10" name="line 2">
              <a:extLst>
                <a:ext uri="{FF2B5EF4-FFF2-40B4-BE49-F238E27FC236}">
                  <a16:creationId xmlns:a16="http://schemas.microsoft.com/office/drawing/2014/main" id="{3314543B-DD65-4E7B-8078-E8C80B3F7AB2}"/>
                </a:ext>
              </a:extLst>
            </p:cNvPr>
            <p:cNvSpPr>
              <a:spLocks/>
            </p:cNvSpPr>
            <p:nvPr/>
          </p:nvSpPr>
          <p:spPr bwMode="gray">
            <a:xfrm rot="2700000">
              <a:off x="741307" y="352116"/>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sp>
          <p:nvSpPr>
            <p:cNvPr id="11" name="line 3">
              <a:extLst>
                <a:ext uri="{FF2B5EF4-FFF2-40B4-BE49-F238E27FC236}">
                  <a16:creationId xmlns:a16="http://schemas.microsoft.com/office/drawing/2014/main" id="{3DB82195-2350-4AC3-804D-B06C534ED6BC}"/>
                </a:ext>
              </a:extLst>
            </p:cNvPr>
            <p:cNvSpPr>
              <a:spLocks/>
            </p:cNvSpPr>
            <p:nvPr/>
          </p:nvSpPr>
          <p:spPr bwMode="gray">
            <a:xfrm rot="2700000">
              <a:off x="865314" y="352116"/>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sp>
          <p:nvSpPr>
            <p:cNvPr id="12" name="line 4">
              <a:extLst>
                <a:ext uri="{FF2B5EF4-FFF2-40B4-BE49-F238E27FC236}">
                  <a16:creationId xmlns:a16="http://schemas.microsoft.com/office/drawing/2014/main" id="{83AF0FD4-3D47-4C52-8B22-1CFE02EF8D49}"/>
                </a:ext>
              </a:extLst>
            </p:cNvPr>
            <p:cNvSpPr>
              <a:spLocks/>
            </p:cNvSpPr>
            <p:nvPr/>
          </p:nvSpPr>
          <p:spPr bwMode="gray">
            <a:xfrm rot="2700000">
              <a:off x="989321" y="352116"/>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sp>
          <p:nvSpPr>
            <p:cNvPr id="13" name="line 5">
              <a:extLst>
                <a:ext uri="{FF2B5EF4-FFF2-40B4-BE49-F238E27FC236}">
                  <a16:creationId xmlns:a16="http://schemas.microsoft.com/office/drawing/2014/main" id="{E526E0E9-0166-464B-BF0F-28E12CF6E48C}"/>
                </a:ext>
              </a:extLst>
            </p:cNvPr>
            <p:cNvSpPr>
              <a:spLocks/>
            </p:cNvSpPr>
            <p:nvPr/>
          </p:nvSpPr>
          <p:spPr bwMode="gray">
            <a:xfrm rot="2700000">
              <a:off x="1113327" y="352109"/>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grpSp>
      <p:sp>
        <p:nvSpPr>
          <p:cNvPr id="3" name="subtitle">
            <a:extLst>
              <a:ext uri="{FF2B5EF4-FFF2-40B4-BE49-F238E27FC236}">
                <a16:creationId xmlns:a16="http://schemas.microsoft.com/office/drawing/2014/main" id="{D3F50A68-F558-4D31-BE77-E20AB0A29926}"/>
              </a:ext>
            </a:extLst>
          </p:cNvPr>
          <p:cNvSpPr>
            <a:spLocks noGrp="1"/>
          </p:cNvSpPr>
          <p:nvPr userDrawn="1">
            <p:ph type="subTitle" idx="1" hasCustomPrompt="1"/>
          </p:nvPr>
        </p:nvSpPr>
        <p:spPr bwMode="gray">
          <a:xfrm>
            <a:off x="0" y="5312218"/>
            <a:ext cx="5400000" cy="432000"/>
          </a:xfrm>
        </p:spPr>
        <p:txBody>
          <a:bodyPr lIns="540000" rIns="216000" bIns="216000"/>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Title / Speaker / Date / Location</a:t>
            </a:r>
            <a:endParaRPr lang="en-US"/>
          </a:p>
        </p:txBody>
      </p:sp>
      <p:sp>
        <p:nvSpPr>
          <p:cNvPr id="6" name="slide number">
            <a:extLst>
              <a:ext uri="{FF2B5EF4-FFF2-40B4-BE49-F238E27FC236}">
                <a16:creationId xmlns:a16="http://schemas.microsoft.com/office/drawing/2014/main" id="{F1423FEB-CFD7-4376-A0C4-D91B3BE0287A}"/>
              </a:ext>
            </a:extLst>
          </p:cNvPr>
          <p:cNvSpPr>
            <a:spLocks noGrp="1"/>
          </p:cNvSpPr>
          <p:nvPr userDrawn="1">
            <p:ph type="sldNum" sz="quarter" idx="12"/>
          </p:nvPr>
        </p:nvSpPr>
        <p:spPr bwMode="gray">
          <a:xfrm>
            <a:off x="525600" y="7200000"/>
            <a:ext cx="234000" cy="180000"/>
          </a:xfrm>
        </p:spPr>
        <p:txBody>
          <a:bodyPr lIns="0" tIns="0" rIns="0" bIns="0"/>
          <a:lstStyle/>
          <a:p>
            <a:fld id="{9829449A-3FF3-45CE-9F4F-09BADC0910C6}" type="slidenum">
              <a:rPr lang="en-US" smtClean="0"/>
              <a:t>‹Nr.›</a:t>
            </a:fld>
            <a:endParaRPr lang="en-US"/>
          </a:p>
        </p:txBody>
      </p:sp>
      <p:sp>
        <p:nvSpPr>
          <p:cNvPr id="5" name="footer">
            <a:extLst>
              <a:ext uri="{FF2B5EF4-FFF2-40B4-BE49-F238E27FC236}">
                <a16:creationId xmlns:a16="http://schemas.microsoft.com/office/drawing/2014/main" id="{190677E9-326C-4EF5-ADE8-5E9E2D32D3E6}"/>
              </a:ext>
            </a:extLst>
          </p:cNvPr>
          <p:cNvSpPr>
            <a:spLocks noGrp="1"/>
          </p:cNvSpPr>
          <p:nvPr userDrawn="1">
            <p:ph type="ftr" sz="quarter" idx="11"/>
          </p:nvPr>
        </p:nvSpPr>
        <p:spPr bwMode="gray">
          <a:xfrm>
            <a:off x="763200" y="7200000"/>
            <a:ext cx="7880400" cy="180000"/>
          </a:xfrm>
        </p:spPr>
        <p:txBody>
          <a:bodyPr lIns="0" tIns="0" rIns="0" bIns="0"/>
          <a:lstStyle/>
          <a:p>
            <a:endParaRPr lang="en-US"/>
          </a:p>
        </p:txBody>
      </p:sp>
      <p:pic>
        <p:nvPicPr>
          <p:cNvPr id="35" name="Grafik 34">
            <a:extLst>
              <a:ext uri="{FF2B5EF4-FFF2-40B4-BE49-F238E27FC236}">
                <a16:creationId xmlns:a16="http://schemas.microsoft.com/office/drawing/2014/main" id="{7A405E73-5CC3-4B86-8BD2-136B4855922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7993" y="3996120"/>
            <a:ext cx="4075365" cy="1331394"/>
          </a:xfrm>
          <a:prstGeom prst="rect">
            <a:avLst/>
          </a:prstGeom>
        </p:spPr>
      </p:pic>
    </p:spTree>
    <p:extLst>
      <p:ext uri="{BB962C8B-B14F-4D97-AF65-F5344CB8AC3E}">
        <p14:creationId xmlns:p14="http://schemas.microsoft.com/office/powerpoint/2010/main" val="1392390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306" userDrawn="1">
          <p15:clr>
            <a:srgbClr val="FBAE40"/>
          </p15:clr>
        </p15:guide>
        <p15:guide id="2" orient="horz" pos="3345" userDrawn="1">
          <p15:clr>
            <a:srgbClr val="FBAE40"/>
          </p15:clr>
        </p15:guide>
        <p15:guide id="3" pos="3402"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42377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One-column">
    <p:spTree>
      <p:nvGrpSpPr>
        <p:cNvPr id="1" name=""/>
        <p:cNvGrpSpPr/>
        <p:nvPr/>
      </p:nvGrpSpPr>
      <p:grpSpPr>
        <a:xfrm>
          <a:off x="0" y="0"/>
          <a:ext cx="0" cy="0"/>
          <a:chOff x="0" y="0"/>
          <a:chExt cx="0" cy="0"/>
        </a:xfrm>
      </p:grpSpPr>
      <p:sp>
        <p:nvSpPr>
          <p:cNvPr id="17" name="Title 1"/>
          <p:cNvSpPr>
            <a:spLocks noGrp="1"/>
          </p:cNvSpPr>
          <p:nvPr>
            <p:ph type="title" hasCustomPrompt="1"/>
          </p:nvPr>
        </p:nvSpPr>
        <p:spPr>
          <a:xfrm>
            <a:off x="344078" y="306920"/>
            <a:ext cx="11511375" cy="410369"/>
          </a:xfrm>
        </p:spPr>
        <p:txBody>
          <a:bodyPr>
            <a:spAutoFit/>
          </a:bodyPr>
          <a:lstStyle>
            <a:lvl1pPr>
              <a:defRPr sz="2667"/>
            </a:lvl1pPr>
          </a:lstStyle>
          <a:p>
            <a:r>
              <a:rPr lang="en-US"/>
              <a:t>Click To Edit Master Title Style</a:t>
            </a:r>
          </a:p>
        </p:txBody>
      </p:sp>
      <p:sp>
        <p:nvSpPr>
          <p:cNvPr id="20" name="Text Placeholder 11"/>
          <p:cNvSpPr>
            <a:spLocks noGrp="1"/>
          </p:cNvSpPr>
          <p:nvPr>
            <p:ph type="body" sz="quarter" idx="13" hasCustomPrompt="1"/>
          </p:nvPr>
        </p:nvSpPr>
        <p:spPr>
          <a:xfrm>
            <a:off x="336553" y="5421738"/>
            <a:ext cx="7440081" cy="164148"/>
          </a:xfrm>
          <a:prstGeom prst="rect">
            <a:avLst/>
          </a:prstGeom>
        </p:spPr>
        <p:txBody>
          <a:bodyPr lIns="0" tIns="0" rIns="0" bIns="0" anchor="b" anchorCtr="0">
            <a:spAutoFit/>
          </a:bodyPr>
          <a:lstStyle>
            <a:lvl1pPr marL="21166" indent="0">
              <a:buNone/>
              <a:defRPr sz="1067" baseline="0">
                <a:solidFill>
                  <a:srgbClr val="8E8F93"/>
                </a:solidFill>
              </a:defRPr>
            </a:lvl1pPr>
          </a:lstStyle>
          <a:p>
            <a:pPr lvl="0"/>
            <a:r>
              <a:rPr lang="en-US"/>
              <a:t>Optional caption goes here</a:t>
            </a:r>
          </a:p>
        </p:txBody>
      </p:sp>
      <p:sp>
        <p:nvSpPr>
          <p:cNvPr id="23" name="Text Placeholder 2"/>
          <p:cNvSpPr>
            <a:spLocks noGrp="1"/>
          </p:cNvSpPr>
          <p:nvPr>
            <p:ph type="body" idx="15" hasCustomPrompt="1"/>
          </p:nvPr>
        </p:nvSpPr>
        <p:spPr>
          <a:xfrm>
            <a:off x="344077" y="806582"/>
            <a:ext cx="11511375" cy="225703"/>
          </a:xfrm>
          <a:prstGeom prst="rect">
            <a:avLst/>
          </a:prstGeom>
        </p:spPr>
        <p:txBody>
          <a:bodyPr lIns="0" tIns="0" rIns="0" bIns="0" anchor="t">
            <a:spAutoFit/>
          </a:bodyPr>
          <a:lstStyle>
            <a:lvl1pPr marL="0" indent="0">
              <a:spcBef>
                <a:spcPts val="0"/>
              </a:spcBef>
              <a:spcAft>
                <a:spcPts val="0"/>
              </a:spcAft>
              <a:buNone/>
              <a:defRPr sz="1467" b="0" baseline="0">
                <a:solidFill>
                  <a:schemeClr val="accent6"/>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quarter" idx="17"/>
          </p:nvPr>
        </p:nvSpPr>
        <p:spPr>
          <a:xfrm>
            <a:off x="336549" y="1604437"/>
            <a:ext cx="7440083" cy="190834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p:cNvSpPr>
            <a:spLocks noGrp="1"/>
          </p:cNvSpPr>
          <p:nvPr>
            <p:ph type="sldNum" sz="quarter" idx="4"/>
          </p:nvPr>
        </p:nvSpPr>
        <p:spPr>
          <a:xfrm>
            <a:off x="2330521" y="6476209"/>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r.›</a:t>
            </a:fld>
            <a:endParaRPr lang="en-US"/>
          </a:p>
        </p:txBody>
      </p:sp>
      <p:sp>
        <p:nvSpPr>
          <p:cNvPr id="10" name="Footer Placeholder 4"/>
          <p:cNvSpPr>
            <a:spLocks noGrp="1"/>
          </p:cNvSpPr>
          <p:nvPr>
            <p:ph type="ftr" sz="quarter" idx="3"/>
          </p:nvPr>
        </p:nvSpPr>
        <p:spPr>
          <a:xfrm>
            <a:off x="336554" y="6476209"/>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107630013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Callout w Image Dark">
    <p:spTree>
      <p:nvGrpSpPr>
        <p:cNvPr id="1" name=""/>
        <p:cNvGrpSpPr/>
        <p:nvPr/>
      </p:nvGrpSpPr>
      <p:grpSpPr>
        <a:xfrm>
          <a:off x="0" y="0"/>
          <a:ext cx="0" cy="0"/>
          <a:chOff x="0" y="0"/>
          <a:chExt cx="0" cy="0"/>
        </a:xfrm>
      </p:grpSpPr>
      <p:sp>
        <p:nvSpPr>
          <p:cNvPr id="3" name="Picture Placeholder 5"/>
          <p:cNvSpPr>
            <a:spLocks noGrp="1"/>
          </p:cNvSpPr>
          <p:nvPr>
            <p:ph type="pic" sz="quarter" idx="10" hasCustomPrompt="1"/>
          </p:nvPr>
        </p:nvSpPr>
        <p:spPr>
          <a:xfrm>
            <a:off x="0" y="0"/>
            <a:ext cx="12192000" cy="6858000"/>
          </a:xfrm>
          <a:prstGeom prst="rect">
            <a:avLst/>
          </a:prstGeom>
          <a:solidFill>
            <a:srgbClr val="8E8F93">
              <a:alpha val="20000"/>
            </a:srgbClr>
          </a:solidFill>
        </p:spPr>
        <p:txBody>
          <a:bodyPr/>
          <a:lstStyle>
            <a:lvl1pPr marL="0" indent="0">
              <a:buNone/>
              <a:defRPr sz="1400">
                <a:solidFill>
                  <a:schemeClr val="accent2">
                    <a:lumMod val="60000"/>
                    <a:lumOff val="40000"/>
                  </a:schemeClr>
                </a:solidFill>
              </a:defRPr>
            </a:lvl1pPr>
          </a:lstStyle>
          <a:p>
            <a:r>
              <a:rPr lang="en-US"/>
              <a:t>Drag Your Image Here</a:t>
            </a:r>
          </a:p>
        </p:txBody>
      </p:sp>
      <p:sp>
        <p:nvSpPr>
          <p:cNvPr id="4" name="Title 1"/>
          <p:cNvSpPr>
            <a:spLocks noGrp="1"/>
          </p:cNvSpPr>
          <p:nvPr>
            <p:ph type="ctrTitle" hasCustomPrompt="1"/>
          </p:nvPr>
        </p:nvSpPr>
        <p:spPr>
          <a:xfrm>
            <a:off x="336551" y="2284745"/>
            <a:ext cx="11437095" cy="1641475"/>
          </a:xfrm>
          <a:prstGeom prst="rect">
            <a:avLst/>
          </a:prstGeom>
        </p:spPr>
        <p:txBody>
          <a:bodyPr lIns="0" tIns="0" rIns="0" bIns="0" anchor="t">
            <a:spAutoFit/>
          </a:bodyPr>
          <a:lstStyle>
            <a:lvl1pPr marL="0" indent="0" algn="ctr">
              <a:buFont typeface="Arial"/>
              <a:buNone/>
              <a:defRPr sz="5333">
                <a:solidFill>
                  <a:schemeClr val="bg1"/>
                </a:solidFill>
              </a:defRPr>
            </a:lvl1pPr>
          </a:lstStyle>
          <a:p>
            <a:r>
              <a:rPr lang="en-US"/>
              <a:t>CLICK TO EDIT QUOTE OR CALLOUT</a:t>
            </a:r>
          </a:p>
        </p:txBody>
      </p:sp>
      <p:sp>
        <p:nvSpPr>
          <p:cNvPr id="5" name="Subtitle 2"/>
          <p:cNvSpPr>
            <a:spLocks noGrp="1"/>
          </p:cNvSpPr>
          <p:nvPr>
            <p:ph type="subTitle" idx="1" hasCustomPrompt="1"/>
          </p:nvPr>
        </p:nvSpPr>
        <p:spPr>
          <a:xfrm>
            <a:off x="336552" y="3940606"/>
            <a:ext cx="11437093" cy="410369"/>
          </a:xfrm>
          <a:prstGeom prst="rect">
            <a:avLst/>
          </a:prstGeom>
        </p:spPr>
        <p:txBody>
          <a:bodyPr lIns="0" tIns="0" rIns="0" bIns="0">
            <a:spAutoFit/>
          </a:bodyPr>
          <a:lstStyle>
            <a:lvl1pPr marL="0" indent="0" algn="ctr">
              <a:buNone/>
              <a:defRPr sz="2667">
                <a:solidFill>
                  <a:schemeClr val="accent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Optional Subtitle</a:t>
            </a:r>
          </a:p>
        </p:txBody>
      </p:sp>
      <p:pic>
        <p:nvPicPr>
          <p:cNvPr id="9" name="Picture 8" descr="schneider_LIO_Life-Green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69602" y="6012788"/>
            <a:ext cx="2563063" cy="706672"/>
          </a:xfrm>
          <a:prstGeom prst="rect">
            <a:avLst/>
          </a:prstGeom>
        </p:spPr>
      </p:pic>
      <p:sp>
        <p:nvSpPr>
          <p:cNvPr id="10"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a:t>Page </a:t>
            </a:r>
            <a:fld id="{5A9C12DC-491F-9444-86A2-13AC5C62A2FC}" type="slidenum">
              <a:rPr lang="en-US" smtClean="0"/>
              <a:pPr/>
              <a:t>‹Nr.›</a:t>
            </a:fld>
            <a:endParaRPr lang="en-US"/>
          </a:p>
        </p:txBody>
      </p:sp>
      <p:sp>
        <p:nvSpPr>
          <p:cNvPr id="11" name="Footer Placeholder 4"/>
          <p:cNvSpPr>
            <a:spLocks noGrp="1"/>
          </p:cNvSpPr>
          <p:nvPr>
            <p:ph type="ftr" sz="quarter" idx="3"/>
          </p:nvPr>
        </p:nvSpPr>
        <p:spPr>
          <a:xfrm>
            <a:off x="336551" y="6476206"/>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32484915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ter Slide">
    <p:bg>
      <p:bgPr>
        <a:solidFill>
          <a:schemeClr val="accent1"/>
        </a:solidFill>
        <a:effectLst/>
      </p:bgPr>
    </p:bg>
    <p:spTree>
      <p:nvGrpSpPr>
        <p:cNvPr id="1" name=""/>
        <p:cNvGrpSpPr/>
        <p:nvPr/>
      </p:nvGrpSpPr>
      <p:grpSpPr>
        <a:xfrm>
          <a:off x="0" y="0"/>
          <a:ext cx="0" cy="0"/>
          <a:chOff x="0" y="0"/>
          <a:chExt cx="0" cy="0"/>
        </a:xfrm>
      </p:grpSpPr>
      <p:grpSp>
        <p:nvGrpSpPr>
          <p:cNvPr id="9" name="bars">
            <a:extLst>
              <a:ext uri="{FF2B5EF4-FFF2-40B4-BE49-F238E27FC236}">
                <a16:creationId xmlns:a16="http://schemas.microsoft.com/office/drawing/2014/main" id="{EC83D40E-BC8F-4F05-A5E4-3B100EAF6171}"/>
              </a:ext>
            </a:extLst>
          </p:cNvPr>
          <p:cNvGrpSpPr/>
          <p:nvPr userDrawn="1"/>
        </p:nvGrpSpPr>
        <p:grpSpPr>
          <a:xfrm>
            <a:off x="-590205" y="791787"/>
            <a:ext cx="9013929" cy="380918"/>
            <a:chOff x="-590205" y="791787"/>
            <a:chExt cx="9013929" cy="380918"/>
          </a:xfrm>
        </p:grpSpPr>
        <p:sp>
          <p:nvSpPr>
            <p:cNvPr id="60" name="bar 1">
              <a:extLst>
                <a:ext uri="{FF2B5EF4-FFF2-40B4-BE49-F238E27FC236}">
                  <a16:creationId xmlns:a16="http://schemas.microsoft.com/office/drawing/2014/main" id="{A69C446F-AC88-4A5C-B905-3878A6F8C058}"/>
                </a:ext>
              </a:extLst>
            </p:cNvPr>
            <p:cNvSpPr/>
            <p:nvPr userDrawn="1"/>
          </p:nvSpPr>
          <p:spPr>
            <a:xfrm rot="18900000">
              <a:off x="-590205" y="791787"/>
              <a:ext cx="3134842" cy="370858"/>
            </a:xfrm>
            <a:custGeom>
              <a:avLst/>
              <a:gdLst>
                <a:gd name="connsiteX0" fmla="*/ 2763984 w 3134842"/>
                <a:gd name="connsiteY0" fmla="*/ 0 h 370858"/>
                <a:gd name="connsiteX1" fmla="*/ 3134842 w 3134842"/>
                <a:gd name="connsiteY1" fmla="*/ 370858 h 370858"/>
                <a:gd name="connsiteX2" fmla="*/ 0 w 3134842"/>
                <a:gd name="connsiteY2" fmla="*/ 370858 h 370858"/>
                <a:gd name="connsiteX3" fmla="*/ 370858 w 3134842"/>
                <a:gd name="connsiteY3" fmla="*/ 0 h 370858"/>
              </a:gdLst>
              <a:ahLst/>
              <a:cxnLst>
                <a:cxn ang="0">
                  <a:pos x="connsiteX0" y="connsiteY0"/>
                </a:cxn>
                <a:cxn ang="0">
                  <a:pos x="connsiteX1" y="connsiteY1"/>
                </a:cxn>
                <a:cxn ang="0">
                  <a:pos x="connsiteX2" y="connsiteY2"/>
                </a:cxn>
                <a:cxn ang="0">
                  <a:pos x="connsiteX3" y="connsiteY3"/>
                </a:cxn>
              </a:cxnLst>
              <a:rect l="l" t="t" r="r" b="b"/>
              <a:pathLst>
                <a:path w="3134842" h="370858">
                  <a:moveTo>
                    <a:pt x="2763984" y="0"/>
                  </a:moveTo>
                  <a:lnTo>
                    <a:pt x="3134842" y="370858"/>
                  </a:lnTo>
                  <a:lnTo>
                    <a:pt x="0" y="370858"/>
                  </a:lnTo>
                  <a:lnTo>
                    <a:pt x="370858" y="0"/>
                  </a:lnTo>
                  <a:close/>
                </a:path>
              </a:pathLst>
            </a:custGeom>
            <a:solidFill>
              <a:schemeClr val="bg1"/>
            </a:solidFill>
            <a:ln w="9525" cap="flat">
              <a:noFill/>
              <a:prstDash val="solid"/>
              <a:miter/>
            </a:ln>
          </p:spPr>
          <p:txBody>
            <a:bodyPr wrap="square" rtlCol="0" anchor="ctr">
              <a:noAutofit/>
            </a:bodyPr>
            <a:lstStyle/>
            <a:p>
              <a:endParaRPr lang="de-DE"/>
            </a:p>
          </p:txBody>
        </p:sp>
        <p:sp>
          <p:nvSpPr>
            <p:cNvPr id="61" name="bar 2">
              <a:extLst>
                <a:ext uri="{FF2B5EF4-FFF2-40B4-BE49-F238E27FC236}">
                  <a16:creationId xmlns:a16="http://schemas.microsoft.com/office/drawing/2014/main" id="{88C118F6-F4DE-40DB-BC66-51FC0F3F5805}"/>
                </a:ext>
              </a:extLst>
            </p:cNvPr>
            <p:cNvSpPr/>
            <p:nvPr userDrawn="1"/>
          </p:nvSpPr>
          <p:spPr>
            <a:xfrm rot="18900000">
              <a:off x="854248" y="801847"/>
              <a:ext cx="3163296" cy="370858"/>
            </a:xfrm>
            <a:custGeom>
              <a:avLst/>
              <a:gdLst>
                <a:gd name="connsiteX0" fmla="*/ 2792438 w 3163296"/>
                <a:gd name="connsiteY0" fmla="*/ 0 h 370858"/>
                <a:gd name="connsiteX1" fmla="*/ 3163296 w 3163296"/>
                <a:gd name="connsiteY1" fmla="*/ 370858 h 370858"/>
                <a:gd name="connsiteX2" fmla="*/ 0 w 3163296"/>
                <a:gd name="connsiteY2" fmla="*/ 370858 h 370858"/>
                <a:gd name="connsiteX3" fmla="*/ 0 w 3163296"/>
                <a:gd name="connsiteY3" fmla="*/ 0 h 370858"/>
              </a:gdLst>
              <a:ahLst/>
              <a:cxnLst>
                <a:cxn ang="0">
                  <a:pos x="connsiteX0" y="connsiteY0"/>
                </a:cxn>
                <a:cxn ang="0">
                  <a:pos x="connsiteX1" y="connsiteY1"/>
                </a:cxn>
                <a:cxn ang="0">
                  <a:pos x="connsiteX2" y="connsiteY2"/>
                </a:cxn>
                <a:cxn ang="0">
                  <a:pos x="connsiteX3" y="connsiteY3"/>
                </a:cxn>
              </a:cxnLst>
              <a:rect l="l" t="t" r="r" b="b"/>
              <a:pathLst>
                <a:path w="3163296" h="370858">
                  <a:moveTo>
                    <a:pt x="2792438" y="0"/>
                  </a:moveTo>
                  <a:lnTo>
                    <a:pt x="3163296" y="370858"/>
                  </a:lnTo>
                  <a:lnTo>
                    <a:pt x="0" y="370858"/>
                  </a:lnTo>
                  <a:lnTo>
                    <a:pt x="0" y="0"/>
                  </a:lnTo>
                  <a:close/>
                </a:path>
              </a:pathLst>
            </a:custGeom>
            <a:solidFill>
              <a:schemeClr val="bg1"/>
            </a:solidFill>
            <a:ln w="9525" cap="flat">
              <a:noFill/>
              <a:prstDash val="solid"/>
              <a:miter/>
            </a:ln>
          </p:spPr>
          <p:txBody>
            <a:bodyPr wrap="square" rtlCol="0" anchor="ctr">
              <a:noAutofit/>
            </a:bodyPr>
            <a:lstStyle/>
            <a:p>
              <a:endParaRPr lang="de-DE"/>
            </a:p>
          </p:txBody>
        </p:sp>
        <p:sp>
          <p:nvSpPr>
            <p:cNvPr id="62" name="bar 3">
              <a:extLst>
                <a:ext uri="{FF2B5EF4-FFF2-40B4-BE49-F238E27FC236}">
                  <a16:creationId xmlns:a16="http://schemas.microsoft.com/office/drawing/2014/main" id="{35AF6102-29B5-4D8E-8580-2842FB9D5E0A}"/>
                </a:ext>
              </a:extLst>
            </p:cNvPr>
            <p:cNvSpPr/>
            <p:nvPr userDrawn="1"/>
          </p:nvSpPr>
          <p:spPr>
            <a:xfrm rot="18900000">
              <a:off x="2322993" y="801839"/>
              <a:ext cx="3163273" cy="370858"/>
            </a:xfrm>
            <a:custGeom>
              <a:avLst/>
              <a:gdLst>
                <a:gd name="connsiteX0" fmla="*/ 2792416 w 3163273"/>
                <a:gd name="connsiteY0" fmla="*/ 0 h 370858"/>
                <a:gd name="connsiteX1" fmla="*/ 3163273 w 3163273"/>
                <a:gd name="connsiteY1" fmla="*/ 370858 h 370858"/>
                <a:gd name="connsiteX2" fmla="*/ 0 w 3163273"/>
                <a:gd name="connsiteY2" fmla="*/ 370858 h 370858"/>
                <a:gd name="connsiteX3" fmla="*/ 0 w 3163273"/>
                <a:gd name="connsiteY3" fmla="*/ 0 h 370858"/>
              </a:gdLst>
              <a:ahLst/>
              <a:cxnLst>
                <a:cxn ang="0">
                  <a:pos x="connsiteX0" y="connsiteY0"/>
                </a:cxn>
                <a:cxn ang="0">
                  <a:pos x="connsiteX1" y="connsiteY1"/>
                </a:cxn>
                <a:cxn ang="0">
                  <a:pos x="connsiteX2" y="connsiteY2"/>
                </a:cxn>
                <a:cxn ang="0">
                  <a:pos x="connsiteX3" y="connsiteY3"/>
                </a:cxn>
              </a:cxnLst>
              <a:rect l="l" t="t" r="r" b="b"/>
              <a:pathLst>
                <a:path w="3163273" h="370858">
                  <a:moveTo>
                    <a:pt x="2792416" y="0"/>
                  </a:moveTo>
                  <a:lnTo>
                    <a:pt x="3163273" y="370858"/>
                  </a:lnTo>
                  <a:lnTo>
                    <a:pt x="0" y="370858"/>
                  </a:lnTo>
                  <a:lnTo>
                    <a:pt x="0" y="0"/>
                  </a:lnTo>
                  <a:close/>
                </a:path>
              </a:pathLst>
            </a:custGeom>
            <a:solidFill>
              <a:schemeClr val="bg1"/>
            </a:solidFill>
            <a:ln w="9525" cap="flat">
              <a:noFill/>
              <a:prstDash val="solid"/>
              <a:miter/>
            </a:ln>
          </p:spPr>
          <p:txBody>
            <a:bodyPr wrap="square" rtlCol="0" anchor="ctr">
              <a:noAutofit/>
            </a:bodyPr>
            <a:lstStyle/>
            <a:p>
              <a:endParaRPr lang="de-DE"/>
            </a:p>
          </p:txBody>
        </p:sp>
        <p:sp>
          <p:nvSpPr>
            <p:cNvPr id="63" name="bar 4">
              <a:extLst>
                <a:ext uri="{FF2B5EF4-FFF2-40B4-BE49-F238E27FC236}">
                  <a16:creationId xmlns:a16="http://schemas.microsoft.com/office/drawing/2014/main" id="{D5BD34A9-DC9F-4DDD-A688-24DB62EEECE2}"/>
                </a:ext>
              </a:extLst>
            </p:cNvPr>
            <p:cNvSpPr/>
            <p:nvPr/>
          </p:nvSpPr>
          <p:spPr>
            <a:xfrm rot="18900000">
              <a:off x="3791738" y="801836"/>
              <a:ext cx="3163266" cy="370858"/>
            </a:xfrm>
            <a:custGeom>
              <a:avLst/>
              <a:gdLst>
                <a:gd name="connsiteX0" fmla="*/ 2792408 w 3163266"/>
                <a:gd name="connsiteY0" fmla="*/ 0 h 370858"/>
                <a:gd name="connsiteX1" fmla="*/ 3163266 w 3163266"/>
                <a:gd name="connsiteY1" fmla="*/ 370858 h 370858"/>
                <a:gd name="connsiteX2" fmla="*/ 0 w 3163266"/>
                <a:gd name="connsiteY2" fmla="*/ 370858 h 370858"/>
                <a:gd name="connsiteX3" fmla="*/ 0 w 3163266"/>
                <a:gd name="connsiteY3" fmla="*/ 0 h 370858"/>
              </a:gdLst>
              <a:ahLst/>
              <a:cxnLst>
                <a:cxn ang="0">
                  <a:pos x="connsiteX0" y="connsiteY0"/>
                </a:cxn>
                <a:cxn ang="0">
                  <a:pos x="connsiteX1" y="connsiteY1"/>
                </a:cxn>
                <a:cxn ang="0">
                  <a:pos x="connsiteX2" y="connsiteY2"/>
                </a:cxn>
                <a:cxn ang="0">
                  <a:pos x="connsiteX3" y="connsiteY3"/>
                </a:cxn>
              </a:cxnLst>
              <a:rect l="l" t="t" r="r" b="b"/>
              <a:pathLst>
                <a:path w="3163266" h="370858">
                  <a:moveTo>
                    <a:pt x="2792408" y="0"/>
                  </a:moveTo>
                  <a:lnTo>
                    <a:pt x="3163266" y="370858"/>
                  </a:lnTo>
                  <a:lnTo>
                    <a:pt x="0" y="370858"/>
                  </a:lnTo>
                  <a:lnTo>
                    <a:pt x="0" y="0"/>
                  </a:lnTo>
                  <a:close/>
                </a:path>
              </a:pathLst>
            </a:custGeom>
            <a:solidFill>
              <a:schemeClr val="bg1"/>
            </a:solidFill>
            <a:ln w="9525" cap="flat">
              <a:noFill/>
              <a:prstDash val="solid"/>
              <a:miter/>
            </a:ln>
          </p:spPr>
          <p:txBody>
            <a:bodyPr wrap="square" rtlCol="0" anchor="ctr">
              <a:noAutofit/>
            </a:bodyPr>
            <a:lstStyle/>
            <a:p>
              <a:endParaRPr lang="de-DE"/>
            </a:p>
          </p:txBody>
        </p:sp>
        <p:sp>
          <p:nvSpPr>
            <p:cNvPr id="64" name="bar 5">
              <a:extLst>
                <a:ext uri="{FF2B5EF4-FFF2-40B4-BE49-F238E27FC236}">
                  <a16:creationId xmlns:a16="http://schemas.microsoft.com/office/drawing/2014/main" id="{5DD94967-14E1-4266-8ECE-9D431D9A0B6C}"/>
                </a:ext>
              </a:extLst>
            </p:cNvPr>
            <p:cNvSpPr/>
            <p:nvPr/>
          </p:nvSpPr>
          <p:spPr>
            <a:xfrm rot="18900000">
              <a:off x="5260479" y="801829"/>
              <a:ext cx="3163245" cy="370858"/>
            </a:xfrm>
            <a:custGeom>
              <a:avLst/>
              <a:gdLst>
                <a:gd name="connsiteX0" fmla="*/ 2792387 w 3163245"/>
                <a:gd name="connsiteY0" fmla="*/ 0 h 370858"/>
                <a:gd name="connsiteX1" fmla="*/ 3163245 w 3163245"/>
                <a:gd name="connsiteY1" fmla="*/ 370858 h 370858"/>
                <a:gd name="connsiteX2" fmla="*/ 0 w 3163245"/>
                <a:gd name="connsiteY2" fmla="*/ 370858 h 370858"/>
                <a:gd name="connsiteX3" fmla="*/ 0 w 3163245"/>
                <a:gd name="connsiteY3" fmla="*/ 0 h 370858"/>
              </a:gdLst>
              <a:ahLst/>
              <a:cxnLst>
                <a:cxn ang="0">
                  <a:pos x="connsiteX0" y="connsiteY0"/>
                </a:cxn>
                <a:cxn ang="0">
                  <a:pos x="connsiteX1" y="connsiteY1"/>
                </a:cxn>
                <a:cxn ang="0">
                  <a:pos x="connsiteX2" y="connsiteY2"/>
                </a:cxn>
                <a:cxn ang="0">
                  <a:pos x="connsiteX3" y="connsiteY3"/>
                </a:cxn>
              </a:cxnLst>
              <a:rect l="l" t="t" r="r" b="b"/>
              <a:pathLst>
                <a:path w="3163245" h="370858">
                  <a:moveTo>
                    <a:pt x="2792387" y="0"/>
                  </a:moveTo>
                  <a:lnTo>
                    <a:pt x="3163245" y="370858"/>
                  </a:lnTo>
                  <a:lnTo>
                    <a:pt x="0" y="370858"/>
                  </a:lnTo>
                  <a:lnTo>
                    <a:pt x="0" y="0"/>
                  </a:lnTo>
                  <a:close/>
                </a:path>
              </a:pathLst>
            </a:custGeom>
            <a:solidFill>
              <a:schemeClr val="bg1"/>
            </a:solidFill>
            <a:ln w="9525" cap="flat">
              <a:noFill/>
              <a:prstDash val="solid"/>
              <a:miter/>
            </a:ln>
          </p:spPr>
          <p:txBody>
            <a:bodyPr wrap="square" rtlCol="0" anchor="ctr">
              <a:noAutofit/>
            </a:bodyPr>
            <a:lstStyle/>
            <a:p>
              <a:endParaRPr lang="de-DE"/>
            </a:p>
          </p:txBody>
        </p:sp>
      </p:grpSp>
      <p:sp>
        <p:nvSpPr>
          <p:cNvPr id="21" name="number">
            <a:extLst>
              <a:ext uri="{FF2B5EF4-FFF2-40B4-BE49-F238E27FC236}">
                <a16:creationId xmlns:a16="http://schemas.microsoft.com/office/drawing/2014/main" id="{B88C9E41-DBD0-4198-9BB3-2B87E0CD4448}"/>
              </a:ext>
            </a:extLst>
          </p:cNvPr>
          <p:cNvSpPr>
            <a:spLocks noGrp="1"/>
          </p:cNvSpPr>
          <p:nvPr userDrawn="1">
            <p:ph type="subTitle" idx="1" hasCustomPrompt="1"/>
          </p:nvPr>
        </p:nvSpPr>
        <p:spPr bwMode="gray">
          <a:xfrm>
            <a:off x="7872000" y="1191158"/>
            <a:ext cx="4320000" cy="1028700"/>
          </a:xfrm>
          <a:noFill/>
        </p:spPr>
        <p:txBody>
          <a:bodyPr lIns="0" tIns="0" rIns="612000" bIns="0" anchor="ctr" anchorCtr="0"/>
          <a:lstStyle>
            <a:lvl1pPr marL="0" indent="0" algn="r">
              <a:buNone/>
              <a:defRPr sz="10800" b="0" cap="all" baseline="0">
                <a:solidFill>
                  <a:schemeClr val="l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err="1"/>
              <a:t>No</a:t>
            </a:r>
            <a:r>
              <a:rPr lang="de-DE"/>
              <a:t>.</a:t>
            </a:r>
            <a:endParaRPr lang="en-US"/>
          </a:p>
        </p:txBody>
      </p:sp>
      <p:sp>
        <p:nvSpPr>
          <p:cNvPr id="2" name="title">
            <a:extLst>
              <a:ext uri="{FF2B5EF4-FFF2-40B4-BE49-F238E27FC236}">
                <a16:creationId xmlns:a16="http://schemas.microsoft.com/office/drawing/2014/main" id="{2D63E91F-7C50-4944-B1AC-430EC102DAF7}"/>
              </a:ext>
            </a:extLst>
          </p:cNvPr>
          <p:cNvSpPr>
            <a:spLocks noGrp="1"/>
          </p:cNvSpPr>
          <p:nvPr userDrawn="1">
            <p:ph type="ctrTitle"/>
          </p:nvPr>
        </p:nvSpPr>
        <p:spPr bwMode="gray">
          <a:xfrm>
            <a:off x="0" y="4473970"/>
            <a:ext cx="8640000" cy="815613"/>
          </a:xfrm>
          <a:noFill/>
        </p:spPr>
        <p:txBody>
          <a:bodyPr wrap="square" lIns="525600" tIns="36000" rIns="216000" bIns="432000" anchor="t">
            <a:spAutoFit/>
          </a:bodyPr>
          <a:lstStyle>
            <a:lvl1pPr algn="l">
              <a:defRPr sz="2600" b="1">
                <a:solidFill>
                  <a:schemeClr val="lt1"/>
                </a:solidFill>
              </a:defRPr>
            </a:lvl1pPr>
          </a:lstStyle>
          <a:p>
            <a:r>
              <a:rPr lang="de-DE"/>
              <a:t>Mastertitelformat bearbeiten</a:t>
            </a:r>
            <a:endParaRPr lang="en-US"/>
          </a:p>
        </p:txBody>
      </p:sp>
      <p:sp>
        <p:nvSpPr>
          <p:cNvPr id="6" name="slide number">
            <a:extLst>
              <a:ext uri="{FF2B5EF4-FFF2-40B4-BE49-F238E27FC236}">
                <a16:creationId xmlns:a16="http://schemas.microsoft.com/office/drawing/2014/main" id="{F1423FEB-CFD7-4376-A0C4-D91B3BE0287A}"/>
              </a:ext>
            </a:extLst>
          </p:cNvPr>
          <p:cNvSpPr>
            <a:spLocks noGrp="1"/>
          </p:cNvSpPr>
          <p:nvPr userDrawn="1">
            <p:ph type="sldNum" sz="quarter" idx="12"/>
          </p:nvPr>
        </p:nvSpPr>
        <p:spPr bwMode="gray">
          <a:xfrm>
            <a:off x="525600" y="7200000"/>
            <a:ext cx="234000" cy="180000"/>
          </a:xfrm>
        </p:spPr>
        <p:txBody>
          <a:bodyPr lIns="0" tIns="0" rIns="0" bIns="0"/>
          <a:lstStyle/>
          <a:p>
            <a:fld id="{9829449A-3FF3-45CE-9F4F-09BADC0910C6}" type="slidenum">
              <a:rPr lang="en-US" smtClean="0"/>
              <a:t>‹Nr.›</a:t>
            </a:fld>
            <a:endParaRPr lang="en-US"/>
          </a:p>
        </p:txBody>
      </p:sp>
      <p:sp>
        <p:nvSpPr>
          <p:cNvPr id="5" name="footer">
            <a:extLst>
              <a:ext uri="{FF2B5EF4-FFF2-40B4-BE49-F238E27FC236}">
                <a16:creationId xmlns:a16="http://schemas.microsoft.com/office/drawing/2014/main" id="{190677E9-326C-4EF5-ADE8-5E9E2D32D3E6}"/>
              </a:ext>
            </a:extLst>
          </p:cNvPr>
          <p:cNvSpPr>
            <a:spLocks noGrp="1"/>
          </p:cNvSpPr>
          <p:nvPr userDrawn="1">
            <p:ph type="ftr" sz="quarter" idx="11"/>
          </p:nvPr>
        </p:nvSpPr>
        <p:spPr bwMode="gray">
          <a:xfrm>
            <a:off x="763200" y="7200000"/>
            <a:ext cx="7880400" cy="180000"/>
          </a:xfrm>
        </p:spPr>
        <p:txBody>
          <a:bodyPr lIns="0" tIns="0" rIns="0" bIns="0"/>
          <a:lstStyle/>
          <a:p>
            <a:endParaRPr lang="en-US"/>
          </a:p>
        </p:txBody>
      </p:sp>
      <p:grpSp>
        <p:nvGrpSpPr>
          <p:cNvPr id="39" name="logo drees&amp;sommer blue">
            <a:extLst>
              <a:ext uri="{FF2B5EF4-FFF2-40B4-BE49-F238E27FC236}">
                <a16:creationId xmlns:a16="http://schemas.microsoft.com/office/drawing/2014/main" id="{0CCF1FE9-9EED-4594-A92C-DD201C6ABDFC}"/>
              </a:ext>
            </a:extLst>
          </p:cNvPr>
          <p:cNvGrpSpPr>
            <a:grpSpLocks noChangeAspect="1"/>
          </p:cNvGrpSpPr>
          <p:nvPr userDrawn="1"/>
        </p:nvGrpSpPr>
        <p:grpSpPr bwMode="gray">
          <a:xfrm>
            <a:off x="10716797" y="6331912"/>
            <a:ext cx="948154" cy="286131"/>
            <a:chOff x="95247" y="1619247"/>
            <a:chExt cx="12004075" cy="3622552"/>
          </a:xfrm>
          <a:solidFill>
            <a:schemeClr val="bg1"/>
          </a:solidFill>
        </p:grpSpPr>
        <p:sp>
          <p:nvSpPr>
            <p:cNvPr id="40" name="d">
              <a:extLst>
                <a:ext uri="{FF2B5EF4-FFF2-40B4-BE49-F238E27FC236}">
                  <a16:creationId xmlns:a16="http://schemas.microsoft.com/office/drawing/2014/main" id="{A827BA19-0031-43AB-8B7F-94F21075A307}"/>
                </a:ext>
              </a:extLst>
            </p:cNvPr>
            <p:cNvSpPr/>
            <p:nvPr/>
          </p:nvSpPr>
          <p:spPr bwMode="gray">
            <a:xfrm>
              <a:off x="146585" y="1619247"/>
              <a:ext cx="1890145" cy="1555528"/>
            </a:xfrm>
            <a:custGeom>
              <a:avLst/>
              <a:gdLst>
                <a:gd name="connsiteX0" fmla="*/ 361760 w 1890141"/>
                <a:gd name="connsiteY0" fmla="*/ 1263206 h 1555527"/>
                <a:gd name="connsiteX1" fmla="*/ 361760 w 1890141"/>
                <a:gd name="connsiteY1" fmla="*/ 277368 h 1555527"/>
                <a:gd name="connsiteX2" fmla="*/ 1003840 w 1890141"/>
                <a:gd name="connsiteY2" fmla="*/ 277368 h 1555527"/>
                <a:gd name="connsiteX3" fmla="*/ 1516380 w 1890141"/>
                <a:gd name="connsiteY3" fmla="*/ 762762 h 1555527"/>
                <a:gd name="connsiteX4" fmla="*/ 828961 w 1890141"/>
                <a:gd name="connsiteY4" fmla="*/ 1263206 h 1555527"/>
                <a:gd name="connsiteX5" fmla="*/ 361760 w 1890141"/>
                <a:gd name="connsiteY5" fmla="*/ 1263206 h 1555527"/>
                <a:gd name="connsiteX6" fmla="*/ 0 w 1890141"/>
                <a:gd name="connsiteY6" fmla="*/ 1555528 h 1555527"/>
                <a:gd name="connsiteX7" fmla="*/ 907447 w 1890141"/>
                <a:gd name="connsiteY7" fmla="*/ 1555528 h 1555527"/>
                <a:gd name="connsiteX8" fmla="*/ 1546574 w 1890141"/>
                <a:gd name="connsiteY8" fmla="*/ 1435037 h 1555527"/>
                <a:gd name="connsiteX9" fmla="*/ 1890141 w 1890141"/>
                <a:gd name="connsiteY9" fmla="*/ 768763 h 1555527"/>
                <a:gd name="connsiteX10" fmla="*/ 1000792 w 1890141"/>
                <a:gd name="connsiteY10" fmla="*/ 0 h 1555527"/>
                <a:gd name="connsiteX11" fmla="*/ 0 w 1890141"/>
                <a:gd name="connsiteY11" fmla="*/ 0 h 1555527"/>
                <a:gd name="connsiteX12" fmla="*/ 0 w 1890141"/>
                <a:gd name="connsiteY12" fmla="*/ 1555528 h 155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90141" h="1555527">
                  <a:moveTo>
                    <a:pt x="361760" y="1263206"/>
                  </a:moveTo>
                  <a:lnTo>
                    <a:pt x="361760" y="277368"/>
                  </a:lnTo>
                  <a:lnTo>
                    <a:pt x="1003840" y="277368"/>
                  </a:lnTo>
                  <a:cubicBezTo>
                    <a:pt x="1344549" y="277368"/>
                    <a:pt x="1516380" y="446246"/>
                    <a:pt x="1516380" y="762762"/>
                  </a:cubicBezTo>
                  <a:cubicBezTo>
                    <a:pt x="1516380" y="1148620"/>
                    <a:pt x="1287209" y="1263206"/>
                    <a:pt x="828961" y="1263206"/>
                  </a:cubicBezTo>
                  <a:lnTo>
                    <a:pt x="361760" y="1263206"/>
                  </a:lnTo>
                  <a:close/>
                  <a:moveTo>
                    <a:pt x="0" y="1555528"/>
                  </a:moveTo>
                  <a:lnTo>
                    <a:pt x="907447" y="1555528"/>
                  </a:lnTo>
                  <a:cubicBezTo>
                    <a:pt x="1184624" y="1555528"/>
                    <a:pt x="1395698" y="1528382"/>
                    <a:pt x="1546574" y="1435037"/>
                  </a:cubicBezTo>
                  <a:cubicBezTo>
                    <a:pt x="1763649" y="1302353"/>
                    <a:pt x="1890141" y="1061180"/>
                    <a:pt x="1890141" y="768763"/>
                  </a:cubicBezTo>
                  <a:cubicBezTo>
                    <a:pt x="1890141" y="286417"/>
                    <a:pt x="1582769" y="0"/>
                    <a:pt x="1000792" y="0"/>
                  </a:cubicBezTo>
                  <a:lnTo>
                    <a:pt x="0" y="0"/>
                  </a:lnTo>
                  <a:lnTo>
                    <a:pt x="0" y="1555528"/>
                  </a:lnTo>
                  <a:close/>
                </a:path>
              </a:pathLst>
            </a:custGeom>
            <a:grpFill/>
            <a:ln w="9525" cap="flat">
              <a:noFill/>
              <a:prstDash val="solid"/>
              <a:miter/>
            </a:ln>
          </p:spPr>
          <p:txBody>
            <a:bodyPr lIns="0" tIns="0" rIns="0" bIns="0" rtlCol="0" anchor="ctr"/>
            <a:lstStyle/>
            <a:p>
              <a:endParaRPr lang="de-DE" sz="100"/>
            </a:p>
          </p:txBody>
        </p:sp>
        <p:sp>
          <p:nvSpPr>
            <p:cNvPr id="41" name="r">
              <a:extLst>
                <a:ext uri="{FF2B5EF4-FFF2-40B4-BE49-F238E27FC236}">
                  <a16:creationId xmlns:a16="http://schemas.microsoft.com/office/drawing/2014/main" id="{854BA455-6333-4F0A-8DC4-6E5E9A1FE2E1}"/>
                </a:ext>
              </a:extLst>
            </p:cNvPr>
            <p:cNvSpPr/>
            <p:nvPr/>
          </p:nvSpPr>
          <p:spPr bwMode="gray">
            <a:xfrm>
              <a:off x="2405150" y="1899664"/>
              <a:ext cx="1579811" cy="1275112"/>
            </a:xfrm>
            <a:custGeom>
              <a:avLst/>
              <a:gdLst>
                <a:gd name="connsiteX0" fmla="*/ 1015937 w 1579816"/>
                <a:gd name="connsiteY0" fmla="*/ 220028 h 1275111"/>
                <a:gd name="connsiteX1" fmla="*/ 1157668 w 1579816"/>
                <a:gd name="connsiteY1" fmla="*/ 322517 h 1275111"/>
                <a:gd name="connsiteX2" fmla="*/ 1157668 w 1579816"/>
                <a:gd name="connsiteY2" fmla="*/ 470249 h 1275111"/>
                <a:gd name="connsiteX3" fmla="*/ 1015937 w 1579816"/>
                <a:gd name="connsiteY3" fmla="*/ 572738 h 1275111"/>
                <a:gd name="connsiteX4" fmla="*/ 307467 w 1579816"/>
                <a:gd name="connsiteY4" fmla="*/ 572738 h 1275111"/>
                <a:gd name="connsiteX5" fmla="*/ 307467 w 1579816"/>
                <a:gd name="connsiteY5" fmla="*/ 220028 h 1275111"/>
                <a:gd name="connsiteX6" fmla="*/ 1015937 w 1579816"/>
                <a:gd name="connsiteY6" fmla="*/ 220028 h 1275111"/>
                <a:gd name="connsiteX7" fmla="*/ 0 w 1579816"/>
                <a:gd name="connsiteY7" fmla="*/ 1275112 h 1275111"/>
                <a:gd name="connsiteX8" fmla="*/ 307562 w 1579816"/>
                <a:gd name="connsiteY8" fmla="*/ 1275112 h 1275111"/>
                <a:gd name="connsiteX9" fmla="*/ 307562 w 1579816"/>
                <a:gd name="connsiteY9" fmla="*/ 792671 h 1275111"/>
                <a:gd name="connsiteX10" fmla="*/ 599980 w 1579816"/>
                <a:gd name="connsiteY10" fmla="*/ 792671 h 1275111"/>
                <a:gd name="connsiteX11" fmla="*/ 1133570 w 1579816"/>
                <a:gd name="connsiteY11" fmla="*/ 1275112 h 1275111"/>
                <a:gd name="connsiteX12" fmla="*/ 1579817 w 1579816"/>
                <a:gd name="connsiteY12" fmla="*/ 1275112 h 1275111"/>
                <a:gd name="connsiteX13" fmla="*/ 973741 w 1579816"/>
                <a:gd name="connsiteY13" fmla="*/ 792671 h 1275111"/>
                <a:gd name="connsiteX14" fmla="*/ 1148620 w 1579816"/>
                <a:gd name="connsiteY14" fmla="*/ 792671 h 1275111"/>
                <a:gd name="connsiteX15" fmla="*/ 1447133 w 1579816"/>
                <a:gd name="connsiteY15" fmla="*/ 548640 h 1275111"/>
                <a:gd name="connsiteX16" fmla="*/ 1447133 w 1579816"/>
                <a:gd name="connsiteY16" fmla="*/ 247174 h 1275111"/>
                <a:gd name="connsiteX17" fmla="*/ 1148620 w 1579816"/>
                <a:gd name="connsiteY17" fmla="*/ 0 h 1275111"/>
                <a:gd name="connsiteX18" fmla="*/ 0 w 1579816"/>
                <a:gd name="connsiteY18" fmla="*/ 0 h 1275111"/>
                <a:gd name="connsiteX19" fmla="*/ 0 w 1579816"/>
                <a:gd name="connsiteY19" fmla="*/ 1275112 h 127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79816" h="1275111">
                  <a:moveTo>
                    <a:pt x="1015937" y="220028"/>
                  </a:moveTo>
                  <a:cubicBezTo>
                    <a:pt x="1109282" y="220028"/>
                    <a:pt x="1157668" y="238220"/>
                    <a:pt x="1157668" y="322517"/>
                  </a:cubicBezTo>
                  <a:lnTo>
                    <a:pt x="1157668" y="470249"/>
                  </a:lnTo>
                  <a:cubicBezTo>
                    <a:pt x="1157668" y="554736"/>
                    <a:pt x="1109282" y="572738"/>
                    <a:pt x="1015937" y="572738"/>
                  </a:cubicBezTo>
                  <a:lnTo>
                    <a:pt x="307467" y="572738"/>
                  </a:lnTo>
                  <a:lnTo>
                    <a:pt x="307467" y="220028"/>
                  </a:lnTo>
                  <a:lnTo>
                    <a:pt x="1015937" y="220028"/>
                  </a:lnTo>
                  <a:close/>
                  <a:moveTo>
                    <a:pt x="0" y="1275112"/>
                  </a:moveTo>
                  <a:lnTo>
                    <a:pt x="307562" y="1275112"/>
                  </a:lnTo>
                  <a:lnTo>
                    <a:pt x="307562" y="792671"/>
                  </a:lnTo>
                  <a:lnTo>
                    <a:pt x="599980" y="792671"/>
                  </a:lnTo>
                  <a:lnTo>
                    <a:pt x="1133570" y="1275112"/>
                  </a:lnTo>
                  <a:lnTo>
                    <a:pt x="1579817" y="1275112"/>
                  </a:lnTo>
                  <a:lnTo>
                    <a:pt x="973741" y="792671"/>
                  </a:lnTo>
                  <a:lnTo>
                    <a:pt x="1148620" y="792671"/>
                  </a:lnTo>
                  <a:cubicBezTo>
                    <a:pt x="1353693" y="792671"/>
                    <a:pt x="1447133" y="723329"/>
                    <a:pt x="1447133" y="548640"/>
                  </a:cubicBezTo>
                  <a:lnTo>
                    <a:pt x="1447133" y="247174"/>
                  </a:lnTo>
                  <a:cubicBezTo>
                    <a:pt x="1447133" y="69342"/>
                    <a:pt x="1353598" y="0"/>
                    <a:pt x="1148620" y="0"/>
                  </a:cubicBezTo>
                  <a:lnTo>
                    <a:pt x="0" y="0"/>
                  </a:lnTo>
                  <a:lnTo>
                    <a:pt x="0" y="1275112"/>
                  </a:lnTo>
                  <a:close/>
                </a:path>
              </a:pathLst>
            </a:custGeom>
            <a:grpFill/>
            <a:ln w="9525" cap="flat">
              <a:noFill/>
              <a:prstDash val="solid"/>
              <a:miter/>
            </a:ln>
          </p:spPr>
          <p:txBody>
            <a:bodyPr lIns="0" tIns="0" rIns="0" bIns="0" rtlCol="0" anchor="ctr"/>
            <a:lstStyle/>
            <a:p>
              <a:endParaRPr lang="de-DE" sz="100"/>
            </a:p>
          </p:txBody>
        </p:sp>
        <p:sp>
          <p:nvSpPr>
            <p:cNvPr id="42" name="e">
              <a:extLst>
                <a:ext uri="{FF2B5EF4-FFF2-40B4-BE49-F238E27FC236}">
                  <a16:creationId xmlns:a16="http://schemas.microsoft.com/office/drawing/2014/main" id="{A55DAAC1-425A-45C3-8C31-CE7FC8B62343}"/>
                </a:ext>
              </a:extLst>
            </p:cNvPr>
            <p:cNvSpPr/>
            <p:nvPr/>
          </p:nvSpPr>
          <p:spPr bwMode="gray">
            <a:xfrm>
              <a:off x="4279102" y="1899664"/>
              <a:ext cx="1383701" cy="1275112"/>
            </a:xfrm>
            <a:custGeom>
              <a:avLst/>
              <a:gdLst>
                <a:gd name="connsiteX0" fmla="*/ 0 w 1383696"/>
                <a:gd name="connsiteY0" fmla="*/ 1275112 h 1275111"/>
                <a:gd name="connsiteX1" fmla="*/ 1383697 w 1383696"/>
                <a:gd name="connsiteY1" fmla="*/ 1275112 h 1275111"/>
                <a:gd name="connsiteX2" fmla="*/ 1383697 w 1383696"/>
                <a:gd name="connsiteY2" fmla="*/ 1036987 h 1275111"/>
                <a:gd name="connsiteX3" fmla="*/ 313563 w 1383696"/>
                <a:gd name="connsiteY3" fmla="*/ 1036987 h 1275111"/>
                <a:gd name="connsiteX4" fmla="*/ 313563 w 1383696"/>
                <a:gd name="connsiteY4" fmla="*/ 723424 h 1275111"/>
                <a:gd name="connsiteX5" fmla="*/ 928497 w 1383696"/>
                <a:gd name="connsiteY5" fmla="*/ 723424 h 1275111"/>
                <a:gd name="connsiteX6" fmla="*/ 928497 w 1383696"/>
                <a:gd name="connsiteY6" fmla="*/ 503396 h 1275111"/>
                <a:gd name="connsiteX7" fmla="*/ 313563 w 1383696"/>
                <a:gd name="connsiteY7" fmla="*/ 503396 h 1275111"/>
                <a:gd name="connsiteX8" fmla="*/ 313563 w 1383696"/>
                <a:gd name="connsiteY8" fmla="*/ 226028 h 1275111"/>
                <a:gd name="connsiteX9" fmla="*/ 1368743 w 1383696"/>
                <a:gd name="connsiteY9" fmla="*/ 226028 h 1275111"/>
                <a:gd name="connsiteX10" fmla="*/ 1368743 w 1383696"/>
                <a:gd name="connsiteY10" fmla="*/ 0 h 1275111"/>
                <a:gd name="connsiteX11" fmla="*/ 0 w 1383696"/>
                <a:gd name="connsiteY11" fmla="*/ 0 h 127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3696" h="1275111">
                  <a:moveTo>
                    <a:pt x="0" y="1275112"/>
                  </a:moveTo>
                  <a:lnTo>
                    <a:pt x="1383697" y="1275112"/>
                  </a:lnTo>
                  <a:lnTo>
                    <a:pt x="1383697" y="1036987"/>
                  </a:lnTo>
                  <a:lnTo>
                    <a:pt x="313563" y="1036987"/>
                  </a:lnTo>
                  <a:lnTo>
                    <a:pt x="313563" y="723424"/>
                  </a:lnTo>
                  <a:lnTo>
                    <a:pt x="928497" y="723424"/>
                  </a:lnTo>
                  <a:lnTo>
                    <a:pt x="928497" y="503396"/>
                  </a:lnTo>
                  <a:lnTo>
                    <a:pt x="313563" y="503396"/>
                  </a:lnTo>
                  <a:lnTo>
                    <a:pt x="313563" y="226028"/>
                  </a:lnTo>
                  <a:lnTo>
                    <a:pt x="1368743" y="226028"/>
                  </a:lnTo>
                  <a:lnTo>
                    <a:pt x="1368743" y="0"/>
                  </a:lnTo>
                  <a:lnTo>
                    <a:pt x="0" y="0"/>
                  </a:lnTo>
                  <a:close/>
                </a:path>
              </a:pathLst>
            </a:custGeom>
            <a:grpFill/>
            <a:ln w="9525" cap="flat">
              <a:noFill/>
              <a:prstDash val="solid"/>
              <a:miter/>
            </a:ln>
          </p:spPr>
          <p:txBody>
            <a:bodyPr lIns="0" tIns="0" rIns="0" bIns="0" rtlCol="0" anchor="ctr"/>
            <a:lstStyle/>
            <a:p>
              <a:endParaRPr lang="de-DE" sz="100"/>
            </a:p>
          </p:txBody>
        </p:sp>
        <p:sp>
          <p:nvSpPr>
            <p:cNvPr id="43" name="e">
              <a:extLst>
                <a:ext uri="{FF2B5EF4-FFF2-40B4-BE49-F238E27FC236}">
                  <a16:creationId xmlns:a16="http://schemas.microsoft.com/office/drawing/2014/main" id="{413D895E-9806-45BF-85B1-7F95C4BFE60B}"/>
                </a:ext>
              </a:extLst>
            </p:cNvPr>
            <p:cNvSpPr/>
            <p:nvPr/>
          </p:nvSpPr>
          <p:spPr bwMode="gray">
            <a:xfrm>
              <a:off x="6022562" y="1899664"/>
              <a:ext cx="1383701" cy="1275112"/>
            </a:xfrm>
            <a:custGeom>
              <a:avLst/>
              <a:gdLst>
                <a:gd name="connsiteX0" fmla="*/ 0 w 1383696"/>
                <a:gd name="connsiteY0" fmla="*/ 1275112 h 1275111"/>
                <a:gd name="connsiteX1" fmla="*/ 1383697 w 1383696"/>
                <a:gd name="connsiteY1" fmla="*/ 1275112 h 1275111"/>
                <a:gd name="connsiteX2" fmla="*/ 1383697 w 1383696"/>
                <a:gd name="connsiteY2" fmla="*/ 1036987 h 1275111"/>
                <a:gd name="connsiteX3" fmla="*/ 313563 w 1383696"/>
                <a:gd name="connsiteY3" fmla="*/ 1036987 h 1275111"/>
                <a:gd name="connsiteX4" fmla="*/ 313563 w 1383696"/>
                <a:gd name="connsiteY4" fmla="*/ 723424 h 1275111"/>
                <a:gd name="connsiteX5" fmla="*/ 928497 w 1383696"/>
                <a:gd name="connsiteY5" fmla="*/ 723424 h 1275111"/>
                <a:gd name="connsiteX6" fmla="*/ 928497 w 1383696"/>
                <a:gd name="connsiteY6" fmla="*/ 503396 h 1275111"/>
                <a:gd name="connsiteX7" fmla="*/ 313563 w 1383696"/>
                <a:gd name="connsiteY7" fmla="*/ 503396 h 1275111"/>
                <a:gd name="connsiteX8" fmla="*/ 313563 w 1383696"/>
                <a:gd name="connsiteY8" fmla="*/ 226028 h 1275111"/>
                <a:gd name="connsiteX9" fmla="*/ 1368743 w 1383696"/>
                <a:gd name="connsiteY9" fmla="*/ 226028 h 1275111"/>
                <a:gd name="connsiteX10" fmla="*/ 1368743 w 1383696"/>
                <a:gd name="connsiteY10" fmla="*/ 0 h 1275111"/>
                <a:gd name="connsiteX11" fmla="*/ 0 w 1383696"/>
                <a:gd name="connsiteY11" fmla="*/ 0 h 127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3696" h="1275111">
                  <a:moveTo>
                    <a:pt x="0" y="1275112"/>
                  </a:moveTo>
                  <a:lnTo>
                    <a:pt x="1383697" y="1275112"/>
                  </a:lnTo>
                  <a:lnTo>
                    <a:pt x="1383697" y="1036987"/>
                  </a:lnTo>
                  <a:lnTo>
                    <a:pt x="313563" y="1036987"/>
                  </a:lnTo>
                  <a:lnTo>
                    <a:pt x="313563" y="723424"/>
                  </a:lnTo>
                  <a:lnTo>
                    <a:pt x="928497" y="723424"/>
                  </a:lnTo>
                  <a:lnTo>
                    <a:pt x="928497" y="503396"/>
                  </a:lnTo>
                  <a:lnTo>
                    <a:pt x="313563" y="503396"/>
                  </a:lnTo>
                  <a:lnTo>
                    <a:pt x="313563" y="226028"/>
                  </a:lnTo>
                  <a:lnTo>
                    <a:pt x="1368743" y="226028"/>
                  </a:lnTo>
                  <a:lnTo>
                    <a:pt x="1368743" y="0"/>
                  </a:lnTo>
                  <a:lnTo>
                    <a:pt x="0" y="0"/>
                  </a:lnTo>
                  <a:close/>
                </a:path>
              </a:pathLst>
            </a:custGeom>
            <a:grpFill/>
            <a:ln w="9525" cap="flat">
              <a:noFill/>
              <a:prstDash val="solid"/>
              <a:miter/>
            </a:ln>
          </p:spPr>
          <p:txBody>
            <a:bodyPr lIns="0" tIns="0" rIns="0" bIns="0" rtlCol="0" anchor="ctr"/>
            <a:lstStyle/>
            <a:p>
              <a:endParaRPr lang="de-DE" sz="100"/>
            </a:p>
          </p:txBody>
        </p:sp>
        <p:sp>
          <p:nvSpPr>
            <p:cNvPr id="44" name="s">
              <a:extLst>
                <a:ext uri="{FF2B5EF4-FFF2-40B4-BE49-F238E27FC236}">
                  <a16:creationId xmlns:a16="http://schemas.microsoft.com/office/drawing/2014/main" id="{66C9D14D-5BBA-4416-936D-6D81F9E65339}"/>
                </a:ext>
              </a:extLst>
            </p:cNvPr>
            <p:cNvSpPr/>
            <p:nvPr/>
          </p:nvSpPr>
          <p:spPr bwMode="gray">
            <a:xfrm>
              <a:off x="7714204" y="1899664"/>
              <a:ext cx="1495239" cy="1275213"/>
            </a:xfrm>
            <a:custGeom>
              <a:avLst/>
              <a:gdLst>
                <a:gd name="connsiteX0" fmla="*/ 1211770 w 1495234"/>
                <a:gd name="connsiteY0" fmla="*/ 229076 h 1275207"/>
                <a:gd name="connsiteX1" fmla="*/ 1211770 w 1495234"/>
                <a:gd name="connsiteY1" fmla="*/ 348234 h 1275207"/>
                <a:gd name="connsiteX2" fmla="*/ 1479995 w 1495234"/>
                <a:gd name="connsiteY2" fmla="*/ 291084 h 1275207"/>
                <a:gd name="connsiteX3" fmla="*/ 1479995 w 1495234"/>
                <a:gd name="connsiteY3" fmla="*/ 277368 h 1275207"/>
                <a:gd name="connsiteX4" fmla="*/ 1145477 w 1495234"/>
                <a:gd name="connsiteY4" fmla="*/ 0 h 1275207"/>
                <a:gd name="connsiteX5" fmla="*/ 388905 w 1495234"/>
                <a:gd name="connsiteY5" fmla="*/ 0 h 1275207"/>
                <a:gd name="connsiteX6" fmla="*/ 54197 w 1495234"/>
                <a:gd name="connsiteY6" fmla="*/ 301561 h 1275207"/>
                <a:gd name="connsiteX7" fmla="*/ 54197 w 1495234"/>
                <a:gd name="connsiteY7" fmla="*/ 443294 h 1275207"/>
                <a:gd name="connsiteX8" fmla="*/ 388905 w 1495234"/>
                <a:gd name="connsiteY8" fmla="*/ 744665 h 1275207"/>
                <a:gd name="connsiteX9" fmla="*/ 1214818 w 1495234"/>
                <a:gd name="connsiteY9" fmla="*/ 744665 h 1275207"/>
                <a:gd name="connsiteX10" fmla="*/ 1214818 w 1495234"/>
                <a:gd name="connsiteY10" fmla="*/ 1037177 h 1275207"/>
                <a:gd name="connsiteX11" fmla="*/ 277177 w 1495234"/>
                <a:gd name="connsiteY11" fmla="*/ 1037177 h 1275207"/>
                <a:gd name="connsiteX12" fmla="*/ 277177 w 1495234"/>
                <a:gd name="connsiteY12" fmla="*/ 902875 h 1275207"/>
                <a:gd name="connsiteX13" fmla="*/ 0 w 1495234"/>
                <a:gd name="connsiteY13" fmla="*/ 954214 h 1275207"/>
                <a:gd name="connsiteX14" fmla="*/ 0 w 1495234"/>
                <a:gd name="connsiteY14" fmla="*/ 973836 h 1275207"/>
                <a:gd name="connsiteX15" fmla="*/ 334518 w 1495234"/>
                <a:gd name="connsiteY15" fmla="*/ 1275207 h 1275207"/>
                <a:gd name="connsiteX16" fmla="*/ 1163669 w 1495234"/>
                <a:gd name="connsiteY16" fmla="*/ 1275207 h 1275207"/>
                <a:gd name="connsiteX17" fmla="*/ 1495234 w 1495234"/>
                <a:gd name="connsiteY17" fmla="*/ 973836 h 1275207"/>
                <a:gd name="connsiteX18" fmla="*/ 1495234 w 1495234"/>
                <a:gd name="connsiteY18" fmla="*/ 798957 h 1275207"/>
                <a:gd name="connsiteX19" fmla="*/ 1163669 w 1495234"/>
                <a:gd name="connsiteY19" fmla="*/ 497586 h 1275207"/>
                <a:gd name="connsiteX20" fmla="*/ 334518 w 1495234"/>
                <a:gd name="connsiteY20" fmla="*/ 497586 h 1275207"/>
                <a:gd name="connsiteX21" fmla="*/ 334518 w 1495234"/>
                <a:gd name="connsiteY21" fmla="*/ 229076 h 1275207"/>
                <a:gd name="connsiteX22" fmla="*/ 1211770 w 1495234"/>
                <a:gd name="connsiteY22" fmla="*/ 229076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95234" h="1275207">
                  <a:moveTo>
                    <a:pt x="1211770" y="229076"/>
                  </a:moveTo>
                  <a:lnTo>
                    <a:pt x="1211770" y="348234"/>
                  </a:lnTo>
                  <a:lnTo>
                    <a:pt x="1479995" y="291084"/>
                  </a:lnTo>
                  <a:lnTo>
                    <a:pt x="1479995" y="277368"/>
                  </a:lnTo>
                  <a:cubicBezTo>
                    <a:pt x="1479995" y="54388"/>
                    <a:pt x="1380649" y="0"/>
                    <a:pt x="1145477" y="0"/>
                  </a:cubicBezTo>
                  <a:lnTo>
                    <a:pt x="388905" y="0"/>
                  </a:lnTo>
                  <a:cubicBezTo>
                    <a:pt x="138684" y="0"/>
                    <a:pt x="54197" y="60388"/>
                    <a:pt x="54197" y="301561"/>
                  </a:cubicBezTo>
                  <a:lnTo>
                    <a:pt x="54197" y="443294"/>
                  </a:lnTo>
                  <a:cubicBezTo>
                    <a:pt x="54197" y="684467"/>
                    <a:pt x="138684" y="744665"/>
                    <a:pt x="388905" y="744665"/>
                  </a:cubicBezTo>
                  <a:lnTo>
                    <a:pt x="1214818" y="744665"/>
                  </a:lnTo>
                  <a:lnTo>
                    <a:pt x="1214818" y="1037177"/>
                  </a:lnTo>
                  <a:lnTo>
                    <a:pt x="277177" y="1037177"/>
                  </a:lnTo>
                  <a:lnTo>
                    <a:pt x="277177" y="902875"/>
                  </a:lnTo>
                  <a:lnTo>
                    <a:pt x="0" y="954214"/>
                  </a:lnTo>
                  <a:lnTo>
                    <a:pt x="0" y="973836"/>
                  </a:lnTo>
                  <a:cubicBezTo>
                    <a:pt x="0" y="1212056"/>
                    <a:pt x="81343" y="1275207"/>
                    <a:pt x="334518" y="1275207"/>
                  </a:cubicBezTo>
                  <a:lnTo>
                    <a:pt x="1163669" y="1275207"/>
                  </a:lnTo>
                  <a:cubicBezTo>
                    <a:pt x="1416844" y="1275207"/>
                    <a:pt x="1495234" y="1212056"/>
                    <a:pt x="1495234" y="973836"/>
                  </a:cubicBezTo>
                  <a:lnTo>
                    <a:pt x="1495234" y="798957"/>
                  </a:lnTo>
                  <a:cubicBezTo>
                    <a:pt x="1495234" y="557784"/>
                    <a:pt x="1416939" y="497586"/>
                    <a:pt x="1163669" y="497586"/>
                  </a:cubicBezTo>
                  <a:lnTo>
                    <a:pt x="334518" y="497586"/>
                  </a:lnTo>
                  <a:lnTo>
                    <a:pt x="334518" y="229076"/>
                  </a:lnTo>
                  <a:lnTo>
                    <a:pt x="1211770" y="229076"/>
                  </a:lnTo>
                  <a:close/>
                </a:path>
              </a:pathLst>
            </a:custGeom>
            <a:grpFill/>
            <a:ln w="9525" cap="flat">
              <a:noFill/>
              <a:prstDash val="solid"/>
              <a:miter/>
            </a:ln>
          </p:spPr>
          <p:txBody>
            <a:bodyPr lIns="0" tIns="0" rIns="0" bIns="0" rtlCol="0" anchor="ctr"/>
            <a:lstStyle/>
            <a:p>
              <a:endParaRPr lang="de-DE" sz="100"/>
            </a:p>
          </p:txBody>
        </p:sp>
        <p:sp>
          <p:nvSpPr>
            <p:cNvPr id="45" name="&amp;">
              <a:extLst>
                <a:ext uri="{FF2B5EF4-FFF2-40B4-BE49-F238E27FC236}">
                  <a16:creationId xmlns:a16="http://schemas.microsoft.com/office/drawing/2014/main" id="{0A4D2596-6E2B-4C7C-878C-F5F6BE1B57C2}"/>
                </a:ext>
              </a:extLst>
            </p:cNvPr>
            <p:cNvSpPr/>
            <p:nvPr/>
          </p:nvSpPr>
          <p:spPr bwMode="gray">
            <a:xfrm>
              <a:off x="9995063" y="1619247"/>
              <a:ext cx="2104259" cy="1555528"/>
            </a:xfrm>
            <a:custGeom>
              <a:avLst/>
              <a:gdLst>
                <a:gd name="connsiteX0" fmla="*/ 304514 w 2104263"/>
                <a:gd name="connsiteY0" fmla="*/ 1284161 h 1555527"/>
                <a:gd name="connsiteX1" fmla="*/ 304514 w 2104263"/>
                <a:gd name="connsiteY1" fmla="*/ 1018985 h 1555527"/>
                <a:gd name="connsiteX2" fmla="*/ 702373 w 2104263"/>
                <a:gd name="connsiteY2" fmla="*/ 771811 h 1555527"/>
                <a:gd name="connsiteX3" fmla="*/ 1169575 w 2104263"/>
                <a:gd name="connsiteY3" fmla="*/ 1160717 h 1555527"/>
                <a:gd name="connsiteX4" fmla="*/ 1024890 w 2104263"/>
                <a:gd name="connsiteY4" fmla="*/ 1284256 h 1555527"/>
                <a:gd name="connsiteX5" fmla="*/ 304514 w 2104263"/>
                <a:gd name="connsiteY5" fmla="*/ 1284256 h 1555527"/>
                <a:gd name="connsiteX6" fmla="*/ 388811 w 2104263"/>
                <a:gd name="connsiteY6" fmla="*/ 1555528 h 1555527"/>
                <a:gd name="connsiteX7" fmla="*/ 943547 w 2104263"/>
                <a:gd name="connsiteY7" fmla="*/ 1555528 h 1555527"/>
                <a:gd name="connsiteX8" fmla="*/ 1235964 w 2104263"/>
                <a:gd name="connsiteY8" fmla="*/ 1461992 h 1555527"/>
                <a:gd name="connsiteX9" fmla="*/ 1374649 w 2104263"/>
                <a:gd name="connsiteY9" fmla="*/ 1338453 h 1555527"/>
                <a:gd name="connsiteX10" fmla="*/ 1630870 w 2104263"/>
                <a:gd name="connsiteY10" fmla="*/ 1555528 h 1555527"/>
                <a:gd name="connsiteX11" fmla="*/ 2104264 w 2104263"/>
                <a:gd name="connsiteY11" fmla="*/ 1555528 h 1555527"/>
                <a:gd name="connsiteX12" fmla="*/ 1612869 w 2104263"/>
                <a:gd name="connsiteY12" fmla="*/ 1142429 h 1555527"/>
                <a:gd name="connsiteX13" fmla="*/ 1971580 w 2104263"/>
                <a:gd name="connsiteY13" fmla="*/ 844106 h 1555527"/>
                <a:gd name="connsiteX14" fmla="*/ 1766507 w 2104263"/>
                <a:gd name="connsiteY14" fmla="*/ 666274 h 1555527"/>
                <a:gd name="connsiteX15" fmla="*/ 1404747 w 2104263"/>
                <a:gd name="connsiteY15" fmla="*/ 967645 h 1555527"/>
                <a:gd name="connsiteX16" fmla="*/ 672180 w 2104263"/>
                <a:gd name="connsiteY16" fmla="*/ 358712 h 1555527"/>
                <a:gd name="connsiteX17" fmla="*/ 672180 w 2104263"/>
                <a:gd name="connsiteY17" fmla="*/ 247174 h 1555527"/>
                <a:gd name="connsiteX18" fmla="*/ 1181767 w 2104263"/>
                <a:gd name="connsiteY18" fmla="*/ 247174 h 1555527"/>
                <a:gd name="connsiteX19" fmla="*/ 1181767 w 2104263"/>
                <a:gd name="connsiteY19" fmla="*/ 455295 h 1555527"/>
                <a:gd name="connsiteX20" fmla="*/ 1461992 w 2104263"/>
                <a:gd name="connsiteY20" fmla="*/ 407099 h 1555527"/>
                <a:gd name="connsiteX21" fmla="*/ 1461992 w 2104263"/>
                <a:gd name="connsiteY21" fmla="*/ 313563 h 1555527"/>
                <a:gd name="connsiteX22" fmla="*/ 1076134 w 2104263"/>
                <a:gd name="connsiteY22" fmla="*/ 0 h 1555527"/>
                <a:gd name="connsiteX23" fmla="*/ 762763 w 2104263"/>
                <a:gd name="connsiteY23" fmla="*/ 0 h 1555527"/>
                <a:gd name="connsiteX24" fmla="*/ 376905 w 2104263"/>
                <a:gd name="connsiteY24" fmla="*/ 283369 h 1555527"/>
                <a:gd name="connsiteX25" fmla="*/ 376905 w 2104263"/>
                <a:gd name="connsiteY25" fmla="*/ 370713 h 1555527"/>
                <a:gd name="connsiteX26" fmla="*/ 509588 w 2104263"/>
                <a:gd name="connsiteY26" fmla="*/ 605885 h 1555527"/>
                <a:gd name="connsiteX27" fmla="*/ 192881 w 2104263"/>
                <a:gd name="connsiteY27" fmla="*/ 795909 h 1555527"/>
                <a:gd name="connsiteX28" fmla="*/ 0 w 2104263"/>
                <a:gd name="connsiteY28" fmla="*/ 1085279 h 1555527"/>
                <a:gd name="connsiteX29" fmla="*/ 0 w 2104263"/>
                <a:gd name="connsiteY29" fmla="*/ 1187768 h 1555527"/>
                <a:gd name="connsiteX30" fmla="*/ 388811 w 2104263"/>
                <a:gd name="connsiteY30" fmla="*/ 1555528 h 155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104263" h="1555527">
                  <a:moveTo>
                    <a:pt x="304514" y="1284161"/>
                  </a:moveTo>
                  <a:lnTo>
                    <a:pt x="304514" y="1018985"/>
                  </a:lnTo>
                  <a:lnTo>
                    <a:pt x="702373" y="771811"/>
                  </a:lnTo>
                  <a:lnTo>
                    <a:pt x="1169575" y="1160717"/>
                  </a:lnTo>
                  <a:lnTo>
                    <a:pt x="1024890" y="1284256"/>
                  </a:lnTo>
                  <a:lnTo>
                    <a:pt x="304514" y="1284256"/>
                  </a:lnTo>
                  <a:close/>
                  <a:moveTo>
                    <a:pt x="388811" y="1555528"/>
                  </a:moveTo>
                  <a:lnTo>
                    <a:pt x="943547" y="1555528"/>
                  </a:lnTo>
                  <a:cubicBezTo>
                    <a:pt x="1073087" y="1555528"/>
                    <a:pt x="1136428" y="1549527"/>
                    <a:pt x="1235964" y="1461992"/>
                  </a:cubicBezTo>
                  <a:lnTo>
                    <a:pt x="1374649" y="1338453"/>
                  </a:lnTo>
                  <a:lnTo>
                    <a:pt x="1630870" y="1555528"/>
                  </a:lnTo>
                  <a:lnTo>
                    <a:pt x="2104264" y="1555528"/>
                  </a:lnTo>
                  <a:lnTo>
                    <a:pt x="1612869" y="1142429"/>
                  </a:lnTo>
                  <a:lnTo>
                    <a:pt x="1971580" y="844106"/>
                  </a:lnTo>
                  <a:lnTo>
                    <a:pt x="1766507" y="666274"/>
                  </a:lnTo>
                  <a:lnTo>
                    <a:pt x="1404747" y="967645"/>
                  </a:lnTo>
                  <a:lnTo>
                    <a:pt x="672180" y="358712"/>
                  </a:lnTo>
                  <a:lnTo>
                    <a:pt x="672180" y="247174"/>
                  </a:lnTo>
                  <a:lnTo>
                    <a:pt x="1181767" y="247174"/>
                  </a:lnTo>
                  <a:lnTo>
                    <a:pt x="1181767" y="455295"/>
                  </a:lnTo>
                  <a:lnTo>
                    <a:pt x="1461992" y="407099"/>
                  </a:lnTo>
                  <a:lnTo>
                    <a:pt x="1461992" y="313563"/>
                  </a:lnTo>
                  <a:cubicBezTo>
                    <a:pt x="1461992" y="60389"/>
                    <a:pt x="1356456" y="0"/>
                    <a:pt x="1076134" y="0"/>
                  </a:cubicBezTo>
                  <a:lnTo>
                    <a:pt x="762763" y="0"/>
                  </a:lnTo>
                  <a:cubicBezTo>
                    <a:pt x="497395" y="0"/>
                    <a:pt x="376905" y="60389"/>
                    <a:pt x="376905" y="283369"/>
                  </a:cubicBezTo>
                  <a:lnTo>
                    <a:pt x="376905" y="370713"/>
                  </a:lnTo>
                  <a:cubicBezTo>
                    <a:pt x="376905" y="461200"/>
                    <a:pt x="419100" y="530543"/>
                    <a:pt x="509588" y="605885"/>
                  </a:cubicBezTo>
                  <a:lnTo>
                    <a:pt x="192881" y="795909"/>
                  </a:lnTo>
                  <a:cubicBezTo>
                    <a:pt x="57341" y="877253"/>
                    <a:pt x="0" y="925449"/>
                    <a:pt x="0" y="1085279"/>
                  </a:cubicBezTo>
                  <a:lnTo>
                    <a:pt x="0" y="1187768"/>
                  </a:lnTo>
                  <a:cubicBezTo>
                    <a:pt x="0" y="1480185"/>
                    <a:pt x="96488" y="1555528"/>
                    <a:pt x="388811" y="1555528"/>
                  </a:cubicBezTo>
                </a:path>
              </a:pathLst>
            </a:custGeom>
            <a:grpFill/>
            <a:ln w="9525" cap="flat">
              <a:noFill/>
              <a:prstDash val="solid"/>
              <a:miter/>
            </a:ln>
          </p:spPr>
          <p:txBody>
            <a:bodyPr lIns="0" tIns="0" rIns="0" bIns="0" rtlCol="0" anchor="ctr"/>
            <a:lstStyle/>
            <a:p>
              <a:endParaRPr lang="de-DE" sz="100"/>
            </a:p>
          </p:txBody>
        </p:sp>
        <p:sp>
          <p:nvSpPr>
            <p:cNvPr id="46" name="s">
              <a:extLst>
                <a:ext uri="{FF2B5EF4-FFF2-40B4-BE49-F238E27FC236}">
                  <a16:creationId xmlns:a16="http://schemas.microsoft.com/office/drawing/2014/main" id="{50F341F9-7140-45E0-8BFC-09D7D4A6F7AC}"/>
                </a:ext>
              </a:extLst>
            </p:cNvPr>
            <p:cNvSpPr/>
            <p:nvPr/>
          </p:nvSpPr>
          <p:spPr bwMode="gray">
            <a:xfrm>
              <a:off x="95247" y="3686081"/>
              <a:ext cx="1739650" cy="1555528"/>
            </a:xfrm>
            <a:custGeom>
              <a:avLst/>
              <a:gdLst>
                <a:gd name="connsiteX0" fmla="*/ 1398842 w 1739645"/>
                <a:gd name="connsiteY0" fmla="*/ 271367 h 1555527"/>
                <a:gd name="connsiteX1" fmla="*/ 1398842 w 1739645"/>
                <a:gd name="connsiteY1" fmla="*/ 439865 h 1555527"/>
                <a:gd name="connsiteX2" fmla="*/ 1718405 w 1739645"/>
                <a:gd name="connsiteY2" fmla="*/ 364522 h 1555527"/>
                <a:gd name="connsiteX3" fmla="*/ 1718405 w 1739645"/>
                <a:gd name="connsiteY3" fmla="*/ 340709 h 1555527"/>
                <a:gd name="connsiteX4" fmla="*/ 1332548 w 1739645"/>
                <a:gd name="connsiteY4" fmla="*/ 0 h 1555527"/>
                <a:gd name="connsiteX5" fmla="*/ 449199 w 1739645"/>
                <a:gd name="connsiteY5" fmla="*/ 0 h 1555527"/>
                <a:gd name="connsiteX6" fmla="*/ 63341 w 1739645"/>
                <a:gd name="connsiteY6" fmla="*/ 367855 h 1555527"/>
                <a:gd name="connsiteX7" fmla="*/ 63341 w 1739645"/>
                <a:gd name="connsiteY7" fmla="*/ 539496 h 1555527"/>
                <a:gd name="connsiteX8" fmla="*/ 449199 w 1739645"/>
                <a:gd name="connsiteY8" fmla="*/ 907351 h 1555527"/>
                <a:gd name="connsiteX9" fmla="*/ 1419987 w 1739645"/>
                <a:gd name="connsiteY9" fmla="*/ 907351 h 1555527"/>
                <a:gd name="connsiteX10" fmla="*/ 1419987 w 1739645"/>
                <a:gd name="connsiteY10" fmla="*/ 1263110 h 1555527"/>
                <a:gd name="connsiteX11" fmla="*/ 319754 w 1739645"/>
                <a:gd name="connsiteY11" fmla="*/ 1263110 h 1555527"/>
                <a:gd name="connsiteX12" fmla="*/ 319754 w 1739645"/>
                <a:gd name="connsiteY12" fmla="*/ 1095661 h 1555527"/>
                <a:gd name="connsiteX13" fmla="*/ 0 w 1739645"/>
                <a:gd name="connsiteY13" fmla="*/ 1162050 h 1555527"/>
                <a:gd name="connsiteX14" fmla="*/ 0 w 1739645"/>
                <a:gd name="connsiteY14" fmla="*/ 1187768 h 1555527"/>
                <a:gd name="connsiteX15" fmla="*/ 388906 w 1739645"/>
                <a:gd name="connsiteY15" fmla="*/ 1555528 h 1555527"/>
                <a:gd name="connsiteX16" fmla="*/ 1350740 w 1739645"/>
                <a:gd name="connsiteY16" fmla="*/ 1555528 h 1555527"/>
                <a:gd name="connsiteX17" fmla="*/ 1739646 w 1739645"/>
                <a:gd name="connsiteY17" fmla="*/ 1187768 h 1555527"/>
                <a:gd name="connsiteX18" fmla="*/ 1739646 w 1739645"/>
                <a:gd name="connsiteY18" fmla="*/ 973741 h 1555527"/>
                <a:gd name="connsiteX19" fmla="*/ 1350740 w 1739645"/>
                <a:gd name="connsiteY19" fmla="*/ 605885 h 1555527"/>
                <a:gd name="connsiteX20" fmla="*/ 379857 w 1739645"/>
                <a:gd name="connsiteY20" fmla="*/ 605885 h 1555527"/>
                <a:gd name="connsiteX21" fmla="*/ 379857 w 1739645"/>
                <a:gd name="connsiteY21" fmla="*/ 271367 h 1555527"/>
                <a:gd name="connsiteX22" fmla="*/ 1398842 w 1739645"/>
                <a:gd name="connsiteY22" fmla="*/ 271367 h 155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39645" h="1555527">
                  <a:moveTo>
                    <a:pt x="1398842" y="271367"/>
                  </a:moveTo>
                  <a:lnTo>
                    <a:pt x="1398842" y="439865"/>
                  </a:lnTo>
                  <a:lnTo>
                    <a:pt x="1718405" y="364522"/>
                  </a:lnTo>
                  <a:lnTo>
                    <a:pt x="1718405" y="340709"/>
                  </a:lnTo>
                  <a:cubicBezTo>
                    <a:pt x="1718405" y="72295"/>
                    <a:pt x="1609916" y="0"/>
                    <a:pt x="1332548" y="0"/>
                  </a:cubicBezTo>
                  <a:lnTo>
                    <a:pt x="449199" y="0"/>
                  </a:lnTo>
                  <a:cubicBezTo>
                    <a:pt x="156781" y="0"/>
                    <a:pt x="63341" y="75343"/>
                    <a:pt x="63341" y="367855"/>
                  </a:cubicBezTo>
                  <a:lnTo>
                    <a:pt x="63341" y="539496"/>
                  </a:lnTo>
                  <a:cubicBezTo>
                    <a:pt x="63341" y="832009"/>
                    <a:pt x="156877" y="907351"/>
                    <a:pt x="449199" y="907351"/>
                  </a:cubicBezTo>
                  <a:lnTo>
                    <a:pt x="1419987" y="907351"/>
                  </a:lnTo>
                  <a:lnTo>
                    <a:pt x="1419987" y="1263110"/>
                  </a:lnTo>
                  <a:lnTo>
                    <a:pt x="319754" y="1263110"/>
                  </a:lnTo>
                  <a:lnTo>
                    <a:pt x="319754" y="1095661"/>
                  </a:lnTo>
                  <a:lnTo>
                    <a:pt x="0" y="1162050"/>
                  </a:lnTo>
                  <a:lnTo>
                    <a:pt x="0" y="1187768"/>
                  </a:lnTo>
                  <a:cubicBezTo>
                    <a:pt x="0" y="1480185"/>
                    <a:pt x="96488" y="1555528"/>
                    <a:pt x="388906" y="1555528"/>
                  </a:cubicBezTo>
                  <a:lnTo>
                    <a:pt x="1350740" y="1555528"/>
                  </a:lnTo>
                  <a:cubicBezTo>
                    <a:pt x="1643158" y="1555528"/>
                    <a:pt x="1739646" y="1480185"/>
                    <a:pt x="1739646" y="1187768"/>
                  </a:cubicBezTo>
                  <a:lnTo>
                    <a:pt x="1739646" y="973741"/>
                  </a:lnTo>
                  <a:cubicBezTo>
                    <a:pt x="1739646" y="681228"/>
                    <a:pt x="1643158" y="605885"/>
                    <a:pt x="1350740" y="605885"/>
                  </a:cubicBezTo>
                  <a:lnTo>
                    <a:pt x="379857" y="605885"/>
                  </a:lnTo>
                  <a:lnTo>
                    <a:pt x="379857" y="271367"/>
                  </a:lnTo>
                  <a:lnTo>
                    <a:pt x="1398842" y="271367"/>
                  </a:lnTo>
                  <a:close/>
                </a:path>
              </a:pathLst>
            </a:custGeom>
            <a:grpFill/>
            <a:ln w="9525" cap="flat">
              <a:noFill/>
              <a:prstDash val="solid"/>
              <a:miter/>
            </a:ln>
          </p:spPr>
          <p:txBody>
            <a:bodyPr lIns="0" tIns="0" rIns="0" bIns="0" rtlCol="0" anchor="ctr"/>
            <a:lstStyle/>
            <a:p>
              <a:endParaRPr lang="de-DE" sz="100"/>
            </a:p>
          </p:txBody>
        </p:sp>
        <p:sp>
          <p:nvSpPr>
            <p:cNvPr id="47" name="o">
              <a:extLst>
                <a:ext uri="{FF2B5EF4-FFF2-40B4-BE49-F238E27FC236}">
                  <a16:creationId xmlns:a16="http://schemas.microsoft.com/office/drawing/2014/main" id="{3E28C9B4-A889-41B1-9932-102253FF441C}"/>
                </a:ext>
              </a:extLst>
            </p:cNvPr>
            <p:cNvSpPr/>
            <p:nvPr/>
          </p:nvSpPr>
          <p:spPr bwMode="gray">
            <a:xfrm>
              <a:off x="2206937" y="3966587"/>
              <a:ext cx="1682019" cy="1275212"/>
            </a:xfrm>
            <a:custGeom>
              <a:avLst/>
              <a:gdLst>
                <a:gd name="connsiteX0" fmla="*/ 326041 w 1682019"/>
                <a:gd name="connsiteY0" fmla="*/ 234982 h 1275207"/>
                <a:gd name="connsiteX1" fmla="*/ 1374648 w 1682019"/>
                <a:gd name="connsiteY1" fmla="*/ 234982 h 1275207"/>
                <a:gd name="connsiteX2" fmla="*/ 1374648 w 1682019"/>
                <a:gd name="connsiteY2" fmla="*/ 1030891 h 1275207"/>
                <a:gd name="connsiteX3" fmla="*/ 326041 w 1682019"/>
                <a:gd name="connsiteY3" fmla="*/ 1030891 h 1275207"/>
                <a:gd name="connsiteX4" fmla="*/ 326041 w 1682019"/>
                <a:gd name="connsiteY4" fmla="*/ 234982 h 1275207"/>
                <a:gd name="connsiteX5" fmla="*/ 0 w 1682019"/>
                <a:gd name="connsiteY5" fmla="*/ 301371 h 1275207"/>
                <a:gd name="connsiteX6" fmla="*/ 0 w 1682019"/>
                <a:gd name="connsiteY6" fmla="*/ 973646 h 1275207"/>
                <a:gd name="connsiteX7" fmla="*/ 338233 w 1682019"/>
                <a:gd name="connsiteY7" fmla="*/ 1275207 h 1275207"/>
                <a:gd name="connsiteX8" fmla="*/ 1343787 w 1682019"/>
                <a:gd name="connsiteY8" fmla="*/ 1275207 h 1275207"/>
                <a:gd name="connsiteX9" fmla="*/ 1682020 w 1682019"/>
                <a:gd name="connsiteY9" fmla="*/ 973646 h 1275207"/>
                <a:gd name="connsiteX10" fmla="*/ 1682020 w 1682019"/>
                <a:gd name="connsiteY10" fmla="*/ 301371 h 1275207"/>
                <a:gd name="connsiteX11" fmla="*/ 1343787 w 1682019"/>
                <a:gd name="connsiteY11" fmla="*/ 0 h 1275207"/>
                <a:gd name="connsiteX12" fmla="*/ 338233 w 1682019"/>
                <a:gd name="connsiteY12" fmla="*/ 0 h 1275207"/>
                <a:gd name="connsiteX13" fmla="*/ 0 w 1682019"/>
                <a:gd name="connsiteY13" fmla="*/ 301371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82019" h="1275207">
                  <a:moveTo>
                    <a:pt x="326041" y="234982"/>
                  </a:moveTo>
                  <a:lnTo>
                    <a:pt x="1374648" y="234982"/>
                  </a:lnTo>
                  <a:lnTo>
                    <a:pt x="1374648" y="1030891"/>
                  </a:lnTo>
                  <a:lnTo>
                    <a:pt x="326041" y="1030891"/>
                  </a:lnTo>
                  <a:lnTo>
                    <a:pt x="326041" y="234982"/>
                  </a:lnTo>
                  <a:close/>
                  <a:moveTo>
                    <a:pt x="0" y="301371"/>
                  </a:moveTo>
                  <a:lnTo>
                    <a:pt x="0" y="973646"/>
                  </a:lnTo>
                  <a:cubicBezTo>
                    <a:pt x="0" y="1214819"/>
                    <a:pt x="79915" y="1275207"/>
                    <a:pt x="338233" y="1275207"/>
                  </a:cubicBezTo>
                  <a:lnTo>
                    <a:pt x="1343787" y="1275207"/>
                  </a:lnTo>
                  <a:cubicBezTo>
                    <a:pt x="1598962" y="1275207"/>
                    <a:pt x="1682020" y="1214819"/>
                    <a:pt x="1682020" y="973646"/>
                  </a:cubicBezTo>
                  <a:lnTo>
                    <a:pt x="1682020" y="301371"/>
                  </a:lnTo>
                  <a:cubicBezTo>
                    <a:pt x="1682020" y="57150"/>
                    <a:pt x="1598867" y="0"/>
                    <a:pt x="1343787" y="0"/>
                  </a:cubicBezTo>
                  <a:lnTo>
                    <a:pt x="338233" y="0"/>
                  </a:lnTo>
                  <a:cubicBezTo>
                    <a:pt x="83153" y="0"/>
                    <a:pt x="0" y="57150"/>
                    <a:pt x="0" y="301371"/>
                  </a:cubicBezTo>
                </a:path>
              </a:pathLst>
            </a:custGeom>
            <a:grpFill/>
            <a:ln w="9525" cap="flat">
              <a:noFill/>
              <a:prstDash val="solid"/>
              <a:miter/>
            </a:ln>
          </p:spPr>
          <p:txBody>
            <a:bodyPr lIns="0" tIns="0" rIns="0" bIns="0" rtlCol="0" anchor="ctr"/>
            <a:lstStyle/>
            <a:p>
              <a:endParaRPr lang="de-DE" sz="100"/>
            </a:p>
          </p:txBody>
        </p:sp>
        <p:sp>
          <p:nvSpPr>
            <p:cNvPr id="48" name="m">
              <a:extLst>
                <a:ext uri="{FF2B5EF4-FFF2-40B4-BE49-F238E27FC236}">
                  <a16:creationId xmlns:a16="http://schemas.microsoft.com/office/drawing/2014/main" id="{F51E099F-0E22-41B1-9528-78CED55DE577}"/>
                </a:ext>
              </a:extLst>
            </p:cNvPr>
            <p:cNvSpPr/>
            <p:nvPr/>
          </p:nvSpPr>
          <p:spPr bwMode="gray">
            <a:xfrm>
              <a:off x="4290154" y="3966498"/>
              <a:ext cx="1815752" cy="1275212"/>
            </a:xfrm>
            <a:custGeom>
              <a:avLst/>
              <a:gdLst>
                <a:gd name="connsiteX0" fmla="*/ 1560576 w 1815750"/>
                <a:gd name="connsiteY0" fmla="*/ 0 h 1275207"/>
                <a:gd name="connsiteX1" fmla="*/ 927163 w 1815750"/>
                <a:gd name="connsiteY1" fmla="*/ 756571 h 1275207"/>
                <a:gd name="connsiteX2" fmla="*/ 290703 w 1815750"/>
                <a:gd name="connsiteY2" fmla="*/ 0 h 1275207"/>
                <a:gd name="connsiteX3" fmla="*/ 0 w 1815750"/>
                <a:gd name="connsiteY3" fmla="*/ 0 h 1275207"/>
                <a:gd name="connsiteX4" fmla="*/ 0 w 1815750"/>
                <a:gd name="connsiteY4" fmla="*/ 1275207 h 1275207"/>
                <a:gd name="connsiteX5" fmla="*/ 290703 w 1815750"/>
                <a:gd name="connsiteY5" fmla="*/ 1275207 h 1275207"/>
                <a:gd name="connsiteX6" fmla="*/ 290703 w 1815750"/>
                <a:gd name="connsiteY6" fmla="*/ 419100 h 1275207"/>
                <a:gd name="connsiteX7" fmla="*/ 877919 w 1815750"/>
                <a:gd name="connsiteY7" fmla="*/ 1121474 h 1275207"/>
                <a:gd name="connsiteX8" fmla="*/ 939356 w 1815750"/>
                <a:gd name="connsiteY8" fmla="*/ 1121474 h 1275207"/>
                <a:gd name="connsiteX9" fmla="*/ 1520571 w 1815750"/>
                <a:gd name="connsiteY9" fmla="*/ 397859 h 1275207"/>
                <a:gd name="connsiteX10" fmla="*/ 1520571 w 1815750"/>
                <a:gd name="connsiteY10" fmla="*/ 1275207 h 1275207"/>
                <a:gd name="connsiteX11" fmla="*/ 1815751 w 1815750"/>
                <a:gd name="connsiteY11" fmla="*/ 1275207 h 1275207"/>
                <a:gd name="connsiteX12" fmla="*/ 1815751 w 1815750"/>
                <a:gd name="connsiteY12" fmla="*/ 0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5750" h="1275207">
                  <a:moveTo>
                    <a:pt x="1560576" y="0"/>
                  </a:moveTo>
                  <a:lnTo>
                    <a:pt x="927163" y="756571"/>
                  </a:lnTo>
                  <a:lnTo>
                    <a:pt x="290703" y="0"/>
                  </a:lnTo>
                  <a:lnTo>
                    <a:pt x="0" y="0"/>
                  </a:lnTo>
                  <a:lnTo>
                    <a:pt x="0" y="1275207"/>
                  </a:lnTo>
                  <a:lnTo>
                    <a:pt x="290703" y="1275207"/>
                  </a:lnTo>
                  <a:lnTo>
                    <a:pt x="290703" y="419100"/>
                  </a:lnTo>
                  <a:lnTo>
                    <a:pt x="877919" y="1121474"/>
                  </a:lnTo>
                  <a:lnTo>
                    <a:pt x="939356" y="1121474"/>
                  </a:lnTo>
                  <a:lnTo>
                    <a:pt x="1520571" y="397859"/>
                  </a:lnTo>
                  <a:lnTo>
                    <a:pt x="1520571" y="1275207"/>
                  </a:lnTo>
                  <a:lnTo>
                    <a:pt x="1815751" y="1275207"/>
                  </a:lnTo>
                  <a:lnTo>
                    <a:pt x="1815751" y="0"/>
                  </a:lnTo>
                  <a:close/>
                </a:path>
              </a:pathLst>
            </a:custGeom>
            <a:grpFill/>
            <a:ln w="9525" cap="flat">
              <a:noFill/>
              <a:prstDash val="solid"/>
              <a:miter/>
            </a:ln>
          </p:spPr>
          <p:txBody>
            <a:bodyPr lIns="0" tIns="0" rIns="0" bIns="0" rtlCol="0" anchor="ctr"/>
            <a:lstStyle/>
            <a:p>
              <a:endParaRPr lang="de-DE" sz="100"/>
            </a:p>
          </p:txBody>
        </p:sp>
        <p:sp>
          <p:nvSpPr>
            <p:cNvPr id="49" name="m">
              <a:extLst>
                <a:ext uri="{FF2B5EF4-FFF2-40B4-BE49-F238E27FC236}">
                  <a16:creationId xmlns:a16="http://schemas.microsoft.com/office/drawing/2014/main" id="{43E1FA99-0B25-45BB-99E1-9F0D15F82929}"/>
                </a:ext>
              </a:extLst>
            </p:cNvPr>
            <p:cNvSpPr/>
            <p:nvPr/>
          </p:nvSpPr>
          <p:spPr bwMode="gray">
            <a:xfrm>
              <a:off x="6535096" y="3966498"/>
              <a:ext cx="1815752" cy="1275212"/>
            </a:xfrm>
            <a:custGeom>
              <a:avLst/>
              <a:gdLst>
                <a:gd name="connsiteX0" fmla="*/ 1560672 w 1815750"/>
                <a:gd name="connsiteY0" fmla="*/ 0 h 1275207"/>
                <a:gd name="connsiteX1" fmla="*/ 927164 w 1815750"/>
                <a:gd name="connsiteY1" fmla="*/ 756571 h 1275207"/>
                <a:gd name="connsiteX2" fmla="*/ 290799 w 1815750"/>
                <a:gd name="connsiteY2" fmla="*/ 0 h 1275207"/>
                <a:gd name="connsiteX3" fmla="*/ 0 w 1815750"/>
                <a:gd name="connsiteY3" fmla="*/ 0 h 1275207"/>
                <a:gd name="connsiteX4" fmla="*/ 0 w 1815750"/>
                <a:gd name="connsiteY4" fmla="*/ 1275207 h 1275207"/>
                <a:gd name="connsiteX5" fmla="*/ 290799 w 1815750"/>
                <a:gd name="connsiteY5" fmla="*/ 1275207 h 1275207"/>
                <a:gd name="connsiteX6" fmla="*/ 290799 w 1815750"/>
                <a:gd name="connsiteY6" fmla="*/ 419100 h 1275207"/>
                <a:gd name="connsiteX7" fmla="*/ 878015 w 1815750"/>
                <a:gd name="connsiteY7" fmla="*/ 1121474 h 1275207"/>
                <a:gd name="connsiteX8" fmla="*/ 939546 w 1815750"/>
                <a:gd name="connsiteY8" fmla="*/ 1121474 h 1275207"/>
                <a:gd name="connsiteX9" fmla="*/ 1520571 w 1815750"/>
                <a:gd name="connsiteY9" fmla="*/ 397859 h 1275207"/>
                <a:gd name="connsiteX10" fmla="*/ 1520571 w 1815750"/>
                <a:gd name="connsiteY10" fmla="*/ 1275207 h 1275207"/>
                <a:gd name="connsiteX11" fmla="*/ 1815751 w 1815750"/>
                <a:gd name="connsiteY11" fmla="*/ 1275207 h 1275207"/>
                <a:gd name="connsiteX12" fmla="*/ 1815751 w 1815750"/>
                <a:gd name="connsiteY12" fmla="*/ 0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5750" h="1275207">
                  <a:moveTo>
                    <a:pt x="1560672" y="0"/>
                  </a:moveTo>
                  <a:lnTo>
                    <a:pt x="927164" y="756571"/>
                  </a:lnTo>
                  <a:lnTo>
                    <a:pt x="290799" y="0"/>
                  </a:lnTo>
                  <a:lnTo>
                    <a:pt x="0" y="0"/>
                  </a:lnTo>
                  <a:lnTo>
                    <a:pt x="0" y="1275207"/>
                  </a:lnTo>
                  <a:lnTo>
                    <a:pt x="290799" y="1275207"/>
                  </a:lnTo>
                  <a:lnTo>
                    <a:pt x="290799" y="419100"/>
                  </a:lnTo>
                  <a:lnTo>
                    <a:pt x="878015" y="1121474"/>
                  </a:lnTo>
                  <a:lnTo>
                    <a:pt x="939546" y="1121474"/>
                  </a:lnTo>
                  <a:lnTo>
                    <a:pt x="1520571" y="397859"/>
                  </a:lnTo>
                  <a:lnTo>
                    <a:pt x="1520571" y="1275207"/>
                  </a:lnTo>
                  <a:lnTo>
                    <a:pt x="1815751" y="1275207"/>
                  </a:lnTo>
                  <a:lnTo>
                    <a:pt x="1815751" y="0"/>
                  </a:lnTo>
                  <a:close/>
                </a:path>
              </a:pathLst>
            </a:custGeom>
            <a:grpFill/>
            <a:ln w="9525" cap="flat">
              <a:noFill/>
              <a:prstDash val="solid"/>
              <a:miter/>
            </a:ln>
          </p:spPr>
          <p:txBody>
            <a:bodyPr lIns="0" tIns="0" rIns="0" bIns="0" rtlCol="0" anchor="ctr"/>
            <a:lstStyle/>
            <a:p>
              <a:endParaRPr lang="de-DE" sz="100"/>
            </a:p>
          </p:txBody>
        </p:sp>
        <p:sp>
          <p:nvSpPr>
            <p:cNvPr id="50" name="e">
              <a:extLst>
                <a:ext uri="{FF2B5EF4-FFF2-40B4-BE49-F238E27FC236}">
                  <a16:creationId xmlns:a16="http://schemas.microsoft.com/office/drawing/2014/main" id="{BB6B3C3A-F9B8-45BD-A65A-B1DD89724767}"/>
                </a:ext>
              </a:extLst>
            </p:cNvPr>
            <p:cNvSpPr/>
            <p:nvPr/>
          </p:nvSpPr>
          <p:spPr bwMode="gray">
            <a:xfrm>
              <a:off x="8765757" y="3966498"/>
              <a:ext cx="1411313" cy="1275212"/>
            </a:xfrm>
            <a:custGeom>
              <a:avLst/>
              <a:gdLst>
                <a:gd name="connsiteX0" fmla="*/ 0 w 1411319"/>
                <a:gd name="connsiteY0" fmla="*/ 0 h 1275207"/>
                <a:gd name="connsiteX1" fmla="*/ 0 w 1411319"/>
                <a:gd name="connsiteY1" fmla="*/ 1275207 h 1275207"/>
                <a:gd name="connsiteX2" fmla="*/ 1411319 w 1411319"/>
                <a:gd name="connsiteY2" fmla="*/ 1275207 h 1275207"/>
                <a:gd name="connsiteX3" fmla="*/ 1411319 w 1411319"/>
                <a:gd name="connsiteY3" fmla="*/ 1036987 h 1275207"/>
                <a:gd name="connsiteX4" fmla="*/ 319850 w 1411319"/>
                <a:gd name="connsiteY4" fmla="*/ 1036987 h 1275207"/>
                <a:gd name="connsiteX5" fmla="*/ 319850 w 1411319"/>
                <a:gd name="connsiteY5" fmla="*/ 723424 h 1275207"/>
                <a:gd name="connsiteX6" fmla="*/ 947166 w 1411319"/>
                <a:gd name="connsiteY6" fmla="*/ 723424 h 1275207"/>
                <a:gd name="connsiteX7" fmla="*/ 947166 w 1411319"/>
                <a:gd name="connsiteY7" fmla="*/ 503396 h 1275207"/>
                <a:gd name="connsiteX8" fmla="*/ 319850 w 1411319"/>
                <a:gd name="connsiteY8" fmla="*/ 503396 h 1275207"/>
                <a:gd name="connsiteX9" fmla="*/ 319850 w 1411319"/>
                <a:gd name="connsiteY9" fmla="*/ 226219 h 1275207"/>
                <a:gd name="connsiteX10" fmla="*/ 1395984 w 1411319"/>
                <a:gd name="connsiteY10" fmla="*/ 226219 h 1275207"/>
                <a:gd name="connsiteX11" fmla="*/ 1395984 w 1411319"/>
                <a:gd name="connsiteY11" fmla="*/ 0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11319" h="1275207">
                  <a:moveTo>
                    <a:pt x="0" y="0"/>
                  </a:moveTo>
                  <a:lnTo>
                    <a:pt x="0" y="1275207"/>
                  </a:lnTo>
                  <a:lnTo>
                    <a:pt x="1411319" y="1275207"/>
                  </a:lnTo>
                  <a:lnTo>
                    <a:pt x="1411319" y="1036987"/>
                  </a:lnTo>
                  <a:lnTo>
                    <a:pt x="319850" y="1036987"/>
                  </a:lnTo>
                  <a:lnTo>
                    <a:pt x="319850" y="723424"/>
                  </a:lnTo>
                  <a:lnTo>
                    <a:pt x="947166" y="723424"/>
                  </a:lnTo>
                  <a:lnTo>
                    <a:pt x="947166" y="503396"/>
                  </a:lnTo>
                  <a:lnTo>
                    <a:pt x="319850" y="503396"/>
                  </a:lnTo>
                  <a:lnTo>
                    <a:pt x="319850" y="226219"/>
                  </a:lnTo>
                  <a:lnTo>
                    <a:pt x="1395984" y="226219"/>
                  </a:lnTo>
                  <a:lnTo>
                    <a:pt x="1395984" y="0"/>
                  </a:lnTo>
                  <a:close/>
                </a:path>
              </a:pathLst>
            </a:custGeom>
            <a:grpFill/>
            <a:ln w="9525" cap="flat">
              <a:noFill/>
              <a:prstDash val="solid"/>
              <a:miter/>
            </a:ln>
          </p:spPr>
          <p:txBody>
            <a:bodyPr lIns="0" tIns="0" rIns="0" bIns="0" rtlCol="0" anchor="ctr"/>
            <a:lstStyle/>
            <a:p>
              <a:endParaRPr lang="de-DE" sz="100"/>
            </a:p>
          </p:txBody>
        </p:sp>
        <p:sp>
          <p:nvSpPr>
            <p:cNvPr id="51" name="r">
              <a:extLst>
                <a:ext uri="{FF2B5EF4-FFF2-40B4-BE49-F238E27FC236}">
                  <a16:creationId xmlns:a16="http://schemas.microsoft.com/office/drawing/2014/main" id="{80F1CAFB-9A28-455F-9451-47AB070CBE11}"/>
                </a:ext>
              </a:extLst>
            </p:cNvPr>
            <p:cNvSpPr/>
            <p:nvPr/>
          </p:nvSpPr>
          <p:spPr bwMode="gray">
            <a:xfrm>
              <a:off x="10504356" y="3966498"/>
              <a:ext cx="1579811" cy="1275212"/>
            </a:xfrm>
            <a:custGeom>
              <a:avLst/>
              <a:gdLst>
                <a:gd name="connsiteX0" fmla="*/ 1015937 w 1579817"/>
                <a:gd name="connsiteY0" fmla="*/ 220028 h 1275207"/>
                <a:gd name="connsiteX1" fmla="*/ 1157669 w 1579817"/>
                <a:gd name="connsiteY1" fmla="*/ 322517 h 1275207"/>
                <a:gd name="connsiteX2" fmla="*/ 1157669 w 1579817"/>
                <a:gd name="connsiteY2" fmla="*/ 470249 h 1275207"/>
                <a:gd name="connsiteX3" fmla="*/ 1015937 w 1579817"/>
                <a:gd name="connsiteY3" fmla="*/ 572738 h 1275207"/>
                <a:gd name="connsiteX4" fmla="*/ 307467 w 1579817"/>
                <a:gd name="connsiteY4" fmla="*/ 572738 h 1275207"/>
                <a:gd name="connsiteX5" fmla="*/ 307467 w 1579817"/>
                <a:gd name="connsiteY5" fmla="*/ 220028 h 1275207"/>
                <a:gd name="connsiteX6" fmla="*/ 1015937 w 1579817"/>
                <a:gd name="connsiteY6" fmla="*/ 220028 h 1275207"/>
                <a:gd name="connsiteX7" fmla="*/ 0 w 1579817"/>
                <a:gd name="connsiteY7" fmla="*/ 1275207 h 1275207"/>
                <a:gd name="connsiteX8" fmla="*/ 307563 w 1579817"/>
                <a:gd name="connsiteY8" fmla="*/ 1275207 h 1275207"/>
                <a:gd name="connsiteX9" fmla="*/ 307563 w 1579817"/>
                <a:gd name="connsiteY9" fmla="*/ 792766 h 1275207"/>
                <a:gd name="connsiteX10" fmla="*/ 599981 w 1579817"/>
                <a:gd name="connsiteY10" fmla="*/ 792766 h 1275207"/>
                <a:gd name="connsiteX11" fmla="*/ 1133570 w 1579817"/>
                <a:gd name="connsiteY11" fmla="*/ 1275207 h 1275207"/>
                <a:gd name="connsiteX12" fmla="*/ 1579818 w 1579817"/>
                <a:gd name="connsiteY12" fmla="*/ 1275207 h 1275207"/>
                <a:gd name="connsiteX13" fmla="*/ 973931 w 1579817"/>
                <a:gd name="connsiteY13" fmla="*/ 792766 h 1275207"/>
                <a:gd name="connsiteX14" fmla="*/ 1148811 w 1579817"/>
                <a:gd name="connsiteY14" fmla="*/ 792766 h 1275207"/>
                <a:gd name="connsiteX15" fmla="*/ 1447229 w 1579817"/>
                <a:gd name="connsiteY15" fmla="*/ 548545 h 1275207"/>
                <a:gd name="connsiteX16" fmla="*/ 1447229 w 1579817"/>
                <a:gd name="connsiteY16" fmla="*/ 247174 h 1275207"/>
                <a:gd name="connsiteX17" fmla="*/ 1148811 w 1579817"/>
                <a:gd name="connsiteY17" fmla="*/ 0 h 1275207"/>
                <a:gd name="connsiteX18" fmla="*/ 191 w 1579817"/>
                <a:gd name="connsiteY18" fmla="*/ 0 h 1275207"/>
                <a:gd name="connsiteX19" fmla="*/ 191 w 1579817"/>
                <a:gd name="connsiteY19" fmla="*/ 1275207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79817" h="1275207">
                  <a:moveTo>
                    <a:pt x="1015937" y="220028"/>
                  </a:moveTo>
                  <a:cubicBezTo>
                    <a:pt x="1109282" y="220028"/>
                    <a:pt x="1157669" y="238220"/>
                    <a:pt x="1157669" y="322517"/>
                  </a:cubicBezTo>
                  <a:lnTo>
                    <a:pt x="1157669" y="470249"/>
                  </a:lnTo>
                  <a:cubicBezTo>
                    <a:pt x="1157669" y="554736"/>
                    <a:pt x="1109282" y="572738"/>
                    <a:pt x="1015937" y="572738"/>
                  </a:cubicBezTo>
                  <a:lnTo>
                    <a:pt x="307467" y="572738"/>
                  </a:lnTo>
                  <a:lnTo>
                    <a:pt x="307467" y="220028"/>
                  </a:lnTo>
                  <a:lnTo>
                    <a:pt x="1015937" y="220028"/>
                  </a:lnTo>
                  <a:close/>
                  <a:moveTo>
                    <a:pt x="0" y="1275207"/>
                  </a:moveTo>
                  <a:lnTo>
                    <a:pt x="307563" y="1275207"/>
                  </a:lnTo>
                  <a:lnTo>
                    <a:pt x="307563" y="792766"/>
                  </a:lnTo>
                  <a:lnTo>
                    <a:pt x="599981" y="792766"/>
                  </a:lnTo>
                  <a:lnTo>
                    <a:pt x="1133570" y="1275207"/>
                  </a:lnTo>
                  <a:lnTo>
                    <a:pt x="1579818" y="1275207"/>
                  </a:lnTo>
                  <a:lnTo>
                    <a:pt x="973931" y="792766"/>
                  </a:lnTo>
                  <a:lnTo>
                    <a:pt x="1148811" y="792766"/>
                  </a:lnTo>
                  <a:cubicBezTo>
                    <a:pt x="1353693" y="792766"/>
                    <a:pt x="1447229" y="723424"/>
                    <a:pt x="1447229" y="548545"/>
                  </a:cubicBezTo>
                  <a:lnTo>
                    <a:pt x="1447229" y="247174"/>
                  </a:lnTo>
                  <a:cubicBezTo>
                    <a:pt x="1447229" y="69342"/>
                    <a:pt x="1353693" y="0"/>
                    <a:pt x="1148811" y="0"/>
                  </a:cubicBezTo>
                  <a:lnTo>
                    <a:pt x="191" y="0"/>
                  </a:lnTo>
                  <a:lnTo>
                    <a:pt x="191" y="1275207"/>
                  </a:lnTo>
                  <a:close/>
                </a:path>
              </a:pathLst>
            </a:custGeom>
            <a:grpFill/>
            <a:ln w="9525" cap="flat">
              <a:noFill/>
              <a:prstDash val="solid"/>
              <a:miter/>
            </a:ln>
          </p:spPr>
          <p:txBody>
            <a:bodyPr lIns="0" tIns="0" rIns="0" bIns="0" rtlCol="0" anchor="ctr"/>
            <a:lstStyle/>
            <a:p>
              <a:endParaRPr lang="de-DE" sz="100"/>
            </a:p>
          </p:txBody>
        </p:sp>
      </p:grpSp>
    </p:spTree>
    <p:extLst>
      <p:ext uri="{BB962C8B-B14F-4D97-AF65-F5344CB8AC3E}">
        <p14:creationId xmlns:p14="http://schemas.microsoft.com/office/powerpoint/2010/main" val="3286208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pos="3402">
          <p15:clr>
            <a:srgbClr val="FBAE40"/>
          </p15:clr>
        </p15:guide>
        <p15:guide id="2" orient="horz" pos="2169">
          <p15:clr>
            <a:srgbClr val="FBAE40"/>
          </p15:clr>
        </p15:guide>
        <p15:guide id="3" orient="horz" pos="1740">
          <p15:clr>
            <a:srgbClr val="FBAE40"/>
          </p15:clr>
        </p15:guide>
        <p15:guide id="4" orient="horz" pos="1656">
          <p15:clr>
            <a:srgbClr val="FBAE40"/>
          </p15:clr>
        </p15:guide>
        <p15:guide id="5" pos="132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FFCB50B-5503-4467-8A0F-9FBB8B48B97D}"/>
              </a:ext>
            </a:extLst>
          </p:cNvPr>
          <p:cNvSpPr>
            <a:spLocks noGrp="1"/>
          </p:cNvSpPr>
          <p:nvPr>
            <p:ph type="title"/>
          </p:nvPr>
        </p:nvSpPr>
        <p:spPr bwMode="gray"/>
        <p:txBody>
          <a:bodyPr lIns="0" tIns="0" rIns="0" bIns="0"/>
          <a:lstStyle/>
          <a:p>
            <a:r>
              <a:rPr lang="de-DE"/>
              <a:t>Mastertitelformat bearbeiten</a:t>
            </a:r>
            <a:endParaRPr lang="en-US"/>
          </a:p>
        </p:txBody>
      </p:sp>
      <p:sp>
        <p:nvSpPr>
          <p:cNvPr id="4" name="subtitle">
            <a:extLst>
              <a:ext uri="{FF2B5EF4-FFF2-40B4-BE49-F238E27FC236}">
                <a16:creationId xmlns:a16="http://schemas.microsoft.com/office/drawing/2014/main" id="{7086919D-8D03-4875-B9F0-05F0C8564079}"/>
              </a:ext>
            </a:extLst>
          </p:cNvPr>
          <p:cNvSpPr>
            <a:spLocks noGrp="1"/>
          </p:cNvSpPr>
          <p:nvPr>
            <p:ph type="body" sz="quarter" idx="14" hasCustomPrompt="1"/>
          </p:nvPr>
        </p:nvSpPr>
        <p:spPr bwMode="gray">
          <a:xfrm>
            <a:off x="525600" y="1022400"/>
            <a:ext cx="11138400" cy="504000"/>
          </a:xfrm>
        </p:spPr>
        <p:txBody>
          <a:bodyPr/>
          <a:lstStyle>
            <a:lvl1pPr>
              <a:lnSpc>
                <a:spcPct val="85000"/>
              </a:lnSpc>
              <a:spcBef>
                <a:spcPts val="0"/>
              </a:spcBef>
              <a:spcAft>
                <a:spcPts val="0"/>
              </a:spcAft>
              <a:defRPr sz="2000"/>
            </a:lvl1pPr>
          </a:lstStyle>
          <a:p>
            <a:pPr lvl="0"/>
            <a:r>
              <a:rPr lang="de-DE" err="1"/>
              <a:t>Subtitle</a:t>
            </a:r>
            <a:endParaRPr lang="en-US"/>
          </a:p>
        </p:txBody>
      </p:sp>
      <p:sp>
        <p:nvSpPr>
          <p:cNvPr id="7" name="content">
            <a:extLst>
              <a:ext uri="{FF2B5EF4-FFF2-40B4-BE49-F238E27FC236}">
                <a16:creationId xmlns:a16="http://schemas.microsoft.com/office/drawing/2014/main" id="{5ACBB9A0-3E08-4278-AF60-F20CD65CA5C6}"/>
              </a:ext>
            </a:extLst>
          </p:cNvPr>
          <p:cNvSpPr>
            <a:spLocks noGrp="1"/>
          </p:cNvSpPr>
          <p:nvPr>
            <p:ph idx="1"/>
          </p:nvPr>
        </p:nvSpPr>
        <p:spPr bwMode="gray">
          <a:xfrm>
            <a:off x="525600" y="1602000"/>
            <a:ext cx="11138400" cy="44964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slide number">
            <a:extLst>
              <a:ext uri="{FF2B5EF4-FFF2-40B4-BE49-F238E27FC236}">
                <a16:creationId xmlns:a16="http://schemas.microsoft.com/office/drawing/2014/main" id="{90B54C2D-8235-4852-8EB7-5E05529B2499}"/>
              </a:ext>
            </a:extLst>
          </p:cNvPr>
          <p:cNvSpPr>
            <a:spLocks noGrp="1"/>
          </p:cNvSpPr>
          <p:nvPr>
            <p:ph type="sldNum" sz="quarter" idx="12"/>
          </p:nvPr>
        </p:nvSpPr>
        <p:spPr bwMode="gray"/>
        <p:txBody>
          <a:bodyPr lIns="0" tIns="0" rIns="0" bIns="0"/>
          <a:lstStyle/>
          <a:p>
            <a:fld id="{9829449A-3FF3-45CE-9F4F-09BADC0910C6}" type="slidenum">
              <a:rPr lang="en-US" smtClean="0"/>
              <a:t>‹Nr.›</a:t>
            </a:fld>
            <a:endParaRPr lang="en-US"/>
          </a:p>
        </p:txBody>
      </p:sp>
      <p:sp>
        <p:nvSpPr>
          <p:cNvPr id="5" name="footer">
            <a:extLst>
              <a:ext uri="{FF2B5EF4-FFF2-40B4-BE49-F238E27FC236}">
                <a16:creationId xmlns:a16="http://schemas.microsoft.com/office/drawing/2014/main" id="{A4534FC4-D037-44B0-B266-D9E820FC1DF2}"/>
              </a:ext>
            </a:extLst>
          </p:cNvPr>
          <p:cNvSpPr>
            <a:spLocks noGrp="1"/>
          </p:cNvSpPr>
          <p:nvPr>
            <p:ph type="ftr" sz="quarter" idx="11"/>
          </p:nvPr>
        </p:nvSpPr>
        <p:spPr bwMode="gray"/>
        <p:txBody>
          <a:bodyPr lIns="0" tIns="0" rIns="0" bIns="0"/>
          <a:lstStyle/>
          <a:p>
            <a:endParaRPr lang="en-US"/>
          </a:p>
        </p:txBody>
      </p:sp>
    </p:spTree>
    <p:extLst>
      <p:ext uri="{BB962C8B-B14F-4D97-AF65-F5344CB8AC3E}">
        <p14:creationId xmlns:p14="http://schemas.microsoft.com/office/powerpoint/2010/main" val="560789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644"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amp; Content">
    <p:spTree>
      <p:nvGrpSpPr>
        <p:cNvPr id="1" name=""/>
        <p:cNvGrpSpPr/>
        <p:nvPr/>
      </p:nvGrpSpPr>
      <p:grpSpPr>
        <a:xfrm>
          <a:off x="0" y="0"/>
          <a:ext cx="0" cy="0"/>
          <a:chOff x="0" y="0"/>
          <a:chExt cx="0" cy="0"/>
        </a:xfrm>
      </p:grpSpPr>
      <p:pic>
        <p:nvPicPr>
          <p:cNvPr id="8" name="Bildplatzhalter 17" descr="Ein Bild, das Text, Karte, Strichzeichnung enthält.&#10;&#10;Automatisch generierte Beschreibung">
            <a:extLst>
              <a:ext uri="{FF2B5EF4-FFF2-40B4-BE49-F238E27FC236}">
                <a16:creationId xmlns:a16="http://schemas.microsoft.com/office/drawing/2014/main" id="{C2041E0A-9193-4BEA-9643-7938EEDC0EA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gray">
          <a:xfrm>
            <a:off x="20" y="10"/>
            <a:ext cx="12191980" cy="6857990"/>
          </a:xfrm>
          <a:prstGeom prst="rect">
            <a:avLst/>
          </a:prstGeom>
          <a:noFill/>
        </p:spPr>
      </p:pic>
      <p:sp>
        <p:nvSpPr>
          <p:cNvPr id="2" name="title">
            <a:extLst>
              <a:ext uri="{FF2B5EF4-FFF2-40B4-BE49-F238E27FC236}">
                <a16:creationId xmlns:a16="http://schemas.microsoft.com/office/drawing/2014/main" id="{8FFCB50B-5503-4467-8A0F-9FBB8B48B97D}"/>
              </a:ext>
            </a:extLst>
          </p:cNvPr>
          <p:cNvSpPr>
            <a:spLocks noGrp="1"/>
          </p:cNvSpPr>
          <p:nvPr>
            <p:ph type="title"/>
          </p:nvPr>
        </p:nvSpPr>
        <p:spPr bwMode="gray"/>
        <p:txBody>
          <a:bodyPr lIns="0" tIns="0" rIns="0" bIns="0"/>
          <a:lstStyle/>
          <a:p>
            <a:r>
              <a:rPr lang="de-DE"/>
              <a:t>Mastertitelformat bearbeiten</a:t>
            </a:r>
            <a:endParaRPr lang="en-US"/>
          </a:p>
        </p:txBody>
      </p:sp>
      <p:sp>
        <p:nvSpPr>
          <p:cNvPr id="4" name="subtitle">
            <a:extLst>
              <a:ext uri="{FF2B5EF4-FFF2-40B4-BE49-F238E27FC236}">
                <a16:creationId xmlns:a16="http://schemas.microsoft.com/office/drawing/2014/main" id="{7086919D-8D03-4875-B9F0-05F0C8564079}"/>
              </a:ext>
            </a:extLst>
          </p:cNvPr>
          <p:cNvSpPr>
            <a:spLocks noGrp="1"/>
          </p:cNvSpPr>
          <p:nvPr>
            <p:ph type="body" sz="quarter" idx="14" hasCustomPrompt="1"/>
          </p:nvPr>
        </p:nvSpPr>
        <p:spPr bwMode="gray">
          <a:xfrm>
            <a:off x="525600" y="1022400"/>
            <a:ext cx="11138400" cy="504000"/>
          </a:xfrm>
        </p:spPr>
        <p:txBody>
          <a:bodyPr/>
          <a:lstStyle>
            <a:lvl1pPr>
              <a:lnSpc>
                <a:spcPct val="85000"/>
              </a:lnSpc>
              <a:spcBef>
                <a:spcPts val="0"/>
              </a:spcBef>
              <a:spcAft>
                <a:spcPts val="0"/>
              </a:spcAft>
              <a:defRPr sz="2000"/>
            </a:lvl1pPr>
          </a:lstStyle>
          <a:p>
            <a:pPr lvl="0"/>
            <a:r>
              <a:rPr lang="de-DE" err="1"/>
              <a:t>Subtitle</a:t>
            </a:r>
            <a:endParaRPr lang="en-US"/>
          </a:p>
        </p:txBody>
      </p:sp>
      <p:sp>
        <p:nvSpPr>
          <p:cNvPr id="7" name="content">
            <a:extLst>
              <a:ext uri="{FF2B5EF4-FFF2-40B4-BE49-F238E27FC236}">
                <a16:creationId xmlns:a16="http://schemas.microsoft.com/office/drawing/2014/main" id="{5ACBB9A0-3E08-4278-AF60-F20CD65CA5C6}"/>
              </a:ext>
            </a:extLst>
          </p:cNvPr>
          <p:cNvSpPr>
            <a:spLocks noGrp="1"/>
          </p:cNvSpPr>
          <p:nvPr>
            <p:ph idx="1"/>
          </p:nvPr>
        </p:nvSpPr>
        <p:spPr bwMode="gray">
          <a:xfrm>
            <a:off x="525600" y="1602000"/>
            <a:ext cx="11138400" cy="44964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slide number">
            <a:extLst>
              <a:ext uri="{FF2B5EF4-FFF2-40B4-BE49-F238E27FC236}">
                <a16:creationId xmlns:a16="http://schemas.microsoft.com/office/drawing/2014/main" id="{90B54C2D-8235-4852-8EB7-5E05529B2499}"/>
              </a:ext>
            </a:extLst>
          </p:cNvPr>
          <p:cNvSpPr>
            <a:spLocks noGrp="1"/>
          </p:cNvSpPr>
          <p:nvPr>
            <p:ph type="sldNum" sz="quarter" idx="12"/>
          </p:nvPr>
        </p:nvSpPr>
        <p:spPr bwMode="gray"/>
        <p:txBody>
          <a:bodyPr lIns="0" tIns="0" rIns="0" bIns="0"/>
          <a:lstStyle/>
          <a:p>
            <a:fld id="{9829449A-3FF3-45CE-9F4F-09BADC0910C6}" type="slidenum">
              <a:rPr lang="en-US" smtClean="0"/>
              <a:t>‹Nr.›</a:t>
            </a:fld>
            <a:endParaRPr lang="en-US"/>
          </a:p>
        </p:txBody>
      </p:sp>
      <p:sp>
        <p:nvSpPr>
          <p:cNvPr id="5" name="footer">
            <a:extLst>
              <a:ext uri="{FF2B5EF4-FFF2-40B4-BE49-F238E27FC236}">
                <a16:creationId xmlns:a16="http://schemas.microsoft.com/office/drawing/2014/main" id="{A4534FC4-D037-44B0-B266-D9E820FC1DF2}"/>
              </a:ext>
            </a:extLst>
          </p:cNvPr>
          <p:cNvSpPr>
            <a:spLocks noGrp="1"/>
          </p:cNvSpPr>
          <p:nvPr>
            <p:ph type="ftr" sz="quarter" idx="11"/>
          </p:nvPr>
        </p:nvSpPr>
        <p:spPr bwMode="gray"/>
        <p:txBody>
          <a:bodyPr lIns="0" tIns="0" rIns="0" bIns="0"/>
          <a:lstStyle/>
          <a:p>
            <a:endParaRPr lang="en-US"/>
          </a:p>
        </p:txBody>
      </p:sp>
    </p:spTree>
    <p:extLst>
      <p:ext uri="{BB962C8B-B14F-4D97-AF65-F5344CB8AC3E}">
        <p14:creationId xmlns:p14="http://schemas.microsoft.com/office/powerpoint/2010/main" val="3805332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644"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pic>
        <p:nvPicPr>
          <p:cNvPr id="22" name="Grafik 21" descr="Ein Bild, das Outdoorobjekt, Spinnennetz enthält.&#10;&#10;Automatisch generierte Beschreibung">
            <a:extLst>
              <a:ext uri="{FF2B5EF4-FFF2-40B4-BE49-F238E27FC236}">
                <a16:creationId xmlns:a16="http://schemas.microsoft.com/office/drawing/2014/main" id="{ABF80F17-8F05-4B5B-996C-1D36CB57CCE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8193" r="13053"/>
          <a:stretch/>
        </p:blipFill>
        <p:spPr>
          <a:xfrm>
            <a:off x="609943" y="0"/>
            <a:ext cx="11565785" cy="6869330"/>
          </a:xfrm>
          <a:prstGeom prst="rect">
            <a:avLst/>
          </a:prstGeom>
        </p:spPr>
      </p:pic>
      <p:sp>
        <p:nvSpPr>
          <p:cNvPr id="6" name="slide number">
            <a:extLst>
              <a:ext uri="{FF2B5EF4-FFF2-40B4-BE49-F238E27FC236}">
                <a16:creationId xmlns:a16="http://schemas.microsoft.com/office/drawing/2014/main" id="{90B54C2D-8235-4852-8EB7-5E05529B2499}"/>
              </a:ext>
            </a:extLst>
          </p:cNvPr>
          <p:cNvSpPr>
            <a:spLocks noGrp="1"/>
          </p:cNvSpPr>
          <p:nvPr>
            <p:ph type="sldNum" sz="quarter" idx="12"/>
          </p:nvPr>
        </p:nvSpPr>
        <p:spPr bwMode="gray"/>
        <p:txBody>
          <a:bodyPr lIns="0" tIns="0" rIns="0" bIns="0"/>
          <a:lstStyle/>
          <a:p>
            <a:fld id="{9829449A-3FF3-45CE-9F4F-09BADC0910C6}" type="slidenum">
              <a:rPr lang="en-US" smtClean="0"/>
              <a:t>‹Nr.›</a:t>
            </a:fld>
            <a:endParaRPr lang="en-US"/>
          </a:p>
        </p:txBody>
      </p:sp>
      <p:sp>
        <p:nvSpPr>
          <p:cNvPr id="5" name="footer">
            <a:extLst>
              <a:ext uri="{FF2B5EF4-FFF2-40B4-BE49-F238E27FC236}">
                <a16:creationId xmlns:a16="http://schemas.microsoft.com/office/drawing/2014/main" id="{A4534FC4-D037-44B0-B266-D9E820FC1DF2}"/>
              </a:ext>
            </a:extLst>
          </p:cNvPr>
          <p:cNvSpPr>
            <a:spLocks noGrp="1"/>
          </p:cNvSpPr>
          <p:nvPr>
            <p:ph type="ftr" sz="quarter" idx="11"/>
          </p:nvPr>
        </p:nvSpPr>
        <p:spPr bwMode="gray"/>
        <p:txBody>
          <a:bodyPr lIns="0" tIns="0" rIns="0" bIns="0"/>
          <a:lstStyle/>
          <a:p>
            <a:endParaRPr lang="en-US"/>
          </a:p>
        </p:txBody>
      </p:sp>
      <p:sp>
        <p:nvSpPr>
          <p:cNvPr id="8" name="Freihandform: Form 7">
            <a:extLst>
              <a:ext uri="{FF2B5EF4-FFF2-40B4-BE49-F238E27FC236}">
                <a16:creationId xmlns:a16="http://schemas.microsoft.com/office/drawing/2014/main" id="{B1EBD72B-3698-4020-9DAE-1E7B6F1861FC}"/>
              </a:ext>
            </a:extLst>
          </p:cNvPr>
          <p:cNvSpPr/>
          <p:nvPr userDrawn="1"/>
        </p:nvSpPr>
        <p:spPr>
          <a:xfrm>
            <a:off x="10629901" y="6223371"/>
            <a:ext cx="1133474" cy="504000"/>
          </a:xfrm>
          <a:custGeom>
            <a:avLst/>
            <a:gdLst>
              <a:gd name="connsiteX0" fmla="*/ 0 w 972000"/>
              <a:gd name="connsiteY0" fmla="*/ 0 h 324000"/>
              <a:gd name="connsiteX1" fmla="*/ 868412 w 972000"/>
              <a:gd name="connsiteY1" fmla="*/ 0 h 324000"/>
              <a:gd name="connsiteX2" fmla="*/ 972000 w 972000"/>
              <a:gd name="connsiteY2" fmla="*/ 30994 h 324000"/>
              <a:gd name="connsiteX3" fmla="*/ 972000 w 972000"/>
              <a:gd name="connsiteY3" fmla="*/ 324000 h 324000"/>
              <a:gd name="connsiteX4" fmla="*/ 0 w 972000"/>
              <a:gd name="connsiteY4" fmla="*/ 324000 h 32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2000" h="324000">
                <a:moveTo>
                  <a:pt x="0" y="0"/>
                </a:moveTo>
                <a:lnTo>
                  <a:pt x="868412" y="0"/>
                </a:lnTo>
                <a:lnTo>
                  <a:pt x="972000" y="30994"/>
                </a:lnTo>
                <a:lnTo>
                  <a:pt x="972000" y="324000"/>
                </a:lnTo>
                <a:lnTo>
                  <a:pt x="0" y="324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72000" rIns="72000" bIns="72000" rtlCol="0" anchor="ctr">
            <a:noAutofit/>
          </a:bodyPr>
          <a:lstStyle/>
          <a:p>
            <a:pPr algn="ctr">
              <a:spcBef>
                <a:spcPts val="400"/>
              </a:spcBef>
              <a:spcAft>
                <a:spcPts val="400"/>
              </a:spcAft>
            </a:pPr>
            <a:endParaRPr lang="de-DE" sz="1400" err="1"/>
          </a:p>
        </p:txBody>
      </p:sp>
      <p:grpSp>
        <p:nvGrpSpPr>
          <p:cNvPr id="9" name="logo drees&amp;sommer blue">
            <a:extLst>
              <a:ext uri="{FF2B5EF4-FFF2-40B4-BE49-F238E27FC236}">
                <a16:creationId xmlns:a16="http://schemas.microsoft.com/office/drawing/2014/main" id="{E5C86A8E-8004-416B-A26E-206539924D00}"/>
              </a:ext>
            </a:extLst>
          </p:cNvPr>
          <p:cNvGrpSpPr>
            <a:grpSpLocks noChangeAspect="1"/>
          </p:cNvGrpSpPr>
          <p:nvPr userDrawn="1"/>
        </p:nvGrpSpPr>
        <p:grpSpPr bwMode="gray">
          <a:xfrm>
            <a:off x="10716797" y="6331911"/>
            <a:ext cx="948154" cy="286131"/>
            <a:chOff x="95247" y="1619247"/>
            <a:chExt cx="12004075" cy="3622552"/>
          </a:xfrm>
          <a:solidFill>
            <a:schemeClr val="tx2"/>
          </a:solidFill>
        </p:grpSpPr>
        <p:sp>
          <p:nvSpPr>
            <p:cNvPr id="10" name="d">
              <a:extLst>
                <a:ext uri="{FF2B5EF4-FFF2-40B4-BE49-F238E27FC236}">
                  <a16:creationId xmlns:a16="http://schemas.microsoft.com/office/drawing/2014/main" id="{36AAD179-7D65-4778-A4F4-4A3F36A24148}"/>
                </a:ext>
              </a:extLst>
            </p:cNvPr>
            <p:cNvSpPr/>
            <p:nvPr/>
          </p:nvSpPr>
          <p:spPr bwMode="gray">
            <a:xfrm>
              <a:off x="146585" y="1619247"/>
              <a:ext cx="1890145" cy="1555528"/>
            </a:xfrm>
            <a:custGeom>
              <a:avLst/>
              <a:gdLst>
                <a:gd name="connsiteX0" fmla="*/ 361760 w 1890141"/>
                <a:gd name="connsiteY0" fmla="*/ 1263206 h 1555527"/>
                <a:gd name="connsiteX1" fmla="*/ 361760 w 1890141"/>
                <a:gd name="connsiteY1" fmla="*/ 277368 h 1555527"/>
                <a:gd name="connsiteX2" fmla="*/ 1003840 w 1890141"/>
                <a:gd name="connsiteY2" fmla="*/ 277368 h 1555527"/>
                <a:gd name="connsiteX3" fmla="*/ 1516380 w 1890141"/>
                <a:gd name="connsiteY3" fmla="*/ 762762 h 1555527"/>
                <a:gd name="connsiteX4" fmla="*/ 828961 w 1890141"/>
                <a:gd name="connsiteY4" fmla="*/ 1263206 h 1555527"/>
                <a:gd name="connsiteX5" fmla="*/ 361760 w 1890141"/>
                <a:gd name="connsiteY5" fmla="*/ 1263206 h 1555527"/>
                <a:gd name="connsiteX6" fmla="*/ 0 w 1890141"/>
                <a:gd name="connsiteY6" fmla="*/ 1555528 h 1555527"/>
                <a:gd name="connsiteX7" fmla="*/ 907447 w 1890141"/>
                <a:gd name="connsiteY7" fmla="*/ 1555528 h 1555527"/>
                <a:gd name="connsiteX8" fmla="*/ 1546574 w 1890141"/>
                <a:gd name="connsiteY8" fmla="*/ 1435037 h 1555527"/>
                <a:gd name="connsiteX9" fmla="*/ 1890141 w 1890141"/>
                <a:gd name="connsiteY9" fmla="*/ 768763 h 1555527"/>
                <a:gd name="connsiteX10" fmla="*/ 1000792 w 1890141"/>
                <a:gd name="connsiteY10" fmla="*/ 0 h 1555527"/>
                <a:gd name="connsiteX11" fmla="*/ 0 w 1890141"/>
                <a:gd name="connsiteY11" fmla="*/ 0 h 1555527"/>
                <a:gd name="connsiteX12" fmla="*/ 0 w 1890141"/>
                <a:gd name="connsiteY12" fmla="*/ 1555528 h 155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90141" h="1555527">
                  <a:moveTo>
                    <a:pt x="361760" y="1263206"/>
                  </a:moveTo>
                  <a:lnTo>
                    <a:pt x="361760" y="277368"/>
                  </a:lnTo>
                  <a:lnTo>
                    <a:pt x="1003840" y="277368"/>
                  </a:lnTo>
                  <a:cubicBezTo>
                    <a:pt x="1344549" y="277368"/>
                    <a:pt x="1516380" y="446246"/>
                    <a:pt x="1516380" y="762762"/>
                  </a:cubicBezTo>
                  <a:cubicBezTo>
                    <a:pt x="1516380" y="1148620"/>
                    <a:pt x="1287209" y="1263206"/>
                    <a:pt x="828961" y="1263206"/>
                  </a:cubicBezTo>
                  <a:lnTo>
                    <a:pt x="361760" y="1263206"/>
                  </a:lnTo>
                  <a:close/>
                  <a:moveTo>
                    <a:pt x="0" y="1555528"/>
                  </a:moveTo>
                  <a:lnTo>
                    <a:pt x="907447" y="1555528"/>
                  </a:lnTo>
                  <a:cubicBezTo>
                    <a:pt x="1184624" y="1555528"/>
                    <a:pt x="1395698" y="1528382"/>
                    <a:pt x="1546574" y="1435037"/>
                  </a:cubicBezTo>
                  <a:cubicBezTo>
                    <a:pt x="1763649" y="1302353"/>
                    <a:pt x="1890141" y="1061180"/>
                    <a:pt x="1890141" y="768763"/>
                  </a:cubicBezTo>
                  <a:cubicBezTo>
                    <a:pt x="1890141" y="286417"/>
                    <a:pt x="1582769" y="0"/>
                    <a:pt x="1000792" y="0"/>
                  </a:cubicBezTo>
                  <a:lnTo>
                    <a:pt x="0" y="0"/>
                  </a:lnTo>
                  <a:lnTo>
                    <a:pt x="0" y="1555528"/>
                  </a:lnTo>
                  <a:close/>
                </a:path>
              </a:pathLst>
            </a:custGeom>
            <a:grpFill/>
            <a:ln w="9525" cap="flat">
              <a:noFill/>
              <a:prstDash val="solid"/>
              <a:miter/>
            </a:ln>
          </p:spPr>
          <p:txBody>
            <a:bodyPr lIns="0" tIns="0" rIns="0" bIns="0" rtlCol="0" anchor="ctr"/>
            <a:lstStyle/>
            <a:p>
              <a:endParaRPr lang="de-DE" sz="100"/>
            </a:p>
          </p:txBody>
        </p:sp>
        <p:sp>
          <p:nvSpPr>
            <p:cNvPr id="11" name="r">
              <a:extLst>
                <a:ext uri="{FF2B5EF4-FFF2-40B4-BE49-F238E27FC236}">
                  <a16:creationId xmlns:a16="http://schemas.microsoft.com/office/drawing/2014/main" id="{C3735631-722B-47CF-8676-996CF08D2711}"/>
                </a:ext>
              </a:extLst>
            </p:cNvPr>
            <p:cNvSpPr/>
            <p:nvPr/>
          </p:nvSpPr>
          <p:spPr bwMode="gray">
            <a:xfrm>
              <a:off x="2405150" y="1899664"/>
              <a:ext cx="1579811" cy="1275112"/>
            </a:xfrm>
            <a:custGeom>
              <a:avLst/>
              <a:gdLst>
                <a:gd name="connsiteX0" fmla="*/ 1015937 w 1579816"/>
                <a:gd name="connsiteY0" fmla="*/ 220028 h 1275111"/>
                <a:gd name="connsiteX1" fmla="*/ 1157668 w 1579816"/>
                <a:gd name="connsiteY1" fmla="*/ 322517 h 1275111"/>
                <a:gd name="connsiteX2" fmla="*/ 1157668 w 1579816"/>
                <a:gd name="connsiteY2" fmla="*/ 470249 h 1275111"/>
                <a:gd name="connsiteX3" fmla="*/ 1015937 w 1579816"/>
                <a:gd name="connsiteY3" fmla="*/ 572738 h 1275111"/>
                <a:gd name="connsiteX4" fmla="*/ 307467 w 1579816"/>
                <a:gd name="connsiteY4" fmla="*/ 572738 h 1275111"/>
                <a:gd name="connsiteX5" fmla="*/ 307467 w 1579816"/>
                <a:gd name="connsiteY5" fmla="*/ 220028 h 1275111"/>
                <a:gd name="connsiteX6" fmla="*/ 1015937 w 1579816"/>
                <a:gd name="connsiteY6" fmla="*/ 220028 h 1275111"/>
                <a:gd name="connsiteX7" fmla="*/ 0 w 1579816"/>
                <a:gd name="connsiteY7" fmla="*/ 1275112 h 1275111"/>
                <a:gd name="connsiteX8" fmla="*/ 307562 w 1579816"/>
                <a:gd name="connsiteY8" fmla="*/ 1275112 h 1275111"/>
                <a:gd name="connsiteX9" fmla="*/ 307562 w 1579816"/>
                <a:gd name="connsiteY9" fmla="*/ 792671 h 1275111"/>
                <a:gd name="connsiteX10" fmla="*/ 599980 w 1579816"/>
                <a:gd name="connsiteY10" fmla="*/ 792671 h 1275111"/>
                <a:gd name="connsiteX11" fmla="*/ 1133570 w 1579816"/>
                <a:gd name="connsiteY11" fmla="*/ 1275112 h 1275111"/>
                <a:gd name="connsiteX12" fmla="*/ 1579817 w 1579816"/>
                <a:gd name="connsiteY12" fmla="*/ 1275112 h 1275111"/>
                <a:gd name="connsiteX13" fmla="*/ 973741 w 1579816"/>
                <a:gd name="connsiteY13" fmla="*/ 792671 h 1275111"/>
                <a:gd name="connsiteX14" fmla="*/ 1148620 w 1579816"/>
                <a:gd name="connsiteY14" fmla="*/ 792671 h 1275111"/>
                <a:gd name="connsiteX15" fmla="*/ 1447133 w 1579816"/>
                <a:gd name="connsiteY15" fmla="*/ 548640 h 1275111"/>
                <a:gd name="connsiteX16" fmla="*/ 1447133 w 1579816"/>
                <a:gd name="connsiteY16" fmla="*/ 247174 h 1275111"/>
                <a:gd name="connsiteX17" fmla="*/ 1148620 w 1579816"/>
                <a:gd name="connsiteY17" fmla="*/ 0 h 1275111"/>
                <a:gd name="connsiteX18" fmla="*/ 0 w 1579816"/>
                <a:gd name="connsiteY18" fmla="*/ 0 h 1275111"/>
                <a:gd name="connsiteX19" fmla="*/ 0 w 1579816"/>
                <a:gd name="connsiteY19" fmla="*/ 1275112 h 127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79816" h="1275111">
                  <a:moveTo>
                    <a:pt x="1015937" y="220028"/>
                  </a:moveTo>
                  <a:cubicBezTo>
                    <a:pt x="1109282" y="220028"/>
                    <a:pt x="1157668" y="238220"/>
                    <a:pt x="1157668" y="322517"/>
                  </a:cubicBezTo>
                  <a:lnTo>
                    <a:pt x="1157668" y="470249"/>
                  </a:lnTo>
                  <a:cubicBezTo>
                    <a:pt x="1157668" y="554736"/>
                    <a:pt x="1109282" y="572738"/>
                    <a:pt x="1015937" y="572738"/>
                  </a:cubicBezTo>
                  <a:lnTo>
                    <a:pt x="307467" y="572738"/>
                  </a:lnTo>
                  <a:lnTo>
                    <a:pt x="307467" y="220028"/>
                  </a:lnTo>
                  <a:lnTo>
                    <a:pt x="1015937" y="220028"/>
                  </a:lnTo>
                  <a:close/>
                  <a:moveTo>
                    <a:pt x="0" y="1275112"/>
                  </a:moveTo>
                  <a:lnTo>
                    <a:pt x="307562" y="1275112"/>
                  </a:lnTo>
                  <a:lnTo>
                    <a:pt x="307562" y="792671"/>
                  </a:lnTo>
                  <a:lnTo>
                    <a:pt x="599980" y="792671"/>
                  </a:lnTo>
                  <a:lnTo>
                    <a:pt x="1133570" y="1275112"/>
                  </a:lnTo>
                  <a:lnTo>
                    <a:pt x="1579817" y="1275112"/>
                  </a:lnTo>
                  <a:lnTo>
                    <a:pt x="973741" y="792671"/>
                  </a:lnTo>
                  <a:lnTo>
                    <a:pt x="1148620" y="792671"/>
                  </a:lnTo>
                  <a:cubicBezTo>
                    <a:pt x="1353693" y="792671"/>
                    <a:pt x="1447133" y="723329"/>
                    <a:pt x="1447133" y="548640"/>
                  </a:cubicBezTo>
                  <a:lnTo>
                    <a:pt x="1447133" y="247174"/>
                  </a:lnTo>
                  <a:cubicBezTo>
                    <a:pt x="1447133" y="69342"/>
                    <a:pt x="1353598" y="0"/>
                    <a:pt x="1148620" y="0"/>
                  </a:cubicBezTo>
                  <a:lnTo>
                    <a:pt x="0" y="0"/>
                  </a:lnTo>
                  <a:lnTo>
                    <a:pt x="0" y="1275112"/>
                  </a:lnTo>
                  <a:close/>
                </a:path>
              </a:pathLst>
            </a:custGeom>
            <a:grpFill/>
            <a:ln w="9525" cap="flat">
              <a:noFill/>
              <a:prstDash val="solid"/>
              <a:miter/>
            </a:ln>
          </p:spPr>
          <p:txBody>
            <a:bodyPr lIns="0" tIns="0" rIns="0" bIns="0" rtlCol="0" anchor="ctr"/>
            <a:lstStyle/>
            <a:p>
              <a:endParaRPr lang="de-DE" sz="100"/>
            </a:p>
          </p:txBody>
        </p:sp>
        <p:sp>
          <p:nvSpPr>
            <p:cNvPr id="12" name="e">
              <a:extLst>
                <a:ext uri="{FF2B5EF4-FFF2-40B4-BE49-F238E27FC236}">
                  <a16:creationId xmlns:a16="http://schemas.microsoft.com/office/drawing/2014/main" id="{4FF6F8B6-98CA-454A-AB60-DC706C24CA49}"/>
                </a:ext>
              </a:extLst>
            </p:cNvPr>
            <p:cNvSpPr/>
            <p:nvPr/>
          </p:nvSpPr>
          <p:spPr bwMode="gray">
            <a:xfrm>
              <a:off x="4279102" y="1899664"/>
              <a:ext cx="1383701" cy="1275112"/>
            </a:xfrm>
            <a:custGeom>
              <a:avLst/>
              <a:gdLst>
                <a:gd name="connsiteX0" fmla="*/ 0 w 1383696"/>
                <a:gd name="connsiteY0" fmla="*/ 1275112 h 1275111"/>
                <a:gd name="connsiteX1" fmla="*/ 1383697 w 1383696"/>
                <a:gd name="connsiteY1" fmla="*/ 1275112 h 1275111"/>
                <a:gd name="connsiteX2" fmla="*/ 1383697 w 1383696"/>
                <a:gd name="connsiteY2" fmla="*/ 1036987 h 1275111"/>
                <a:gd name="connsiteX3" fmla="*/ 313563 w 1383696"/>
                <a:gd name="connsiteY3" fmla="*/ 1036987 h 1275111"/>
                <a:gd name="connsiteX4" fmla="*/ 313563 w 1383696"/>
                <a:gd name="connsiteY4" fmla="*/ 723424 h 1275111"/>
                <a:gd name="connsiteX5" fmla="*/ 928497 w 1383696"/>
                <a:gd name="connsiteY5" fmla="*/ 723424 h 1275111"/>
                <a:gd name="connsiteX6" fmla="*/ 928497 w 1383696"/>
                <a:gd name="connsiteY6" fmla="*/ 503396 h 1275111"/>
                <a:gd name="connsiteX7" fmla="*/ 313563 w 1383696"/>
                <a:gd name="connsiteY7" fmla="*/ 503396 h 1275111"/>
                <a:gd name="connsiteX8" fmla="*/ 313563 w 1383696"/>
                <a:gd name="connsiteY8" fmla="*/ 226028 h 1275111"/>
                <a:gd name="connsiteX9" fmla="*/ 1368743 w 1383696"/>
                <a:gd name="connsiteY9" fmla="*/ 226028 h 1275111"/>
                <a:gd name="connsiteX10" fmla="*/ 1368743 w 1383696"/>
                <a:gd name="connsiteY10" fmla="*/ 0 h 1275111"/>
                <a:gd name="connsiteX11" fmla="*/ 0 w 1383696"/>
                <a:gd name="connsiteY11" fmla="*/ 0 h 127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3696" h="1275111">
                  <a:moveTo>
                    <a:pt x="0" y="1275112"/>
                  </a:moveTo>
                  <a:lnTo>
                    <a:pt x="1383697" y="1275112"/>
                  </a:lnTo>
                  <a:lnTo>
                    <a:pt x="1383697" y="1036987"/>
                  </a:lnTo>
                  <a:lnTo>
                    <a:pt x="313563" y="1036987"/>
                  </a:lnTo>
                  <a:lnTo>
                    <a:pt x="313563" y="723424"/>
                  </a:lnTo>
                  <a:lnTo>
                    <a:pt x="928497" y="723424"/>
                  </a:lnTo>
                  <a:lnTo>
                    <a:pt x="928497" y="503396"/>
                  </a:lnTo>
                  <a:lnTo>
                    <a:pt x="313563" y="503396"/>
                  </a:lnTo>
                  <a:lnTo>
                    <a:pt x="313563" y="226028"/>
                  </a:lnTo>
                  <a:lnTo>
                    <a:pt x="1368743" y="226028"/>
                  </a:lnTo>
                  <a:lnTo>
                    <a:pt x="1368743" y="0"/>
                  </a:lnTo>
                  <a:lnTo>
                    <a:pt x="0" y="0"/>
                  </a:lnTo>
                  <a:close/>
                </a:path>
              </a:pathLst>
            </a:custGeom>
            <a:grpFill/>
            <a:ln w="9525" cap="flat">
              <a:noFill/>
              <a:prstDash val="solid"/>
              <a:miter/>
            </a:ln>
          </p:spPr>
          <p:txBody>
            <a:bodyPr lIns="0" tIns="0" rIns="0" bIns="0" rtlCol="0" anchor="ctr"/>
            <a:lstStyle/>
            <a:p>
              <a:endParaRPr lang="de-DE" sz="100"/>
            </a:p>
          </p:txBody>
        </p:sp>
        <p:sp>
          <p:nvSpPr>
            <p:cNvPr id="13" name="e">
              <a:extLst>
                <a:ext uri="{FF2B5EF4-FFF2-40B4-BE49-F238E27FC236}">
                  <a16:creationId xmlns:a16="http://schemas.microsoft.com/office/drawing/2014/main" id="{83324C11-2300-4E6E-A330-C7B6CC37FBC2}"/>
                </a:ext>
              </a:extLst>
            </p:cNvPr>
            <p:cNvSpPr/>
            <p:nvPr/>
          </p:nvSpPr>
          <p:spPr bwMode="gray">
            <a:xfrm>
              <a:off x="6022562" y="1899664"/>
              <a:ext cx="1383701" cy="1275112"/>
            </a:xfrm>
            <a:custGeom>
              <a:avLst/>
              <a:gdLst>
                <a:gd name="connsiteX0" fmla="*/ 0 w 1383696"/>
                <a:gd name="connsiteY0" fmla="*/ 1275112 h 1275111"/>
                <a:gd name="connsiteX1" fmla="*/ 1383697 w 1383696"/>
                <a:gd name="connsiteY1" fmla="*/ 1275112 h 1275111"/>
                <a:gd name="connsiteX2" fmla="*/ 1383697 w 1383696"/>
                <a:gd name="connsiteY2" fmla="*/ 1036987 h 1275111"/>
                <a:gd name="connsiteX3" fmla="*/ 313563 w 1383696"/>
                <a:gd name="connsiteY3" fmla="*/ 1036987 h 1275111"/>
                <a:gd name="connsiteX4" fmla="*/ 313563 w 1383696"/>
                <a:gd name="connsiteY4" fmla="*/ 723424 h 1275111"/>
                <a:gd name="connsiteX5" fmla="*/ 928497 w 1383696"/>
                <a:gd name="connsiteY5" fmla="*/ 723424 h 1275111"/>
                <a:gd name="connsiteX6" fmla="*/ 928497 w 1383696"/>
                <a:gd name="connsiteY6" fmla="*/ 503396 h 1275111"/>
                <a:gd name="connsiteX7" fmla="*/ 313563 w 1383696"/>
                <a:gd name="connsiteY7" fmla="*/ 503396 h 1275111"/>
                <a:gd name="connsiteX8" fmla="*/ 313563 w 1383696"/>
                <a:gd name="connsiteY8" fmla="*/ 226028 h 1275111"/>
                <a:gd name="connsiteX9" fmla="*/ 1368743 w 1383696"/>
                <a:gd name="connsiteY9" fmla="*/ 226028 h 1275111"/>
                <a:gd name="connsiteX10" fmla="*/ 1368743 w 1383696"/>
                <a:gd name="connsiteY10" fmla="*/ 0 h 1275111"/>
                <a:gd name="connsiteX11" fmla="*/ 0 w 1383696"/>
                <a:gd name="connsiteY11" fmla="*/ 0 h 127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3696" h="1275111">
                  <a:moveTo>
                    <a:pt x="0" y="1275112"/>
                  </a:moveTo>
                  <a:lnTo>
                    <a:pt x="1383697" y="1275112"/>
                  </a:lnTo>
                  <a:lnTo>
                    <a:pt x="1383697" y="1036987"/>
                  </a:lnTo>
                  <a:lnTo>
                    <a:pt x="313563" y="1036987"/>
                  </a:lnTo>
                  <a:lnTo>
                    <a:pt x="313563" y="723424"/>
                  </a:lnTo>
                  <a:lnTo>
                    <a:pt x="928497" y="723424"/>
                  </a:lnTo>
                  <a:lnTo>
                    <a:pt x="928497" y="503396"/>
                  </a:lnTo>
                  <a:lnTo>
                    <a:pt x="313563" y="503396"/>
                  </a:lnTo>
                  <a:lnTo>
                    <a:pt x="313563" y="226028"/>
                  </a:lnTo>
                  <a:lnTo>
                    <a:pt x="1368743" y="226028"/>
                  </a:lnTo>
                  <a:lnTo>
                    <a:pt x="1368743" y="0"/>
                  </a:lnTo>
                  <a:lnTo>
                    <a:pt x="0" y="0"/>
                  </a:lnTo>
                  <a:close/>
                </a:path>
              </a:pathLst>
            </a:custGeom>
            <a:grpFill/>
            <a:ln w="9525" cap="flat">
              <a:noFill/>
              <a:prstDash val="solid"/>
              <a:miter/>
            </a:ln>
          </p:spPr>
          <p:txBody>
            <a:bodyPr lIns="0" tIns="0" rIns="0" bIns="0" rtlCol="0" anchor="ctr"/>
            <a:lstStyle/>
            <a:p>
              <a:endParaRPr lang="de-DE" sz="100"/>
            </a:p>
          </p:txBody>
        </p:sp>
        <p:sp>
          <p:nvSpPr>
            <p:cNvPr id="14" name="s">
              <a:extLst>
                <a:ext uri="{FF2B5EF4-FFF2-40B4-BE49-F238E27FC236}">
                  <a16:creationId xmlns:a16="http://schemas.microsoft.com/office/drawing/2014/main" id="{74248B2F-AA25-405D-961A-BC351D2D496B}"/>
                </a:ext>
              </a:extLst>
            </p:cNvPr>
            <p:cNvSpPr/>
            <p:nvPr/>
          </p:nvSpPr>
          <p:spPr bwMode="gray">
            <a:xfrm>
              <a:off x="7714204" y="1899664"/>
              <a:ext cx="1495239" cy="1275213"/>
            </a:xfrm>
            <a:custGeom>
              <a:avLst/>
              <a:gdLst>
                <a:gd name="connsiteX0" fmla="*/ 1211770 w 1495234"/>
                <a:gd name="connsiteY0" fmla="*/ 229076 h 1275207"/>
                <a:gd name="connsiteX1" fmla="*/ 1211770 w 1495234"/>
                <a:gd name="connsiteY1" fmla="*/ 348234 h 1275207"/>
                <a:gd name="connsiteX2" fmla="*/ 1479995 w 1495234"/>
                <a:gd name="connsiteY2" fmla="*/ 291084 h 1275207"/>
                <a:gd name="connsiteX3" fmla="*/ 1479995 w 1495234"/>
                <a:gd name="connsiteY3" fmla="*/ 277368 h 1275207"/>
                <a:gd name="connsiteX4" fmla="*/ 1145477 w 1495234"/>
                <a:gd name="connsiteY4" fmla="*/ 0 h 1275207"/>
                <a:gd name="connsiteX5" fmla="*/ 388905 w 1495234"/>
                <a:gd name="connsiteY5" fmla="*/ 0 h 1275207"/>
                <a:gd name="connsiteX6" fmla="*/ 54197 w 1495234"/>
                <a:gd name="connsiteY6" fmla="*/ 301561 h 1275207"/>
                <a:gd name="connsiteX7" fmla="*/ 54197 w 1495234"/>
                <a:gd name="connsiteY7" fmla="*/ 443294 h 1275207"/>
                <a:gd name="connsiteX8" fmla="*/ 388905 w 1495234"/>
                <a:gd name="connsiteY8" fmla="*/ 744665 h 1275207"/>
                <a:gd name="connsiteX9" fmla="*/ 1214818 w 1495234"/>
                <a:gd name="connsiteY9" fmla="*/ 744665 h 1275207"/>
                <a:gd name="connsiteX10" fmla="*/ 1214818 w 1495234"/>
                <a:gd name="connsiteY10" fmla="*/ 1037177 h 1275207"/>
                <a:gd name="connsiteX11" fmla="*/ 277177 w 1495234"/>
                <a:gd name="connsiteY11" fmla="*/ 1037177 h 1275207"/>
                <a:gd name="connsiteX12" fmla="*/ 277177 w 1495234"/>
                <a:gd name="connsiteY12" fmla="*/ 902875 h 1275207"/>
                <a:gd name="connsiteX13" fmla="*/ 0 w 1495234"/>
                <a:gd name="connsiteY13" fmla="*/ 954214 h 1275207"/>
                <a:gd name="connsiteX14" fmla="*/ 0 w 1495234"/>
                <a:gd name="connsiteY14" fmla="*/ 973836 h 1275207"/>
                <a:gd name="connsiteX15" fmla="*/ 334518 w 1495234"/>
                <a:gd name="connsiteY15" fmla="*/ 1275207 h 1275207"/>
                <a:gd name="connsiteX16" fmla="*/ 1163669 w 1495234"/>
                <a:gd name="connsiteY16" fmla="*/ 1275207 h 1275207"/>
                <a:gd name="connsiteX17" fmla="*/ 1495234 w 1495234"/>
                <a:gd name="connsiteY17" fmla="*/ 973836 h 1275207"/>
                <a:gd name="connsiteX18" fmla="*/ 1495234 w 1495234"/>
                <a:gd name="connsiteY18" fmla="*/ 798957 h 1275207"/>
                <a:gd name="connsiteX19" fmla="*/ 1163669 w 1495234"/>
                <a:gd name="connsiteY19" fmla="*/ 497586 h 1275207"/>
                <a:gd name="connsiteX20" fmla="*/ 334518 w 1495234"/>
                <a:gd name="connsiteY20" fmla="*/ 497586 h 1275207"/>
                <a:gd name="connsiteX21" fmla="*/ 334518 w 1495234"/>
                <a:gd name="connsiteY21" fmla="*/ 229076 h 1275207"/>
                <a:gd name="connsiteX22" fmla="*/ 1211770 w 1495234"/>
                <a:gd name="connsiteY22" fmla="*/ 229076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95234" h="1275207">
                  <a:moveTo>
                    <a:pt x="1211770" y="229076"/>
                  </a:moveTo>
                  <a:lnTo>
                    <a:pt x="1211770" y="348234"/>
                  </a:lnTo>
                  <a:lnTo>
                    <a:pt x="1479995" y="291084"/>
                  </a:lnTo>
                  <a:lnTo>
                    <a:pt x="1479995" y="277368"/>
                  </a:lnTo>
                  <a:cubicBezTo>
                    <a:pt x="1479995" y="54388"/>
                    <a:pt x="1380649" y="0"/>
                    <a:pt x="1145477" y="0"/>
                  </a:cubicBezTo>
                  <a:lnTo>
                    <a:pt x="388905" y="0"/>
                  </a:lnTo>
                  <a:cubicBezTo>
                    <a:pt x="138684" y="0"/>
                    <a:pt x="54197" y="60388"/>
                    <a:pt x="54197" y="301561"/>
                  </a:cubicBezTo>
                  <a:lnTo>
                    <a:pt x="54197" y="443294"/>
                  </a:lnTo>
                  <a:cubicBezTo>
                    <a:pt x="54197" y="684467"/>
                    <a:pt x="138684" y="744665"/>
                    <a:pt x="388905" y="744665"/>
                  </a:cubicBezTo>
                  <a:lnTo>
                    <a:pt x="1214818" y="744665"/>
                  </a:lnTo>
                  <a:lnTo>
                    <a:pt x="1214818" y="1037177"/>
                  </a:lnTo>
                  <a:lnTo>
                    <a:pt x="277177" y="1037177"/>
                  </a:lnTo>
                  <a:lnTo>
                    <a:pt x="277177" y="902875"/>
                  </a:lnTo>
                  <a:lnTo>
                    <a:pt x="0" y="954214"/>
                  </a:lnTo>
                  <a:lnTo>
                    <a:pt x="0" y="973836"/>
                  </a:lnTo>
                  <a:cubicBezTo>
                    <a:pt x="0" y="1212056"/>
                    <a:pt x="81343" y="1275207"/>
                    <a:pt x="334518" y="1275207"/>
                  </a:cubicBezTo>
                  <a:lnTo>
                    <a:pt x="1163669" y="1275207"/>
                  </a:lnTo>
                  <a:cubicBezTo>
                    <a:pt x="1416844" y="1275207"/>
                    <a:pt x="1495234" y="1212056"/>
                    <a:pt x="1495234" y="973836"/>
                  </a:cubicBezTo>
                  <a:lnTo>
                    <a:pt x="1495234" y="798957"/>
                  </a:lnTo>
                  <a:cubicBezTo>
                    <a:pt x="1495234" y="557784"/>
                    <a:pt x="1416939" y="497586"/>
                    <a:pt x="1163669" y="497586"/>
                  </a:cubicBezTo>
                  <a:lnTo>
                    <a:pt x="334518" y="497586"/>
                  </a:lnTo>
                  <a:lnTo>
                    <a:pt x="334518" y="229076"/>
                  </a:lnTo>
                  <a:lnTo>
                    <a:pt x="1211770" y="229076"/>
                  </a:lnTo>
                  <a:close/>
                </a:path>
              </a:pathLst>
            </a:custGeom>
            <a:grpFill/>
            <a:ln w="9525" cap="flat">
              <a:noFill/>
              <a:prstDash val="solid"/>
              <a:miter/>
            </a:ln>
          </p:spPr>
          <p:txBody>
            <a:bodyPr lIns="0" tIns="0" rIns="0" bIns="0" rtlCol="0" anchor="ctr"/>
            <a:lstStyle/>
            <a:p>
              <a:endParaRPr lang="de-DE" sz="100"/>
            </a:p>
          </p:txBody>
        </p:sp>
        <p:sp>
          <p:nvSpPr>
            <p:cNvPr id="15" name="&amp;">
              <a:extLst>
                <a:ext uri="{FF2B5EF4-FFF2-40B4-BE49-F238E27FC236}">
                  <a16:creationId xmlns:a16="http://schemas.microsoft.com/office/drawing/2014/main" id="{1A4BE789-F3C6-4C7F-A282-B637C0866FF8}"/>
                </a:ext>
              </a:extLst>
            </p:cNvPr>
            <p:cNvSpPr/>
            <p:nvPr/>
          </p:nvSpPr>
          <p:spPr bwMode="gray">
            <a:xfrm>
              <a:off x="9995063" y="1619247"/>
              <a:ext cx="2104259" cy="1555528"/>
            </a:xfrm>
            <a:custGeom>
              <a:avLst/>
              <a:gdLst>
                <a:gd name="connsiteX0" fmla="*/ 304514 w 2104263"/>
                <a:gd name="connsiteY0" fmla="*/ 1284161 h 1555527"/>
                <a:gd name="connsiteX1" fmla="*/ 304514 w 2104263"/>
                <a:gd name="connsiteY1" fmla="*/ 1018985 h 1555527"/>
                <a:gd name="connsiteX2" fmla="*/ 702373 w 2104263"/>
                <a:gd name="connsiteY2" fmla="*/ 771811 h 1555527"/>
                <a:gd name="connsiteX3" fmla="*/ 1169575 w 2104263"/>
                <a:gd name="connsiteY3" fmla="*/ 1160717 h 1555527"/>
                <a:gd name="connsiteX4" fmla="*/ 1024890 w 2104263"/>
                <a:gd name="connsiteY4" fmla="*/ 1284256 h 1555527"/>
                <a:gd name="connsiteX5" fmla="*/ 304514 w 2104263"/>
                <a:gd name="connsiteY5" fmla="*/ 1284256 h 1555527"/>
                <a:gd name="connsiteX6" fmla="*/ 388811 w 2104263"/>
                <a:gd name="connsiteY6" fmla="*/ 1555528 h 1555527"/>
                <a:gd name="connsiteX7" fmla="*/ 943547 w 2104263"/>
                <a:gd name="connsiteY7" fmla="*/ 1555528 h 1555527"/>
                <a:gd name="connsiteX8" fmla="*/ 1235964 w 2104263"/>
                <a:gd name="connsiteY8" fmla="*/ 1461992 h 1555527"/>
                <a:gd name="connsiteX9" fmla="*/ 1374649 w 2104263"/>
                <a:gd name="connsiteY9" fmla="*/ 1338453 h 1555527"/>
                <a:gd name="connsiteX10" fmla="*/ 1630870 w 2104263"/>
                <a:gd name="connsiteY10" fmla="*/ 1555528 h 1555527"/>
                <a:gd name="connsiteX11" fmla="*/ 2104264 w 2104263"/>
                <a:gd name="connsiteY11" fmla="*/ 1555528 h 1555527"/>
                <a:gd name="connsiteX12" fmla="*/ 1612869 w 2104263"/>
                <a:gd name="connsiteY12" fmla="*/ 1142429 h 1555527"/>
                <a:gd name="connsiteX13" fmla="*/ 1971580 w 2104263"/>
                <a:gd name="connsiteY13" fmla="*/ 844106 h 1555527"/>
                <a:gd name="connsiteX14" fmla="*/ 1766507 w 2104263"/>
                <a:gd name="connsiteY14" fmla="*/ 666274 h 1555527"/>
                <a:gd name="connsiteX15" fmla="*/ 1404747 w 2104263"/>
                <a:gd name="connsiteY15" fmla="*/ 967645 h 1555527"/>
                <a:gd name="connsiteX16" fmla="*/ 672180 w 2104263"/>
                <a:gd name="connsiteY16" fmla="*/ 358712 h 1555527"/>
                <a:gd name="connsiteX17" fmla="*/ 672180 w 2104263"/>
                <a:gd name="connsiteY17" fmla="*/ 247174 h 1555527"/>
                <a:gd name="connsiteX18" fmla="*/ 1181767 w 2104263"/>
                <a:gd name="connsiteY18" fmla="*/ 247174 h 1555527"/>
                <a:gd name="connsiteX19" fmla="*/ 1181767 w 2104263"/>
                <a:gd name="connsiteY19" fmla="*/ 455295 h 1555527"/>
                <a:gd name="connsiteX20" fmla="*/ 1461992 w 2104263"/>
                <a:gd name="connsiteY20" fmla="*/ 407099 h 1555527"/>
                <a:gd name="connsiteX21" fmla="*/ 1461992 w 2104263"/>
                <a:gd name="connsiteY21" fmla="*/ 313563 h 1555527"/>
                <a:gd name="connsiteX22" fmla="*/ 1076134 w 2104263"/>
                <a:gd name="connsiteY22" fmla="*/ 0 h 1555527"/>
                <a:gd name="connsiteX23" fmla="*/ 762763 w 2104263"/>
                <a:gd name="connsiteY23" fmla="*/ 0 h 1555527"/>
                <a:gd name="connsiteX24" fmla="*/ 376905 w 2104263"/>
                <a:gd name="connsiteY24" fmla="*/ 283369 h 1555527"/>
                <a:gd name="connsiteX25" fmla="*/ 376905 w 2104263"/>
                <a:gd name="connsiteY25" fmla="*/ 370713 h 1555527"/>
                <a:gd name="connsiteX26" fmla="*/ 509588 w 2104263"/>
                <a:gd name="connsiteY26" fmla="*/ 605885 h 1555527"/>
                <a:gd name="connsiteX27" fmla="*/ 192881 w 2104263"/>
                <a:gd name="connsiteY27" fmla="*/ 795909 h 1555527"/>
                <a:gd name="connsiteX28" fmla="*/ 0 w 2104263"/>
                <a:gd name="connsiteY28" fmla="*/ 1085279 h 1555527"/>
                <a:gd name="connsiteX29" fmla="*/ 0 w 2104263"/>
                <a:gd name="connsiteY29" fmla="*/ 1187768 h 1555527"/>
                <a:gd name="connsiteX30" fmla="*/ 388811 w 2104263"/>
                <a:gd name="connsiteY30" fmla="*/ 1555528 h 155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104263" h="1555527">
                  <a:moveTo>
                    <a:pt x="304514" y="1284161"/>
                  </a:moveTo>
                  <a:lnTo>
                    <a:pt x="304514" y="1018985"/>
                  </a:lnTo>
                  <a:lnTo>
                    <a:pt x="702373" y="771811"/>
                  </a:lnTo>
                  <a:lnTo>
                    <a:pt x="1169575" y="1160717"/>
                  </a:lnTo>
                  <a:lnTo>
                    <a:pt x="1024890" y="1284256"/>
                  </a:lnTo>
                  <a:lnTo>
                    <a:pt x="304514" y="1284256"/>
                  </a:lnTo>
                  <a:close/>
                  <a:moveTo>
                    <a:pt x="388811" y="1555528"/>
                  </a:moveTo>
                  <a:lnTo>
                    <a:pt x="943547" y="1555528"/>
                  </a:lnTo>
                  <a:cubicBezTo>
                    <a:pt x="1073087" y="1555528"/>
                    <a:pt x="1136428" y="1549527"/>
                    <a:pt x="1235964" y="1461992"/>
                  </a:cubicBezTo>
                  <a:lnTo>
                    <a:pt x="1374649" y="1338453"/>
                  </a:lnTo>
                  <a:lnTo>
                    <a:pt x="1630870" y="1555528"/>
                  </a:lnTo>
                  <a:lnTo>
                    <a:pt x="2104264" y="1555528"/>
                  </a:lnTo>
                  <a:lnTo>
                    <a:pt x="1612869" y="1142429"/>
                  </a:lnTo>
                  <a:lnTo>
                    <a:pt x="1971580" y="844106"/>
                  </a:lnTo>
                  <a:lnTo>
                    <a:pt x="1766507" y="666274"/>
                  </a:lnTo>
                  <a:lnTo>
                    <a:pt x="1404747" y="967645"/>
                  </a:lnTo>
                  <a:lnTo>
                    <a:pt x="672180" y="358712"/>
                  </a:lnTo>
                  <a:lnTo>
                    <a:pt x="672180" y="247174"/>
                  </a:lnTo>
                  <a:lnTo>
                    <a:pt x="1181767" y="247174"/>
                  </a:lnTo>
                  <a:lnTo>
                    <a:pt x="1181767" y="455295"/>
                  </a:lnTo>
                  <a:lnTo>
                    <a:pt x="1461992" y="407099"/>
                  </a:lnTo>
                  <a:lnTo>
                    <a:pt x="1461992" y="313563"/>
                  </a:lnTo>
                  <a:cubicBezTo>
                    <a:pt x="1461992" y="60389"/>
                    <a:pt x="1356456" y="0"/>
                    <a:pt x="1076134" y="0"/>
                  </a:cubicBezTo>
                  <a:lnTo>
                    <a:pt x="762763" y="0"/>
                  </a:lnTo>
                  <a:cubicBezTo>
                    <a:pt x="497395" y="0"/>
                    <a:pt x="376905" y="60389"/>
                    <a:pt x="376905" y="283369"/>
                  </a:cubicBezTo>
                  <a:lnTo>
                    <a:pt x="376905" y="370713"/>
                  </a:lnTo>
                  <a:cubicBezTo>
                    <a:pt x="376905" y="461200"/>
                    <a:pt x="419100" y="530543"/>
                    <a:pt x="509588" y="605885"/>
                  </a:cubicBezTo>
                  <a:lnTo>
                    <a:pt x="192881" y="795909"/>
                  </a:lnTo>
                  <a:cubicBezTo>
                    <a:pt x="57341" y="877253"/>
                    <a:pt x="0" y="925449"/>
                    <a:pt x="0" y="1085279"/>
                  </a:cubicBezTo>
                  <a:lnTo>
                    <a:pt x="0" y="1187768"/>
                  </a:lnTo>
                  <a:cubicBezTo>
                    <a:pt x="0" y="1480185"/>
                    <a:pt x="96488" y="1555528"/>
                    <a:pt x="388811" y="1555528"/>
                  </a:cubicBezTo>
                </a:path>
              </a:pathLst>
            </a:custGeom>
            <a:grpFill/>
            <a:ln w="9525" cap="flat">
              <a:noFill/>
              <a:prstDash val="solid"/>
              <a:miter/>
            </a:ln>
          </p:spPr>
          <p:txBody>
            <a:bodyPr lIns="0" tIns="0" rIns="0" bIns="0" rtlCol="0" anchor="ctr"/>
            <a:lstStyle/>
            <a:p>
              <a:endParaRPr lang="de-DE" sz="100"/>
            </a:p>
          </p:txBody>
        </p:sp>
        <p:sp>
          <p:nvSpPr>
            <p:cNvPr id="16" name="s">
              <a:extLst>
                <a:ext uri="{FF2B5EF4-FFF2-40B4-BE49-F238E27FC236}">
                  <a16:creationId xmlns:a16="http://schemas.microsoft.com/office/drawing/2014/main" id="{FE9DE995-294B-468B-85B7-BDDD78DBED48}"/>
                </a:ext>
              </a:extLst>
            </p:cNvPr>
            <p:cNvSpPr/>
            <p:nvPr/>
          </p:nvSpPr>
          <p:spPr bwMode="gray">
            <a:xfrm>
              <a:off x="95247" y="3686081"/>
              <a:ext cx="1739650" cy="1555528"/>
            </a:xfrm>
            <a:custGeom>
              <a:avLst/>
              <a:gdLst>
                <a:gd name="connsiteX0" fmla="*/ 1398842 w 1739645"/>
                <a:gd name="connsiteY0" fmla="*/ 271367 h 1555527"/>
                <a:gd name="connsiteX1" fmla="*/ 1398842 w 1739645"/>
                <a:gd name="connsiteY1" fmla="*/ 439865 h 1555527"/>
                <a:gd name="connsiteX2" fmla="*/ 1718405 w 1739645"/>
                <a:gd name="connsiteY2" fmla="*/ 364522 h 1555527"/>
                <a:gd name="connsiteX3" fmla="*/ 1718405 w 1739645"/>
                <a:gd name="connsiteY3" fmla="*/ 340709 h 1555527"/>
                <a:gd name="connsiteX4" fmla="*/ 1332548 w 1739645"/>
                <a:gd name="connsiteY4" fmla="*/ 0 h 1555527"/>
                <a:gd name="connsiteX5" fmla="*/ 449199 w 1739645"/>
                <a:gd name="connsiteY5" fmla="*/ 0 h 1555527"/>
                <a:gd name="connsiteX6" fmla="*/ 63341 w 1739645"/>
                <a:gd name="connsiteY6" fmla="*/ 367855 h 1555527"/>
                <a:gd name="connsiteX7" fmla="*/ 63341 w 1739645"/>
                <a:gd name="connsiteY7" fmla="*/ 539496 h 1555527"/>
                <a:gd name="connsiteX8" fmla="*/ 449199 w 1739645"/>
                <a:gd name="connsiteY8" fmla="*/ 907351 h 1555527"/>
                <a:gd name="connsiteX9" fmla="*/ 1419987 w 1739645"/>
                <a:gd name="connsiteY9" fmla="*/ 907351 h 1555527"/>
                <a:gd name="connsiteX10" fmla="*/ 1419987 w 1739645"/>
                <a:gd name="connsiteY10" fmla="*/ 1263110 h 1555527"/>
                <a:gd name="connsiteX11" fmla="*/ 319754 w 1739645"/>
                <a:gd name="connsiteY11" fmla="*/ 1263110 h 1555527"/>
                <a:gd name="connsiteX12" fmla="*/ 319754 w 1739645"/>
                <a:gd name="connsiteY12" fmla="*/ 1095661 h 1555527"/>
                <a:gd name="connsiteX13" fmla="*/ 0 w 1739645"/>
                <a:gd name="connsiteY13" fmla="*/ 1162050 h 1555527"/>
                <a:gd name="connsiteX14" fmla="*/ 0 w 1739645"/>
                <a:gd name="connsiteY14" fmla="*/ 1187768 h 1555527"/>
                <a:gd name="connsiteX15" fmla="*/ 388906 w 1739645"/>
                <a:gd name="connsiteY15" fmla="*/ 1555528 h 1555527"/>
                <a:gd name="connsiteX16" fmla="*/ 1350740 w 1739645"/>
                <a:gd name="connsiteY16" fmla="*/ 1555528 h 1555527"/>
                <a:gd name="connsiteX17" fmla="*/ 1739646 w 1739645"/>
                <a:gd name="connsiteY17" fmla="*/ 1187768 h 1555527"/>
                <a:gd name="connsiteX18" fmla="*/ 1739646 w 1739645"/>
                <a:gd name="connsiteY18" fmla="*/ 973741 h 1555527"/>
                <a:gd name="connsiteX19" fmla="*/ 1350740 w 1739645"/>
                <a:gd name="connsiteY19" fmla="*/ 605885 h 1555527"/>
                <a:gd name="connsiteX20" fmla="*/ 379857 w 1739645"/>
                <a:gd name="connsiteY20" fmla="*/ 605885 h 1555527"/>
                <a:gd name="connsiteX21" fmla="*/ 379857 w 1739645"/>
                <a:gd name="connsiteY21" fmla="*/ 271367 h 1555527"/>
                <a:gd name="connsiteX22" fmla="*/ 1398842 w 1739645"/>
                <a:gd name="connsiteY22" fmla="*/ 271367 h 155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39645" h="1555527">
                  <a:moveTo>
                    <a:pt x="1398842" y="271367"/>
                  </a:moveTo>
                  <a:lnTo>
                    <a:pt x="1398842" y="439865"/>
                  </a:lnTo>
                  <a:lnTo>
                    <a:pt x="1718405" y="364522"/>
                  </a:lnTo>
                  <a:lnTo>
                    <a:pt x="1718405" y="340709"/>
                  </a:lnTo>
                  <a:cubicBezTo>
                    <a:pt x="1718405" y="72295"/>
                    <a:pt x="1609916" y="0"/>
                    <a:pt x="1332548" y="0"/>
                  </a:cubicBezTo>
                  <a:lnTo>
                    <a:pt x="449199" y="0"/>
                  </a:lnTo>
                  <a:cubicBezTo>
                    <a:pt x="156781" y="0"/>
                    <a:pt x="63341" y="75343"/>
                    <a:pt x="63341" y="367855"/>
                  </a:cubicBezTo>
                  <a:lnTo>
                    <a:pt x="63341" y="539496"/>
                  </a:lnTo>
                  <a:cubicBezTo>
                    <a:pt x="63341" y="832009"/>
                    <a:pt x="156877" y="907351"/>
                    <a:pt x="449199" y="907351"/>
                  </a:cubicBezTo>
                  <a:lnTo>
                    <a:pt x="1419987" y="907351"/>
                  </a:lnTo>
                  <a:lnTo>
                    <a:pt x="1419987" y="1263110"/>
                  </a:lnTo>
                  <a:lnTo>
                    <a:pt x="319754" y="1263110"/>
                  </a:lnTo>
                  <a:lnTo>
                    <a:pt x="319754" y="1095661"/>
                  </a:lnTo>
                  <a:lnTo>
                    <a:pt x="0" y="1162050"/>
                  </a:lnTo>
                  <a:lnTo>
                    <a:pt x="0" y="1187768"/>
                  </a:lnTo>
                  <a:cubicBezTo>
                    <a:pt x="0" y="1480185"/>
                    <a:pt x="96488" y="1555528"/>
                    <a:pt x="388906" y="1555528"/>
                  </a:cubicBezTo>
                  <a:lnTo>
                    <a:pt x="1350740" y="1555528"/>
                  </a:lnTo>
                  <a:cubicBezTo>
                    <a:pt x="1643158" y="1555528"/>
                    <a:pt x="1739646" y="1480185"/>
                    <a:pt x="1739646" y="1187768"/>
                  </a:cubicBezTo>
                  <a:lnTo>
                    <a:pt x="1739646" y="973741"/>
                  </a:lnTo>
                  <a:cubicBezTo>
                    <a:pt x="1739646" y="681228"/>
                    <a:pt x="1643158" y="605885"/>
                    <a:pt x="1350740" y="605885"/>
                  </a:cubicBezTo>
                  <a:lnTo>
                    <a:pt x="379857" y="605885"/>
                  </a:lnTo>
                  <a:lnTo>
                    <a:pt x="379857" y="271367"/>
                  </a:lnTo>
                  <a:lnTo>
                    <a:pt x="1398842" y="271367"/>
                  </a:lnTo>
                  <a:close/>
                </a:path>
              </a:pathLst>
            </a:custGeom>
            <a:grpFill/>
            <a:ln w="9525" cap="flat">
              <a:noFill/>
              <a:prstDash val="solid"/>
              <a:miter/>
            </a:ln>
          </p:spPr>
          <p:txBody>
            <a:bodyPr lIns="0" tIns="0" rIns="0" bIns="0" rtlCol="0" anchor="ctr"/>
            <a:lstStyle/>
            <a:p>
              <a:endParaRPr lang="de-DE" sz="100"/>
            </a:p>
          </p:txBody>
        </p:sp>
        <p:sp>
          <p:nvSpPr>
            <p:cNvPr id="17" name="o">
              <a:extLst>
                <a:ext uri="{FF2B5EF4-FFF2-40B4-BE49-F238E27FC236}">
                  <a16:creationId xmlns:a16="http://schemas.microsoft.com/office/drawing/2014/main" id="{05D28441-2A9F-4BEE-9E35-3905F42BF713}"/>
                </a:ext>
              </a:extLst>
            </p:cNvPr>
            <p:cNvSpPr/>
            <p:nvPr/>
          </p:nvSpPr>
          <p:spPr bwMode="gray">
            <a:xfrm>
              <a:off x="2206937" y="3966587"/>
              <a:ext cx="1682019" cy="1275212"/>
            </a:xfrm>
            <a:custGeom>
              <a:avLst/>
              <a:gdLst>
                <a:gd name="connsiteX0" fmla="*/ 326041 w 1682019"/>
                <a:gd name="connsiteY0" fmla="*/ 234982 h 1275207"/>
                <a:gd name="connsiteX1" fmla="*/ 1374648 w 1682019"/>
                <a:gd name="connsiteY1" fmla="*/ 234982 h 1275207"/>
                <a:gd name="connsiteX2" fmla="*/ 1374648 w 1682019"/>
                <a:gd name="connsiteY2" fmla="*/ 1030891 h 1275207"/>
                <a:gd name="connsiteX3" fmla="*/ 326041 w 1682019"/>
                <a:gd name="connsiteY3" fmla="*/ 1030891 h 1275207"/>
                <a:gd name="connsiteX4" fmla="*/ 326041 w 1682019"/>
                <a:gd name="connsiteY4" fmla="*/ 234982 h 1275207"/>
                <a:gd name="connsiteX5" fmla="*/ 0 w 1682019"/>
                <a:gd name="connsiteY5" fmla="*/ 301371 h 1275207"/>
                <a:gd name="connsiteX6" fmla="*/ 0 w 1682019"/>
                <a:gd name="connsiteY6" fmla="*/ 973646 h 1275207"/>
                <a:gd name="connsiteX7" fmla="*/ 338233 w 1682019"/>
                <a:gd name="connsiteY7" fmla="*/ 1275207 h 1275207"/>
                <a:gd name="connsiteX8" fmla="*/ 1343787 w 1682019"/>
                <a:gd name="connsiteY8" fmla="*/ 1275207 h 1275207"/>
                <a:gd name="connsiteX9" fmla="*/ 1682020 w 1682019"/>
                <a:gd name="connsiteY9" fmla="*/ 973646 h 1275207"/>
                <a:gd name="connsiteX10" fmla="*/ 1682020 w 1682019"/>
                <a:gd name="connsiteY10" fmla="*/ 301371 h 1275207"/>
                <a:gd name="connsiteX11" fmla="*/ 1343787 w 1682019"/>
                <a:gd name="connsiteY11" fmla="*/ 0 h 1275207"/>
                <a:gd name="connsiteX12" fmla="*/ 338233 w 1682019"/>
                <a:gd name="connsiteY12" fmla="*/ 0 h 1275207"/>
                <a:gd name="connsiteX13" fmla="*/ 0 w 1682019"/>
                <a:gd name="connsiteY13" fmla="*/ 301371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82019" h="1275207">
                  <a:moveTo>
                    <a:pt x="326041" y="234982"/>
                  </a:moveTo>
                  <a:lnTo>
                    <a:pt x="1374648" y="234982"/>
                  </a:lnTo>
                  <a:lnTo>
                    <a:pt x="1374648" y="1030891"/>
                  </a:lnTo>
                  <a:lnTo>
                    <a:pt x="326041" y="1030891"/>
                  </a:lnTo>
                  <a:lnTo>
                    <a:pt x="326041" y="234982"/>
                  </a:lnTo>
                  <a:close/>
                  <a:moveTo>
                    <a:pt x="0" y="301371"/>
                  </a:moveTo>
                  <a:lnTo>
                    <a:pt x="0" y="973646"/>
                  </a:lnTo>
                  <a:cubicBezTo>
                    <a:pt x="0" y="1214819"/>
                    <a:pt x="79915" y="1275207"/>
                    <a:pt x="338233" y="1275207"/>
                  </a:cubicBezTo>
                  <a:lnTo>
                    <a:pt x="1343787" y="1275207"/>
                  </a:lnTo>
                  <a:cubicBezTo>
                    <a:pt x="1598962" y="1275207"/>
                    <a:pt x="1682020" y="1214819"/>
                    <a:pt x="1682020" y="973646"/>
                  </a:cubicBezTo>
                  <a:lnTo>
                    <a:pt x="1682020" y="301371"/>
                  </a:lnTo>
                  <a:cubicBezTo>
                    <a:pt x="1682020" y="57150"/>
                    <a:pt x="1598867" y="0"/>
                    <a:pt x="1343787" y="0"/>
                  </a:cubicBezTo>
                  <a:lnTo>
                    <a:pt x="338233" y="0"/>
                  </a:lnTo>
                  <a:cubicBezTo>
                    <a:pt x="83153" y="0"/>
                    <a:pt x="0" y="57150"/>
                    <a:pt x="0" y="301371"/>
                  </a:cubicBezTo>
                </a:path>
              </a:pathLst>
            </a:custGeom>
            <a:grpFill/>
            <a:ln w="9525" cap="flat">
              <a:noFill/>
              <a:prstDash val="solid"/>
              <a:miter/>
            </a:ln>
          </p:spPr>
          <p:txBody>
            <a:bodyPr lIns="0" tIns="0" rIns="0" bIns="0" rtlCol="0" anchor="ctr"/>
            <a:lstStyle/>
            <a:p>
              <a:endParaRPr lang="de-DE" sz="100"/>
            </a:p>
          </p:txBody>
        </p:sp>
        <p:sp>
          <p:nvSpPr>
            <p:cNvPr id="18" name="m">
              <a:extLst>
                <a:ext uri="{FF2B5EF4-FFF2-40B4-BE49-F238E27FC236}">
                  <a16:creationId xmlns:a16="http://schemas.microsoft.com/office/drawing/2014/main" id="{1D377C72-7891-4EA4-A055-B0DBC2BFB4EA}"/>
                </a:ext>
              </a:extLst>
            </p:cNvPr>
            <p:cNvSpPr/>
            <p:nvPr/>
          </p:nvSpPr>
          <p:spPr bwMode="gray">
            <a:xfrm>
              <a:off x="4290154" y="3966498"/>
              <a:ext cx="1815752" cy="1275212"/>
            </a:xfrm>
            <a:custGeom>
              <a:avLst/>
              <a:gdLst>
                <a:gd name="connsiteX0" fmla="*/ 1560576 w 1815750"/>
                <a:gd name="connsiteY0" fmla="*/ 0 h 1275207"/>
                <a:gd name="connsiteX1" fmla="*/ 927163 w 1815750"/>
                <a:gd name="connsiteY1" fmla="*/ 756571 h 1275207"/>
                <a:gd name="connsiteX2" fmla="*/ 290703 w 1815750"/>
                <a:gd name="connsiteY2" fmla="*/ 0 h 1275207"/>
                <a:gd name="connsiteX3" fmla="*/ 0 w 1815750"/>
                <a:gd name="connsiteY3" fmla="*/ 0 h 1275207"/>
                <a:gd name="connsiteX4" fmla="*/ 0 w 1815750"/>
                <a:gd name="connsiteY4" fmla="*/ 1275207 h 1275207"/>
                <a:gd name="connsiteX5" fmla="*/ 290703 w 1815750"/>
                <a:gd name="connsiteY5" fmla="*/ 1275207 h 1275207"/>
                <a:gd name="connsiteX6" fmla="*/ 290703 w 1815750"/>
                <a:gd name="connsiteY6" fmla="*/ 419100 h 1275207"/>
                <a:gd name="connsiteX7" fmla="*/ 877919 w 1815750"/>
                <a:gd name="connsiteY7" fmla="*/ 1121474 h 1275207"/>
                <a:gd name="connsiteX8" fmla="*/ 939356 w 1815750"/>
                <a:gd name="connsiteY8" fmla="*/ 1121474 h 1275207"/>
                <a:gd name="connsiteX9" fmla="*/ 1520571 w 1815750"/>
                <a:gd name="connsiteY9" fmla="*/ 397859 h 1275207"/>
                <a:gd name="connsiteX10" fmla="*/ 1520571 w 1815750"/>
                <a:gd name="connsiteY10" fmla="*/ 1275207 h 1275207"/>
                <a:gd name="connsiteX11" fmla="*/ 1815751 w 1815750"/>
                <a:gd name="connsiteY11" fmla="*/ 1275207 h 1275207"/>
                <a:gd name="connsiteX12" fmla="*/ 1815751 w 1815750"/>
                <a:gd name="connsiteY12" fmla="*/ 0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5750" h="1275207">
                  <a:moveTo>
                    <a:pt x="1560576" y="0"/>
                  </a:moveTo>
                  <a:lnTo>
                    <a:pt x="927163" y="756571"/>
                  </a:lnTo>
                  <a:lnTo>
                    <a:pt x="290703" y="0"/>
                  </a:lnTo>
                  <a:lnTo>
                    <a:pt x="0" y="0"/>
                  </a:lnTo>
                  <a:lnTo>
                    <a:pt x="0" y="1275207"/>
                  </a:lnTo>
                  <a:lnTo>
                    <a:pt x="290703" y="1275207"/>
                  </a:lnTo>
                  <a:lnTo>
                    <a:pt x="290703" y="419100"/>
                  </a:lnTo>
                  <a:lnTo>
                    <a:pt x="877919" y="1121474"/>
                  </a:lnTo>
                  <a:lnTo>
                    <a:pt x="939356" y="1121474"/>
                  </a:lnTo>
                  <a:lnTo>
                    <a:pt x="1520571" y="397859"/>
                  </a:lnTo>
                  <a:lnTo>
                    <a:pt x="1520571" y="1275207"/>
                  </a:lnTo>
                  <a:lnTo>
                    <a:pt x="1815751" y="1275207"/>
                  </a:lnTo>
                  <a:lnTo>
                    <a:pt x="1815751" y="0"/>
                  </a:lnTo>
                  <a:close/>
                </a:path>
              </a:pathLst>
            </a:custGeom>
            <a:grpFill/>
            <a:ln w="9525" cap="flat">
              <a:noFill/>
              <a:prstDash val="solid"/>
              <a:miter/>
            </a:ln>
          </p:spPr>
          <p:txBody>
            <a:bodyPr lIns="0" tIns="0" rIns="0" bIns="0" rtlCol="0" anchor="ctr"/>
            <a:lstStyle/>
            <a:p>
              <a:endParaRPr lang="de-DE" sz="100"/>
            </a:p>
          </p:txBody>
        </p:sp>
        <p:sp>
          <p:nvSpPr>
            <p:cNvPr id="19" name="m">
              <a:extLst>
                <a:ext uri="{FF2B5EF4-FFF2-40B4-BE49-F238E27FC236}">
                  <a16:creationId xmlns:a16="http://schemas.microsoft.com/office/drawing/2014/main" id="{B09245E1-BA47-440C-B36B-863DBA1D8245}"/>
                </a:ext>
              </a:extLst>
            </p:cNvPr>
            <p:cNvSpPr/>
            <p:nvPr/>
          </p:nvSpPr>
          <p:spPr bwMode="gray">
            <a:xfrm>
              <a:off x="6535096" y="3966498"/>
              <a:ext cx="1815752" cy="1275212"/>
            </a:xfrm>
            <a:custGeom>
              <a:avLst/>
              <a:gdLst>
                <a:gd name="connsiteX0" fmla="*/ 1560672 w 1815750"/>
                <a:gd name="connsiteY0" fmla="*/ 0 h 1275207"/>
                <a:gd name="connsiteX1" fmla="*/ 927164 w 1815750"/>
                <a:gd name="connsiteY1" fmla="*/ 756571 h 1275207"/>
                <a:gd name="connsiteX2" fmla="*/ 290799 w 1815750"/>
                <a:gd name="connsiteY2" fmla="*/ 0 h 1275207"/>
                <a:gd name="connsiteX3" fmla="*/ 0 w 1815750"/>
                <a:gd name="connsiteY3" fmla="*/ 0 h 1275207"/>
                <a:gd name="connsiteX4" fmla="*/ 0 w 1815750"/>
                <a:gd name="connsiteY4" fmla="*/ 1275207 h 1275207"/>
                <a:gd name="connsiteX5" fmla="*/ 290799 w 1815750"/>
                <a:gd name="connsiteY5" fmla="*/ 1275207 h 1275207"/>
                <a:gd name="connsiteX6" fmla="*/ 290799 w 1815750"/>
                <a:gd name="connsiteY6" fmla="*/ 419100 h 1275207"/>
                <a:gd name="connsiteX7" fmla="*/ 878015 w 1815750"/>
                <a:gd name="connsiteY7" fmla="*/ 1121474 h 1275207"/>
                <a:gd name="connsiteX8" fmla="*/ 939546 w 1815750"/>
                <a:gd name="connsiteY8" fmla="*/ 1121474 h 1275207"/>
                <a:gd name="connsiteX9" fmla="*/ 1520571 w 1815750"/>
                <a:gd name="connsiteY9" fmla="*/ 397859 h 1275207"/>
                <a:gd name="connsiteX10" fmla="*/ 1520571 w 1815750"/>
                <a:gd name="connsiteY10" fmla="*/ 1275207 h 1275207"/>
                <a:gd name="connsiteX11" fmla="*/ 1815751 w 1815750"/>
                <a:gd name="connsiteY11" fmla="*/ 1275207 h 1275207"/>
                <a:gd name="connsiteX12" fmla="*/ 1815751 w 1815750"/>
                <a:gd name="connsiteY12" fmla="*/ 0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5750" h="1275207">
                  <a:moveTo>
                    <a:pt x="1560672" y="0"/>
                  </a:moveTo>
                  <a:lnTo>
                    <a:pt x="927164" y="756571"/>
                  </a:lnTo>
                  <a:lnTo>
                    <a:pt x="290799" y="0"/>
                  </a:lnTo>
                  <a:lnTo>
                    <a:pt x="0" y="0"/>
                  </a:lnTo>
                  <a:lnTo>
                    <a:pt x="0" y="1275207"/>
                  </a:lnTo>
                  <a:lnTo>
                    <a:pt x="290799" y="1275207"/>
                  </a:lnTo>
                  <a:lnTo>
                    <a:pt x="290799" y="419100"/>
                  </a:lnTo>
                  <a:lnTo>
                    <a:pt x="878015" y="1121474"/>
                  </a:lnTo>
                  <a:lnTo>
                    <a:pt x="939546" y="1121474"/>
                  </a:lnTo>
                  <a:lnTo>
                    <a:pt x="1520571" y="397859"/>
                  </a:lnTo>
                  <a:lnTo>
                    <a:pt x="1520571" y="1275207"/>
                  </a:lnTo>
                  <a:lnTo>
                    <a:pt x="1815751" y="1275207"/>
                  </a:lnTo>
                  <a:lnTo>
                    <a:pt x="1815751" y="0"/>
                  </a:lnTo>
                  <a:close/>
                </a:path>
              </a:pathLst>
            </a:custGeom>
            <a:grpFill/>
            <a:ln w="9525" cap="flat">
              <a:noFill/>
              <a:prstDash val="solid"/>
              <a:miter/>
            </a:ln>
          </p:spPr>
          <p:txBody>
            <a:bodyPr lIns="0" tIns="0" rIns="0" bIns="0" rtlCol="0" anchor="ctr"/>
            <a:lstStyle/>
            <a:p>
              <a:endParaRPr lang="de-DE" sz="100"/>
            </a:p>
          </p:txBody>
        </p:sp>
        <p:sp>
          <p:nvSpPr>
            <p:cNvPr id="20" name="e">
              <a:extLst>
                <a:ext uri="{FF2B5EF4-FFF2-40B4-BE49-F238E27FC236}">
                  <a16:creationId xmlns:a16="http://schemas.microsoft.com/office/drawing/2014/main" id="{833BBB68-33E2-4A33-9073-A27BDF743655}"/>
                </a:ext>
              </a:extLst>
            </p:cNvPr>
            <p:cNvSpPr/>
            <p:nvPr/>
          </p:nvSpPr>
          <p:spPr bwMode="gray">
            <a:xfrm>
              <a:off x="8765757" y="3966498"/>
              <a:ext cx="1411313" cy="1275212"/>
            </a:xfrm>
            <a:custGeom>
              <a:avLst/>
              <a:gdLst>
                <a:gd name="connsiteX0" fmla="*/ 0 w 1411319"/>
                <a:gd name="connsiteY0" fmla="*/ 0 h 1275207"/>
                <a:gd name="connsiteX1" fmla="*/ 0 w 1411319"/>
                <a:gd name="connsiteY1" fmla="*/ 1275207 h 1275207"/>
                <a:gd name="connsiteX2" fmla="*/ 1411319 w 1411319"/>
                <a:gd name="connsiteY2" fmla="*/ 1275207 h 1275207"/>
                <a:gd name="connsiteX3" fmla="*/ 1411319 w 1411319"/>
                <a:gd name="connsiteY3" fmla="*/ 1036987 h 1275207"/>
                <a:gd name="connsiteX4" fmla="*/ 319850 w 1411319"/>
                <a:gd name="connsiteY4" fmla="*/ 1036987 h 1275207"/>
                <a:gd name="connsiteX5" fmla="*/ 319850 w 1411319"/>
                <a:gd name="connsiteY5" fmla="*/ 723424 h 1275207"/>
                <a:gd name="connsiteX6" fmla="*/ 947166 w 1411319"/>
                <a:gd name="connsiteY6" fmla="*/ 723424 h 1275207"/>
                <a:gd name="connsiteX7" fmla="*/ 947166 w 1411319"/>
                <a:gd name="connsiteY7" fmla="*/ 503396 h 1275207"/>
                <a:gd name="connsiteX8" fmla="*/ 319850 w 1411319"/>
                <a:gd name="connsiteY8" fmla="*/ 503396 h 1275207"/>
                <a:gd name="connsiteX9" fmla="*/ 319850 w 1411319"/>
                <a:gd name="connsiteY9" fmla="*/ 226219 h 1275207"/>
                <a:gd name="connsiteX10" fmla="*/ 1395984 w 1411319"/>
                <a:gd name="connsiteY10" fmla="*/ 226219 h 1275207"/>
                <a:gd name="connsiteX11" fmla="*/ 1395984 w 1411319"/>
                <a:gd name="connsiteY11" fmla="*/ 0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11319" h="1275207">
                  <a:moveTo>
                    <a:pt x="0" y="0"/>
                  </a:moveTo>
                  <a:lnTo>
                    <a:pt x="0" y="1275207"/>
                  </a:lnTo>
                  <a:lnTo>
                    <a:pt x="1411319" y="1275207"/>
                  </a:lnTo>
                  <a:lnTo>
                    <a:pt x="1411319" y="1036987"/>
                  </a:lnTo>
                  <a:lnTo>
                    <a:pt x="319850" y="1036987"/>
                  </a:lnTo>
                  <a:lnTo>
                    <a:pt x="319850" y="723424"/>
                  </a:lnTo>
                  <a:lnTo>
                    <a:pt x="947166" y="723424"/>
                  </a:lnTo>
                  <a:lnTo>
                    <a:pt x="947166" y="503396"/>
                  </a:lnTo>
                  <a:lnTo>
                    <a:pt x="319850" y="503396"/>
                  </a:lnTo>
                  <a:lnTo>
                    <a:pt x="319850" y="226219"/>
                  </a:lnTo>
                  <a:lnTo>
                    <a:pt x="1395984" y="226219"/>
                  </a:lnTo>
                  <a:lnTo>
                    <a:pt x="1395984" y="0"/>
                  </a:lnTo>
                  <a:close/>
                </a:path>
              </a:pathLst>
            </a:custGeom>
            <a:grpFill/>
            <a:ln w="9525" cap="flat">
              <a:noFill/>
              <a:prstDash val="solid"/>
              <a:miter/>
            </a:ln>
          </p:spPr>
          <p:txBody>
            <a:bodyPr lIns="0" tIns="0" rIns="0" bIns="0" rtlCol="0" anchor="ctr"/>
            <a:lstStyle/>
            <a:p>
              <a:endParaRPr lang="de-DE" sz="100"/>
            </a:p>
          </p:txBody>
        </p:sp>
        <p:sp>
          <p:nvSpPr>
            <p:cNvPr id="21" name="r">
              <a:extLst>
                <a:ext uri="{FF2B5EF4-FFF2-40B4-BE49-F238E27FC236}">
                  <a16:creationId xmlns:a16="http://schemas.microsoft.com/office/drawing/2014/main" id="{54A7E655-95D6-4D9F-AB3F-83449DD4FFB9}"/>
                </a:ext>
              </a:extLst>
            </p:cNvPr>
            <p:cNvSpPr/>
            <p:nvPr/>
          </p:nvSpPr>
          <p:spPr bwMode="gray">
            <a:xfrm>
              <a:off x="10504356" y="3966498"/>
              <a:ext cx="1579811" cy="1275212"/>
            </a:xfrm>
            <a:custGeom>
              <a:avLst/>
              <a:gdLst>
                <a:gd name="connsiteX0" fmla="*/ 1015937 w 1579817"/>
                <a:gd name="connsiteY0" fmla="*/ 220028 h 1275207"/>
                <a:gd name="connsiteX1" fmla="*/ 1157669 w 1579817"/>
                <a:gd name="connsiteY1" fmla="*/ 322517 h 1275207"/>
                <a:gd name="connsiteX2" fmla="*/ 1157669 w 1579817"/>
                <a:gd name="connsiteY2" fmla="*/ 470249 h 1275207"/>
                <a:gd name="connsiteX3" fmla="*/ 1015937 w 1579817"/>
                <a:gd name="connsiteY3" fmla="*/ 572738 h 1275207"/>
                <a:gd name="connsiteX4" fmla="*/ 307467 w 1579817"/>
                <a:gd name="connsiteY4" fmla="*/ 572738 h 1275207"/>
                <a:gd name="connsiteX5" fmla="*/ 307467 w 1579817"/>
                <a:gd name="connsiteY5" fmla="*/ 220028 h 1275207"/>
                <a:gd name="connsiteX6" fmla="*/ 1015937 w 1579817"/>
                <a:gd name="connsiteY6" fmla="*/ 220028 h 1275207"/>
                <a:gd name="connsiteX7" fmla="*/ 0 w 1579817"/>
                <a:gd name="connsiteY7" fmla="*/ 1275207 h 1275207"/>
                <a:gd name="connsiteX8" fmla="*/ 307563 w 1579817"/>
                <a:gd name="connsiteY8" fmla="*/ 1275207 h 1275207"/>
                <a:gd name="connsiteX9" fmla="*/ 307563 w 1579817"/>
                <a:gd name="connsiteY9" fmla="*/ 792766 h 1275207"/>
                <a:gd name="connsiteX10" fmla="*/ 599981 w 1579817"/>
                <a:gd name="connsiteY10" fmla="*/ 792766 h 1275207"/>
                <a:gd name="connsiteX11" fmla="*/ 1133570 w 1579817"/>
                <a:gd name="connsiteY11" fmla="*/ 1275207 h 1275207"/>
                <a:gd name="connsiteX12" fmla="*/ 1579818 w 1579817"/>
                <a:gd name="connsiteY12" fmla="*/ 1275207 h 1275207"/>
                <a:gd name="connsiteX13" fmla="*/ 973931 w 1579817"/>
                <a:gd name="connsiteY13" fmla="*/ 792766 h 1275207"/>
                <a:gd name="connsiteX14" fmla="*/ 1148811 w 1579817"/>
                <a:gd name="connsiteY14" fmla="*/ 792766 h 1275207"/>
                <a:gd name="connsiteX15" fmla="*/ 1447229 w 1579817"/>
                <a:gd name="connsiteY15" fmla="*/ 548545 h 1275207"/>
                <a:gd name="connsiteX16" fmla="*/ 1447229 w 1579817"/>
                <a:gd name="connsiteY16" fmla="*/ 247174 h 1275207"/>
                <a:gd name="connsiteX17" fmla="*/ 1148811 w 1579817"/>
                <a:gd name="connsiteY17" fmla="*/ 0 h 1275207"/>
                <a:gd name="connsiteX18" fmla="*/ 191 w 1579817"/>
                <a:gd name="connsiteY18" fmla="*/ 0 h 1275207"/>
                <a:gd name="connsiteX19" fmla="*/ 191 w 1579817"/>
                <a:gd name="connsiteY19" fmla="*/ 1275207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79817" h="1275207">
                  <a:moveTo>
                    <a:pt x="1015937" y="220028"/>
                  </a:moveTo>
                  <a:cubicBezTo>
                    <a:pt x="1109282" y="220028"/>
                    <a:pt x="1157669" y="238220"/>
                    <a:pt x="1157669" y="322517"/>
                  </a:cubicBezTo>
                  <a:lnTo>
                    <a:pt x="1157669" y="470249"/>
                  </a:lnTo>
                  <a:cubicBezTo>
                    <a:pt x="1157669" y="554736"/>
                    <a:pt x="1109282" y="572738"/>
                    <a:pt x="1015937" y="572738"/>
                  </a:cubicBezTo>
                  <a:lnTo>
                    <a:pt x="307467" y="572738"/>
                  </a:lnTo>
                  <a:lnTo>
                    <a:pt x="307467" y="220028"/>
                  </a:lnTo>
                  <a:lnTo>
                    <a:pt x="1015937" y="220028"/>
                  </a:lnTo>
                  <a:close/>
                  <a:moveTo>
                    <a:pt x="0" y="1275207"/>
                  </a:moveTo>
                  <a:lnTo>
                    <a:pt x="307563" y="1275207"/>
                  </a:lnTo>
                  <a:lnTo>
                    <a:pt x="307563" y="792766"/>
                  </a:lnTo>
                  <a:lnTo>
                    <a:pt x="599981" y="792766"/>
                  </a:lnTo>
                  <a:lnTo>
                    <a:pt x="1133570" y="1275207"/>
                  </a:lnTo>
                  <a:lnTo>
                    <a:pt x="1579818" y="1275207"/>
                  </a:lnTo>
                  <a:lnTo>
                    <a:pt x="973931" y="792766"/>
                  </a:lnTo>
                  <a:lnTo>
                    <a:pt x="1148811" y="792766"/>
                  </a:lnTo>
                  <a:cubicBezTo>
                    <a:pt x="1353693" y="792766"/>
                    <a:pt x="1447229" y="723424"/>
                    <a:pt x="1447229" y="548545"/>
                  </a:cubicBezTo>
                  <a:lnTo>
                    <a:pt x="1447229" y="247174"/>
                  </a:lnTo>
                  <a:cubicBezTo>
                    <a:pt x="1447229" y="69342"/>
                    <a:pt x="1353693" y="0"/>
                    <a:pt x="1148811" y="0"/>
                  </a:cubicBezTo>
                  <a:lnTo>
                    <a:pt x="191" y="0"/>
                  </a:lnTo>
                  <a:lnTo>
                    <a:pt x="191" y="1275207"/>
                  </a:lnTo>
                  <a:close/>
                </a:path>
              </a:pathLst>
            </a:custGeom>
            <a:grpFill/>
            <a:ln w="9525" cap="flat">
              <a:noFill/>
              <a:prstDash val="solid"/>
              <a:miter/>
            </a:ln>
          </p:spPr>
          <p:txBody>
            <a:bodyPr lIns="0" tIns="0" rIns="0" bIns="0" rtlCol="0" anchor="ctr"/>
            <a:lstStyle/>
            <a:p>
              <a:endParaRPr lang="de-DE" sz="100"/>
            </a:p>
          </p:txBody>
        </p:sp>
      </p:grpSp>
      <p:sp>
        <p:nvSpPr>
          <p:cNvPr id="2" name="Rechteck 1">
            <a:extLst>
              <a:ext uri="{FF2B5EF4-FFF2-40B4-BE49-F238E27FC236}">
                <a16:creationId xmlns:a16="http://schemas.microsoft.com/office/drawing/2014/main" id="{D0A4E886-6D18-4743-A08F-8809F60EA208}"/>
              </a:ext>
            </a:extLst>
          </p:cNvPr>
          <p:cNvSpPr/>
          <p:nvPr userDrawn="1"/>
        </p:nvSpPr>
        <p:spPr>
          <a:xfrm>
            <a:off x="-21841" y="0"/>
            <a:ext cx="685419" cy="686933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400"/>
              </a:spcBef>
              <a:spcAft>
                <a:spcPts val="400"/>
              </a:spcAft>
            </a:pPr>
            <a:endParaRPr lang="de-DE" sz="1400" err="1"/>
          </a:p>
        </p:txBody>
      </p:sp>
    </p:spTree>
    <p:extLst>
      <p:ext uri="{BB962C8B-B14F-4D97-AF65-F5344CB8AC3E}">
        <p14:creationId xmlns:p14="http://schemas.microsoft.com/office/powerpoint/2010/main" val="2650986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FFCB50B-5503-4467-8A0F-9FBB8B48B97D}"/>
              </a:ext>
            </a:extLst>
          </p:cNvPr>
          <p:cNvSpPr>
            <a:spLocks noGrp="1"/>
          </p:cNvSpPr>
          <p:nvPr>
            <p:ph type="title"/>
          </p:nvPr>
        </p:nvSpPr>
        <p:spPr bwMode="gray"/>
        <p:txBody>
          <a:bodyPr lIns="0" tIns="0" rIns="0" bIns="0"/>
          <a:lstStyle/>
          <a:p>
            <a:r>
              <a:rPr lang="de-DE"/>
              <a:t>Mastertitelformat bearbeiten</a:t>
            </a:r>
            <a:endParaRPr lang="en-US"/>
          </a:p>
        </p:txBody>
      </p:sp>
      <p:sp>
        <p:nvSpPr>
          <p:cNvPr id="4" name="subtitle">
            <a:extLst>
              <a:ext uri="{FF2B5EF4-FFF2-40B4-BE49-F238E27FC236}">
                <a16:creationId xmlns:a16="http://schemas.microsoft.com/office/drawing/2014/main" id="{7086919D-8D03-4875-B9F0-05F0C8564079}"/>
              </a:ext>
            </a:extLst>
          </p:cNvPr>
          <p:cNvSpPr>
            <a:spLocks noGrp="1"/>
          </p:cNvSpPr>
          <p:nvPr>
            <p:ph type="body" sz="quarter" idx="14" hasCustomPrompt="1"/>
          </p:nvPr>
        </p:nvSpPr>
        <p:spPr bwMode="gray">
          <a:xfrm>
            <a:off x="525600" y="1022400"/>
            <a:ext cx="11138400" cy="504000"/>
          </a:xfrm>
        </p:spPr>
        <p:txBody>
          <a:bodyPr/>
          <a:lstStyle>
            <a:lvl1pPr>
              <a:lnSpc>
                <a:spcPct val="85000"/>
              </a:lnSpc>
              <a:spcBef>
                <a:spcPts val="0"/>
              </a:spcBef>
              <a:spcAft>
                <a:spcPts val="0"/>
              </a:spcAft>
              <a:defRPr sz="2000"/>
            </a:lvl1pPr>
          </a:lstStyle>
          <a:p>
            <a:pPr lvl="0"/>
            <a:r>
              <a:rPr lang="de-DE" err="1"/>
              <a:t>Subtitle</a:t>
            </a:r>
            <a:endParaRPr lang="en-US"/>
          </a:p>
        </p:txBody>
      </p:sp>
      <p:sp>
        <p:nvSpPr>
          <p:cNvPr id="7" name="content 1">
            <a:extLst>
              <a:ext uri="{FF2B5EF4-FFF2-40B4-BE49-F238E27FC236}">
                <a16:creationId xmlns:a16="http://schemas.microsoft.com/office/drawing/2014/main" id="{5ACBB9A0-3E08-4278-AF60-F20CD65CA5C6}"/>
              </a:ext>
            </a:extLst>
          </p:cNvPr>
          <p:cNvSpPr>
            <a:spLocks noGrp="1"/>
          </p:cNvSpPr>
          <p:nvPr>
            <p:ph idx="1"/>
          </p:nvPr>
        </p:nvSpPr>
        <p:spPr bwMode="gray">
          <a:xfrm>
            <a:off x="525600" y="1602000"/>
            <a:ext cx="5425200" cy="449640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8" name="content 2">
            <a:extLst>
              <a:ext uri="{FF2B5EF4-FFF2-40B4-BE49-F238E27FC236}">
                <a16:creationId xmlns:a16="http://schemas.microsoft.com/office/drawing/2014/main" id="{F8E171C8-9693-4EB0-997E-3FFD3AB31E5E}"/>
              </a:ext>
            </a:extLst>
          </p:cNvPr>
          <p:cNvSpPr>
            <a:spLocks noGrp="1"/>
          </p:cNvSpPr>
          <p:nvPr>
            <p:ph idx="15"/>
          </p:nvPr>
        </p:nvSpPr>
        <p:spPr bwMode="gray">
          <a:xfrm>
            <a:off x="6238799" y="1602000"/>
            <a:ext cx="5425200" cy="449640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slide number">
            <a:extLst>
              <a:ext uri="{FF2B5EF4-FFF2-40B4-BE49-F238E27FC236}">
                <a16:creationId xmlns:a16="http://schemas.microsoft.com/office/drawing/2014/main" id="{90B54C2D-8235-4852-8EB7-5E05529B2499}"/>
              </a:ext>
            </a:extLst>
          </p:cNvPr>
          <p:cNvSpPr>
            <a:spLocks noGrp="1"/>
          </p:cNvSpPr>
          <p:nvPr>
            <p:ph type="sldNum" sz="quarter" idx="12"/>
          </p:nvPr>
        </p:nvSpPr>
        <p:spPr bwMode="gray"/>
        <p:txBody>
          <a:bodyPr lIns="0" tIns="0" rIns="0" bIns="0"/>
          <a:lstStyle/>
          <a:p>
            <a:fld id="{9829449A-3FF3-45CE-9F4F-09BADC0910C6}" type="slidenum">
              <a:rPr lang="en-US" smtClean="0"/>
              <a:t>‹Nr.›</a:t>
            </a:fld>
            <a:endParaRPr lang="en-US"/>
          </a:p>
        </p:txBody>
      </p:sp>
      <p:sp>
        <p:nvSpPr>
          <p:cNvPr id="5" name="footer">
            <a:extLst>
              <a:ext uri="{FF2B5EF4-FFF2-40B4-BE49-F238E27FC236}">
                <a16:creationId xmlns:a16="http://schemas.microsoft.com/office/drawing/2014/main" id="{A4534FC4-D037-44B0-B266-D9E820FC1DF2}"/>
              </a:ext>
            </a:extLst>
          </p:cNvPr>
          <p:cNvSpPr>
            <a:spLocks noGrp="1"/>
          </p:cNvSpPr>
          <p:nvPr>
            <p:ph type="ftr" sz="quarter" idx="11"/>
          </p:nvPr>
        </p:nvSpPr>
        <p:spPr bwMode="gray"/>
        <p:txBody>
          <a:bodyPr lIns="0" tIns="0" rIns="0" bIns="0"/>
          <a:lstStyle/>
          <a:p>
            <a:endParaRPr lang="en-US"/>
          </a:p>
        </p:txBody>
      </p:sp>
    </p:spTree>
    <p:extLst>
      <p:ext uri="{BB962C8B-B14F-4D97-AF65-F5344CB8AC3E}">
        <p14:creationId xmlns:p14="http://schemas.microsoft.com/office/powerpoint/2010/main" val="2222564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644" userDrawn="1">
          <p15:clr>
            <a:srgbClr val="FBAE40"/>
          </p15:clr>
        </p15:guide>
        <p15:guide id="2" pos="3750" userDrawn="1">
          <p15:clr>
            <a:srgbClr val="FBAE40"/>
          </p15:clr>
        </p15:guide>
        <p15:guide id="3" pos="3929"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slideLayout" Target="../slideLayouts/slideLayout41.xml"/><Relationship Id="rId1" Type="http://schemas.openxmlformats.org/officeDocument/2006/relationships/slideLayout" Target="../slideLayouts/slideLayout40.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pSp>
        <p:nvGrpSpPr>
          <p:cNvPr id="39" name="line elements">
            <a:extLst>
              <a:ext uri="{FF2B5EF4-FFF2-40B4-BE49-F238E27FC236}">
                <a16:creationId xmlns:a16="http://schemas.microsoft.com/office/drawing/2014/main" id="{0CB85BAB-8EB5-4C0D-B523-8919F2D36305}"/>
              </a:ext>
            </a:extLst>
          </p:cNvPr>
          <p:cNvGrpSpPr>
            <a:grpSpLocks noChangeAspect="1"/>
          </p:cNvGrpSpPr>
          <p:nvPr userDrawn="1"/>
        </p:nvGrpSpPr>
        <p:grpSpPr bwMode="gray">
          <a:xfrm>
            <a:off x="508288" y="461121"/>
            <a:ext cx="740827" cy="26783"/>
            <a:chOff x="508288" y="461121"/>
            <a:chExt cx="740827" cy="26783"/>
          </a:xfrm>
          <a:solidFill>
            <a:schemeClr val="tx1"/>
          </a:solidFill>
        </p:grpSpPr>
        <p:sp>
          <p:nvSpPr>
            <p:cNvPr id="34" name="line 1">
              <a:extLst>
                <a:ext uri="{FF2B5EF4-FFF2-40B4-BE49-F238E27FC236}">
                  <a16:creationId xmlns:a16="http://schemas.microsoft.com/office/drawing/2014/main" id="{B4113E5E-85AE-4C0F-B6E9-015B93AB6EE3}"/>
                </a:ext>
              </a:extLst>
            </p:cNvPr>
            <p:cNvSpPr>
              <a:spLocks/>
            </p:cNvSpPr>
            <p:nvPr/>
          </p:nvSpPr>
          <p:spPr bwMode="gray">
            <a:xfrm rot="2700000">
              <a:off x="617300" y="352116"/>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sp>
          <p:nvSpPr>
            <p:cNvPr id="35" name="line 2">
              <a:extLst>
                <a:ext uri="{FF2B5EF4-FFF2-40B4-BE49-F238E27FC236}">
                  <a16:creationId xmlns:a16="http://schemas.microsoft.com/office/drawing/2014/main" id="{AE191592-A339-46C8-BAB4-7BF847567C45}"/>
                </a:ext>
              </a:extLst>
            </p:cNvPr>
            <p:cNvSpPr>
              <a:spLocks/>
            </p:cNvSpPr>
            <p:nvPr/>
          </p:nvSpPr>
          <p:spPr bwMode="gray">
            <a:xfrm rot="2700000">
              <a:off x="741307" y="352116"/>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sp>
          <p:nvSpPr>
            <p:cNvPr id="36" name="line 3">
              <a:extLst>
                <a:ext uri="{FF2B5EF4-FFF2-40B4-BE49-F238E27FC236}">
                  <a16:creationId xmlns:a16="http://schemas.microsoft.com/office/drawing/2014/main" id="{8FC77FF4-0137-432F-A4F1-A60DA3C74686}"/>
                </a:ext>
              </a:extLst>
            </p:cNvPr>
            <p:cNvSpPr>
              <a:spLocks/>
            </p:cNvSpPr>
            <p:nvPr/>
          </p:nvSpPr>
          <p:spPr bwMode="gray">
            <a:xfrm rot="2700000">
              <a:off x="865314" y="352116"/>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sp>
          <p:nvSpPr>
            <p:cNvPr id="37" name="line 4">
              <a:extLst>
                <a:ext uri="{FF2B5EF4-FFF2-40B4-BE49-F238E27FC236}">
                  <a16:creationId xmlns:a16="http://schemas.microsoft.com/office/drawing/2014/main" id="{673BF1B8-749B-4FD8-B7C6-17652CA300A7}"/>
                </a:ext>
              </a:extLst>
            </p:cNvPr>
            <p:cNvSpPr>
              <a:spLocks/>
            </p:cNvSpPr>
            <p:nvPr/>
          </p:nvSpPr>
          <p:spPr bwMode="gray">
            <a:xfrm rot="2700000">
              <a:off x="989321" y="352116"/>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sp>
          <p:nvSpPr>
            <p:cNvPr id="38" name="line 5">
              <a:extLst>
                <a:ext uri="{FF2B5EF4-FFF2-40B4-BE49-F238E27FC236}">
                  <a16:creationId xmlns:a16="http://schemas.microsoft.com/office/drawing/2014/main" id="{864490F3-E4C2-4D21-977C-5B98626A3252}"/>
                </a:ext>
              </a:extLst>
            </p:cNvPr>
            <p:cNvSpPr>
              <a:spLocks/>
            </p:cNvSpPr>
            <p:nvPr/>
          </p:nvSpPr>
          <p:spPr bwMode="gray">
            <a:xfrm rot="2700000">
              <a:off x="1113327" y="352109"/>
              <a:ext cx="26776" cy="2448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latin typeface="Calibri" panose="020F0502020204030204" pitchFamily="34" charset="0"/>
              </a:endParaRPr>
            </a:p>
          </p:txBody>
        </p:sp>
      </p:grpSp>
      <p:sp>
        <p:nvSpPr>
          <p:cNvPr id="2" name="title">
            <a:extLst>
              <a:ext uri="{FF2B5EF4-FFF2-40B4-BE49-F238E27FC236}">
                <a16:creationId xmlns:a16="http://schemas.microsoft.com/office/drawing/2014/main" id="{584C4224-F583-40CB-B13D-36769EB35549}"/>
              </a:ext>
            </a:extLst>
          </p:cNvPr>
          <p:cNvSpPr>
            <a:spLocks noGrp="1"/>
          </p:cNvSpPr>
          <p:nvPr>
            <p:ph type="title"/>
          </p:nvPr>
        </p:nvSpPr>
        <p:spPr bwMode="gray">
          <a:xfrm>
            <a:off x="525600" y="673200"/>
            <a:ext cx="11138400" cy="288000"/>
          </a:xfrm>
          <a:prstGeom prst="rect">
            <a:avLst/>
          </a:prstGeom>
        </p:spPr>
        <p:txBody>
          <a:bodyPr vert="horz" lIns="0" tIns="0" rIns="0" bIns="0" rtlCol="0" anchor="t">
            <a:noAutofit/>
          </a:bodyPr>
          <a:lstStyle/>
          <a:p>
            <a:r>
              <a:rPr lang="de-DE"/>
              <a:t>Mastertitelformat bearbeiten</a:t>
            </a:r>
          </a:p>
        </p:txBody>
      </p:sp>
      <p:sp>
        <p:nvSpPr>
          <p:cNvPr id="3" name="text">
            <a:extLst>
              <a:ext uri="{FF2B5EF4-FFF2-40B4-BE49-F238E27FC236}">
                <a16:creationId xmlns:a16="http://schemas.microsoft.com/office/drawing/2014/main" id="{F189F72B-79D9-411A-8C32-060A214D8A62}"/>
              </a:ext>
            </a:extLst>
          </p:cNvPr>
          <p:cNvSpPr>
            <a:spLocks noGrp="1"/>
          </p:cNvSpPr>
          <p:nvPr>
            <p:ph type="body" idx="1"/>
          </p:nvPr>
        </p:nvSpPr>
        <p:spPr bwMode="gray">
          <a:xfrm>
            <a:off x="525600" y="1602000"/>
            <a:ext cx="11138400" cy="4496400"/>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a:p>
            <a:pPr lvl="7"/>
            <a:r>
              <a:rPr lang="de-DE"/>
              <a:t>Achte Ebene</a:t>
            </a:r>
          </a:p>
        </p:txBody>
      </p:sp>
      <p:grpSp>
        <p:nvGrpSpPr>
          <p:cNvPr id="41" name="logo drees&amp;sommer blue">
            <a:extLst>
              <a:ext uri="{FF2B5EF4-FFF2-40B4-BE49-F238E27FC236}">
                <a16:creationId xmlns:a16="http://schemas.microsoft.com/office/drawing/2014/main" id="{FBCB39DB-D6A5-439A-9500-70BFCC268E83}"/>
              </a:ext>
            </a:extLst>
          </p:cNvPr>
          <p:cNvGrpSpPr>
            <a:grpSpLocks noChangeAspect="1"/>
          </p:cNvGrpSpPr>
          <p:nvPr userDrawn="1"/>
        </p:nvGrpSpPr>
        <p:grpSpPr bwMode="gray">
          <a:xfrm>
            <a:off x="10716797" y="6331911"/>
            <a:ext cx="948154" cy="286131"/>
            <a:chOff x="95247" y="1619247"/>
            <a:chExt cx="12004075" cy="3622552"/>
          </a:xfrm>
          <a:solidFill>
            <a:schemeClr val="tx2"/>
          </a:solidFill>
        </p:grpSpPr>
        <p:sp>
          <p:nvSpPr>
            <p:cNvPr id="48" name="d">
              <a:extLst>
                <a:ext uri="{FF2B5EF4-FFF2-40B4-BE49-F238E27FC236}">
                  <a16:creationId xmlns:a16="http://schemas.microsoft.com/office/drawing/2014/main" id="{D24635F4-ED43-479C-B15C-866EFD69AA9E}"/>
                </a:ext>
              </a:extLst>
            </p:cNvPr>
            <p:cNvSpPr/>
            <p:nvPr/>
          </p:nvSpPr>
          <p:spPr bwMode="gray">
            <a:xfrm>
              <a:off x="146585" y="1619247"/>
              <a:ext cx="1890145" cy="1555528"/>
            </a:xfrm>
            <a:custGeom>
              <a:avLst/>
              <a:gdLst>
                <a:gd name="connsiteX0" fmla="*/ 361760 w 1890141"/>
                <a:gd name="connsiteY0" fmla="*/ 1263206 h 1555527"/>
                <a:gd name="connsiteX1" fmla="*/ 361760 w 1890141"/>
                <a:gd name="connsiteY1" fmla="*/ 277368 h 1555527"/>
                <a:gd name="connsiteX2" fmla="*/ 1003840 w 1890141"/>
                <a:gd name="connsiteY2" fmla="*/ 277368 h 1555527"/>
                <a:gd name="connsiteX3" fmla="*/ 1516380 w 1890141"/>
                <a:gd name="connsiteY3" fmla="*/ 762762 h 1555527"/>
                <a:gd name="connsiteX4" fmla="*/ 828961 w 1890141"/>
                <a:gd name="connsiteY4" fmla="*/ 1263206 h 1555527"/>
                <a:gd name="connsiteX5" fmla="*/ 361760 w 1890141"/>
                <a:gd name="connsiteY5" fmla="*/ 1263206 h 1555527"/>
                <a:gd name="connsiteX6" fmla="*/ 0 w 1890141"/>
                <a:gd name="connsiteY6" fmla="*/ 1555528 h 1555527"/>
                <a:gd name="connsiteX7" fmla="*/ 907447 w 1890141"/>
                <a:gd name="connsiteY7" fmla="*/ 1555528 h 1555527"/>
                <a:gd name="connsiteX8" fmla="*/ 1546574 w 1890141"/>
                <a:gd name="connsiteY8" fmla="*/ 1435037 h 1555527"/>
                <a:gd name="connsiteX9" fmla="*/ 1890141 w 1890141"/>
                <a:gd name="connsiteY9" fmla="*/ 768763 h 1555527"/>
                <a:gd name="connsiteX10" fmla="*/ 1000792 w 1890141"/>
                <a:gd name="connsiteY10" fmla="*/ 0 h 1555527"/>
                <a:gd name="connsiteX11" fmla="*/ 0 w 1890141"/>
                <a:gd name="connsiteY11" fmla="*/ 0 h 1555527"/>
                <a:gd name="connsiteX12" fmla="*/ 0 w 1890141"/>
                <a:gd name="connsiteY12" fmla="*/ 1555528 h 155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90141" h="1555527">
                  <a:moveTo>
                    <a:pt x="361760" y="1263206"/>
                  </a:moveTo>
                  <a:lnTo>
                    <a:pt x="361760" y="277368"/>
                  </a:lnTo>
                  <a:lnTo>
                    <a:pt x="1003840" y="277368"/>
                  </a:lnTo>
                  <a:cubicBezTo>
                    <a:pt x="1344549" y="277368"/>
                    <a:pt x="1516380" y="446246"/>
                    <a:pt x="1516380" y="762762"/>
                  </a:cubicBezTo>
                  <a:cubicBezTo>
                    <a:pt x="1516380" y="1148620"/>
                    <a:pt x="1287209" y="1263206"/>
                    <a:pt x="828961" y="1263206"/>
                  </a:cubicBezTo>
                  <a:lnTo>
                    <a:pt x="361760" y="1263206"/>
                  </a:lnTo>
                  <a:close/>
                  <a:moveTo>
                    <a:pt x="0" y="1555528"/>
                  </a:moveTo>
                  <a:lnTo>
                    <a:pt x="907447" y="1555528"/>
                  </a:lnTo>
                  <a:cubicBezTo>
                    <a:pt x="1184624" y="1555528"/>
                    <a:pt x="1395698" y="1528382"/>
                    <a:pt x="1546574" y="1435037"/>
                  </a:cubicBezTo>
                  <a:cubicBezTo>
                    <a:pt x="1763649" y="1302353"/>
                    <a:pt x="1890141" y="1061180"/>
                    <a:pt x="1890141" y="768763"/>
                  </a:cubicBezTo>
                  <a:cubicBezTo>
                    <a:pt x="1890141" y="286417"/>
                    <a:pt x="1582769" y="0"/>
                    <a:pt x="1000792" y="0"/>
                  </a:cubicBezTo>
                  <a:lnTo>
                    <a:pt x="0" y="0"/>
                  </a:lnTo>
                  <a:lnTo>
                    <a:pt x="0" y="1555528"/>
                  </a:lnTo>
                  <a:close/>
                </a:path>
              </a:pathLst>
            </a:custGeom>
            <a:grpFill/>
            <a:ln w="9525" cap="flat">
              <a:noFill/>
              <a:prstDash val="solid"/>
              <a:miter/>
            </a:ln>
          </p:spPr>
          <p:txBody>
            <a:bodyPr lIns="0" tIns="0" rIns="0" bIns="0" rtlCol="0" anchor="ctr"/>
            <a:lstStyle/>
            <a:p>
              <a:endParaRPr lang="de-DE" sz="100"/>
            </a:p>
          </p:txBody>
        </p:sp>
        <p:sp>
          <p:nvSpPr>
            <p:cNvPr id="49" name="r">
              <a:extLst>
                <a:ext uri="{FF2B5EF4-FFF2-40B4-BE49-F238E27FC236}">
                  <a16:creationId xmlns:a16="http://schemas.microsoft.com/office/drawing/2014/main" id="{037C460F-8F18-4B28-B586-F0C5D3045C4E}"/>
                </a:ext>
              </a:extLst>
            </p:cNvPr>
            <p:cNvSpPr/>
            <p:nvPr/>
          </p:nvSpPr>
          <p:spPr bwMode="gray">
            <a:xfrm>
              <a:off x="2405150" y="1899664"/>
              <a:ext cx="1579811" cy="1275112"/>
            </a:xfrm>
            <a:custGeom>
              <a:avLst/>
              <a:gdLst>
                <a:gd name="connsiteX0" fmla="*/ 1015937 w 1579816"/>
                <a:gd name="connsiteY0" fmla="*/ 220028 h 1275111"/>
                <a:gd name="connsiteX1" fmla="*/ 1157668 w 1579816"/>
                <a:gd name="connsiteY1" fmla="*/ 322517 h 1275111"/>
                <a:gd name="connsiteX2" fmla="*/ 1157668 w 1579816"/>
                <a:gd name="connsiteY2" fmla="*/ 470249 h 1275111"/>
                <a:gd name="connsiteX3" fmla="*/ 1015937 w 1579816"/>
                <a:gd name="connsiteY3" fmla="*/ 572738 h 1275111"/>
                <a:gd name="connsiteX4" fmla="*/ 307467 w 1579816"/>
                <a:gd name="connsiteY4" fmla="*/ 572738 h 1275111"/>
                <a:gd name="connsiteX5" fmla="*/ 307467 w 1579816"/>
                <a:gd name="connsiteY5" fmla="*/ 220028 h 1275111"/>
                <a:gd name="connsiteX6" fmla="*/ 1015937 w 1579816"/>
                <a:gd name="connsiteY6" fmla="*/ 220028 h 1275111"/>
                <a:gd name="connsiteX7" fmla="*/ 0 w 1579816"/>
                <a:gd name="connsiteY7" fmla="*/ 1275112 h 1275111"/>
                <a:gd name="connsiteX8" fmla="*/ 307562 w 1579816"/>
                <a:gd name="connsiteY8" fmla="*/ 1275112 h 1275111"/>
                <a:gd name="connsiteX9" fmla="*/ 307562 w 1579816"/>
                <a:gd name="connsiteY9" fmla="*/ 792671 h 1275111"/>
                <a:gd name="connsiteX10" fmla="*/ 599980 w 1579816"/>
                <a:gd name="connsiteY10" fmla="*/ 792671 h 1275111"/>
                <a:gd name="connsiteX11" fmla="*/ 1133570 w 1579816"/>
                <a:gd name="connsiteY11" fmla="*/ 1275112 h 1275111"/>
                <a:gd name="connsiteX12" fmla="*/ 1579817 w 1579816"/>
                <a:gd name="connsiteY12" fmla="*/ 1275112 h 1275111"/>
                <a:gd name="connsiteX13" fmla="*/ 973741 w 1579816"/>
                <a:gd name="connsiteY13" fmla="*/ 792671 h 1275111"/>
                <a:gd name="connsiteX14" fmla="*/ 1148620 w 1579816"/>
                <a:gd name="connsiteY14" fmla="*/ 792671 h 1275111"/>
                <a:gd name="connsiteX15" fmla="*/ 1447133 w 1579816"/>
                <a:gd name="connsiteY15" fmla="*/ 548640 h 1275111"/>
                <a:gd name="connsiteX16" fmla="*/ 1447133 w 1579816"/>
                <a:gd name="connsiteY16" fmla="*/ 247174 h 1275111"/>
                <a:gd name="connsiteX17" fmla="*/ 1148620 w 1579816"/>
                <a:gd name="connsiteY17" fmla="*/ 0 h 1275111"/>
                <a:gd name="connsiteX18" fmla="*/ 0 w 1579816"/>
                <a:gd name="connsiteY18" fmla="*/ 0 h 1275111"/>
                <a:gd name="connsiteX19" fmla="*/ 0 w 1579816"/>
                <a:gd name="connsiteY19" fmla="*/ 1275112 h 127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79816" h="1275111">
                  <a:moveTo>
                    <a:pt x="1015937" y="220028"/>
                  </a:moveTo>
                  <a:cubicBezTo>
                    <a:pt x="1109282" y="220028"/>
                    <a:pt x="1157668" y="238220"/>
                    <a:pt x="1157668" y="322517"/>
                  </a:cubicBezTo>
                  <a:lnTo>
                    <a:pt x="1157668" y="470249"/>
                  </a:lnTo>
                  <a:cubicBezTo>
                    <a:pt x="1157668" y="554736"/>
                    <a:pt x="1109282" y="572738"/>
                    <a:pt x="1015937" y="572738"/>
                  </a:cubicBezTo>
                  <a:lnTo>
                    <a:pt x="307467" y="572738"/>
                  </a:lnTo>
                  <a:lnTo>
                    <a:pt x="307467" y="220028"/>
                  </a:lnTo>
                  <a:lnTo>
                    <a:pt x="1015937" y="220028"/>
                  </a:lnTo>
                  <a:close/>
                  <a:moveTo>
                    <a:pt x="0" y="1275112"/>
                  </a:moveTo>
                  <a:lnTo>
                    <a:pt x="307562" y="1275112"/>
                  </a:lnTo>
                  <a:lnTo>
                    <a:pt x="307562" y="792671"/>
                  </a:lnTo>
                  <a:lnTo>
                    <a:pt x="599980" y="792671"/>
                  </a:lnTo>
                  <a:lnTo>
                    <a:pt x="1133570" y="1275112"/>
                  </a:lnTo>
                  <a:lnTo>
                    <a:pt x="1579817" y="1275112"/>
                  </a:lnTo>
                  <a:lnTo>
                    <a:pt x="973741" y="792671"/>
                  </a:lnTo>
                  <a:lnTo>
                    <a:pt x="1148620" y="792671"/>
                  </a:lnTo>
                  <a:cubicBezTo>
                    <a:pt x="1353693" y="792671"/>
                    <a:pt x="1447133" y="723329"/>
                    <a:pt x="1447133" y="548640"/>
                  </a:cubicBezTo>
                  <a:lnTo>
                    <a:pt x="1447133" y="247174"/>
                  </a:lnTo>
                  <a:cubicBezTo>
                    <a:pt x="1447133" y="69342"/>
                    <a:pt x="1353598" y="0"/>
                    <a:pt x="1148620" y="0"/>
                  </a:cubicBezTo>
                  <a:lnTo>
                    <a:pt x="0" y="0"/>
                  </a:lnTo>
                  <a:lnTo>
                    <a:pt x="0" y="1275112"/>
                  </a:lnTo>
                  <a:close/>
                </a:path>
              </a:pathLst>
            </a:custGeom>
            <a:grpFill/>
            <a:ln w="9525" cap="flat">
              <a:noFill/>
              <a:prstDash val="solid"/>
              <a:miter/>
            </a:ln>
          </p:spPr>
          <p:txBody>
            <a:bodyPr lIns="0" tIns="0" rIns="0" bIns="0" rtlCol="0" anchor="ctr"/>
            <a:lstStyle/>
            <a:p>
              <a:endParaRPr lang="de-DE" sz="100"/>
            </a:p>
          </p:txBody>
        </p:sp>
        <p:sp>
          <p:nvSpPr>
            <p:cNvPr id="50" name="e">
              <a:extLst>
                <a:ext uri="{FF2B5EF4-FFF2-40B4-BE49-F238E27FC236}">
                  <a16:creationId xmlns:a16="http://schemas.microsoft.com/office/drawing/2014/main" id="{A4B2EB09-12AD-45E6-8295-A12BC8E70ACE}"/>
                </a:ext>
              </a:extLst>
            </p:cNvPr>
            <p:cNvSpPr/>
            <p:nvPr/>
          </p:nvSpPr>
          <p:spPr bwMode="gray">
            <a:xfrm>
              <a:off x="4279102" y="1899664"/>
              <a:ext cx="1383701" cy="1275112"/>
            </a:xfrm>
            <a:custGeom>
              <a:avLst/>
              <a:gdLst>
                <a:gd name="connsiteX0" fmla="*/ 0 w 1383696"/>
                <a:gd name="connsiteY0" fmla="*/ 1275112 h 1275111"/>
                <a:gd name="connsiteX1" fmla="*/ 1383697 w 1383696"/>
                <a:gd name="connsiteY1" fmla="*/ 1275112 h 1275111"/>
                <a:gd name="connsiteX2" fmla="*/ 1383697 w 1383696"/>
                <a:gd name="connsiteY2" fmla="*/ 1036987 h 1275111"/>
                <a:gd name="connsiteX3" fmla="*/ 313563 w 1383696"/>
                <a:gd name="connsiteY3" fmla="*/ 1036987 h 1275111"/>
                <a:gd name="connsiteX4" fmla="*/ 313563 w 1383696"/>
                <a:gd name="connsiteY4" fmla="*/ 723424 h 1275111"/>
                <a:gd name="connsiteX5" fmla="*/ 928497 w 1383696"/>
                <a:gd name="connsiteY5" fmla="*/ 723424 h 1275111"/>
                <a:gd name="connsiteX6" fmla="*/ 928497 w 1383696"/>
                <a:gd name="connsiteY6" fmla="*/ 503396 h 1275111"/>
                <a:gd name="connsiteX7" fmla="*/ 313563 w 1383696"/>
                <a:gd name="connsiteY7" fmla="*/ 503396 h 1275111"/>
                <a:gd name="connsiteX8" fmla="*/ 313563 w 1383696"/>
                <a:gd name="connsiteY8" fmla="*/ 226028 h 1275111"/>
                <a:gd name="connsiteX9" fmla="*/ 1368743 w 1383696"/>
                <a:gd name="connsiteY9" fmla="*/ 226028 h 1275111"/>
                <a:gd name="connsiteX10" fmla="*/ 1368743 w 1383696"/>
                <a:gd name="connsiteY10" fmla="*/ 0 h 1275111"/>
                <a:gd name="connsiteX11" fmla="*/ 0 w 1383696"/>
                <a:gd name="connsiteY11" fmla="*/ 0 h 127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3696" h="1275111">
                  <a:moveTo>
                    <a:pt x="0" y="1275112"/>
                  </a:moveTo>
                  <a:lnTo>
                    <a:pt x="1383697" y="1275112"/>
                  </a:lnTo>
                  <a:lnTo>
                    <a:pt x="1383697" y="1036987"/>
                  </a:lnTo>
                  <a:lnTo>
                    <a:pt x="313563" y="1036987"/>
                  </a:lnTo>
                  <a:lnTo>
                    <a:pt x="313563" y="723424"/>
                  </a:lnTo>
                  <a:lnTo>
                    <a:pt x="928497" y="723424"/>
                  </a:lnTo>
                  <a:lnTo>
                    <a:pt x="928497" y="503396"/>
                  </a:lnTo>
                  <a:lnTo>
                    <a:pt x="313563" y="503396"/>
                  </a:lnTo>
                  <a:lnTo>
                    <a:pt x="313563" y="226028"/>
                  </a:lnTo>
                  <a:lnTo>
                    <a:pt x="1368743" y="226028"/>
                  </a:lnTo>
                  <a:lnTo>
                    <a:pt x="1368743" y="0"/>
                  </a:lnTo>
                  <a:lnTo>
                    <a:pt x="0" y="0"/>
                  </a:lnTo>
                  <a:close/>
                </a:path>
              </a:pathLst>
            </a:custGeom>
            <a:grpFill/>
            <a:ln w="9525" cap="flat">
              <a:noFill/>
              <a:prstDash val="solid"/>
              <a:miter/>
            </a:ln>
          </p:spPr>
          <p:txBody>
            <a:bodyPr lIns="0" tIns="0" rIns="0" bIns="0" rtlCol="0" anchor="ctr"/>
            <a:lstStyle/>
            <a:p>
              <a:endParaRPr lang="de-DE" sz="100"/>
            </a:p>
          </p:txBody>
        </p:sp>
        <p:sp>
          <p:nvSpPr>
            <p:cNvPr id="51" name="e">
              <a:extLst>
                <a:ext uri="{FF2B5EF4-FFF2-40B4-BE49-F238E27FC236}">
                  <a16:creationId xmlns:a16="http://schemas.microsoft.com/office/drawing/2014/main" id="{675B88E0-E5A8-406A-8E15-9032D07BEFFB}"/>
                </a:ext>
              </a:extLst>
            </p:cNvPr>
            <p:cNvSpPr/>
            <p:nvPr/>
          </p:nvSpPr>
          <p:spPr bwMode="gray">
            <a:xfrm>
              <a:off x="6022562" y="1899664"/>
              <a:ext cx="1383701" cy="1275112"/>
            </a:xfrm>
            <a:custGeom>
              <a:avLst/>
              <a:gdLst>
                <a:gd name="connsiteX0" fmla="*/ 0 w 1383696"/>
                <a:gd name="connsiteY0" fmla="*/ 1275112 h 1275111"/>
                <a:gd name="connsiteX1" fmla="*/ 1383697 w 1383696"/>
                <a:gd name="connsiteY1" fmla="*/ 1275112 h 1275111"/>
                <a:gd name="connsiteX2" fmla="*/ 1383697 w 1383696"/>
                <a:gd name="connsiteY2" fmla="*/ 1036987 h 1275111"/>
                <a:gd name="connsiteX3" fmla="*/ 313563 w 1383696"/>
                <a:gd name="connsiteY3" fmla="*/ 1036987 h 1275111"/>
                <a:gd name="connsiteX4" fmla="*/ 313563 w 1383696"/>
                <a:gd name="connsiteY4" fmla="*/ 723424 h 1275111"/>
                <a:gd name="connsiteX5" fmla="*/ 928497 w 1383696"/>
                <a:gd name="connsiteY5" fmla="*/ 723424 h 1275111"/>
                <a:gd name="connsiteX6" fmla="*/ 928497 w 1383696"/>
                <a:gd name="connsiteY6" fmla="*/ 503396 h 1275111"/>
                <a:gd name="connsiteX7" fmla="*/ 313563 w 1383696"/>
                <a:gd name="connsiteY7" fmla="*/ 503396 h 1275111"/>
                <a:gd name="connsiteX8" fmla="*/ 313563 w 1383696"/>
                <a:gd name="connsiteY8" fmla="*/ 226028 h 1275111"/>
                <a:gd name="connsiteX9" fmla="*/ 1368743 w 1383696"/>
                <a:gd name="connsiteY9" fmla="*/ 226028 h 1275111"/>
                <a:gd name="connsiteX10" fmla="*/ 1368743 w 1383696"/>
                <a:gd name="connsiteY10" fmla="*/ 0 h 1275111"/>
                <a:gd name="connsiteX11" fmla="*/ 0 w 1383696"/>
                <a:gd name="connsiteY11" fmla="*/ 0 h 127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3696" h="1275111">
                  <a:moveTo>
                    <a:pt x="0" y="1275112"/>
                  </a:moveTo>
                  <a:lnTo>
                    <a:pt x="1383697" y="1275112"/>
                  </a:lnTo>
                  <a:lnTo>
                    <a:pt x="1383697" y="1036987"/>
                  </a:lnTo>
                  <a:lnTo>
                    <a:pt x="313563" y="1036987"/>
                  </a:lnTo>
                  <a:lnTo>
                    <a:pt x="313563" y="723424"/>
                  </a:lnTo>
                  <a:lnTo>
                    <a:pt x="928497" y="723424"/>
                  </a:lnTo>
                  <a:lnTo>
                    <a:pt x="928497" y="503396"/>
                  </a:lnTo>
                  <a:lnTo>
                    <a:pt x="313563" y="503396"/>
                  </a:lnTo>
                  <a:lnTo>
                    <a:pt x="313563" y="226028"/>
                  </a:lnTo>
                  <a:lnTo>
                    <a:pt x="1368743" y="226028"/>
                  </a:lnTo>
                  <a:lnTo>
                    <a:pt x="1368743" y="0"/>
                  </a:lnTo>
                  <a:lnTo>
                    <a:pt x="0" y="0"/>
                  </a:lnTo>
                  <a:close/>
                </a:path>
              </a:pathLst>
            </a:custGeom>
            <a:grpFill/>
            <a:ln w="9525" cap="flat">
              <a:noFill/>
              <a:prstDash val="solid"/>
              <a:miter/>
            </a:ln>
          </p:spPr>
          <p:txBody>
            <a:bodyPr lIns="0" tIns="0" rIns="0" bIns="0" rtlCol="0" anchor="ctr"/>
            <a:lstStyle/>
            <a:p>
              <a:endParaRPr lang="de-DE" sz="100"/>
            </a:p>
          </p:txBody>
        </p:sp>
        <p:sp>
          <p:nvSpPr>
            <p:cNvPr id="52" name="s">
              <a:extLst>
                <a:ext uri="{FF2B5EF4-FFF2-40B4-BE49-F238E27FC236}">
                  <a16:creationId xmlns:a16="http://schemas.microsoft.com/office/drawing/2014/main" id="{8ACB0DDA-D27B-4184-92E1-8FEB6541A740}"/>
                </a:ext>
              </a:extLst>
            </p:cNvPr>
            <p:cNvSpPr/>
            <p:nvPr/>
          </p:nvSpPr>
          <p:spPr bwMode="gray">
            <a:xfrm>
              <a:off x="7714204" y="1899664"/>
              <a:ext cx="1495239" cy="1275213"/>
            </a:xfrm>
            <a:custGeom>
              <a:avLst/>
              <a:gdLst>
                <a:gd name="connsiteX0" fmla="*/ 1211770 w 1495234"/>
                <a:gd name="connsiteY0" fmla="*/ 229076 h 1275207"/>
                <a:gd name="connsiteX1" fmla="*/ 1211770 w 1495234"/>
                <a:gd name="connsiteY1" fmla="*/ 348234 h 1275207"/>
                <a:gd name="connsiteX2" fmla="*/ 1479995 w 1495234"/>
                <a:gd name="connsiteY2" fmla="*/ 291084 h 1275207"/>
                <a:gd name="connsiteX3" fmla="*/ 1479995 w 1495234"/>
                <a:gd name="connsiteY3" fmla="*/ 277368 h 1275207"/>
                <a:gd name="connsiteX4" fmla="*/ 1145477 w 1495234"/>
                <a:gd name="connsiteY4" fmla="*/ 0 h 1275207"/>
                <a:gd name="connsiteX5" fmla="*/ 388905 w 1495234"/>
                <a:gd name="connsiteY5" fmla="*/ 0 h 1275207"/>
                <a:gd name="connsiteX6" fmla="*/ 54197 w 1495234"/>
                <a:gd name="connsiteY6" fmla="*/ 301561 h 1275207"/>
                <a:gd name="connsiteX7" fmla="*/ 54197 w 1495234"/>
                <a:gd name="connsiteY7" fmla="*/ 443294 h 1275207"/>
                <a:gd name="connsiteX8" fmla="*/ 388905 w 1495234"/>
                <a:gd name="connsiteY8" fmla="*/ 744665 h 1275207"/>
                <a:gd name="connsiteX9" fmla="*/ 1214818 w 1495234"/>
                <a:gd name="connsiteY9" fmla="*/ 744665 h 1275207"/>
                <a:gd name="connsiteX10" fmla="*/ 1214818 w 1495234"/>
                <a:gd name="connsiteY10" fmla="*/ 1037177 h 1275207"/>
                <a:gd name="connsiteX11" fmla="*/ 277177 w 1495234"/>
                <a:gd name="connsiteY11" fmla="*/ 1037177 h 1275207"/>
                <a:gd name="connsiteX12" fmla="*/ 277177 w 1495234"/>
                <a:gd name="connsiteY12" fmla="*/ 902875 h 1275207"/>
                <a:gd name="connsiteX13" fmla="*/ 0 w 1495234"/>
                <a:gd name="connsiteY13" fmla="*/ 954214 h 1275207"/>
                <a:gd name="connsiteX14" fmla="*/ 0 w 1495234"/>
                <a:gd name="connsiteY14" fmla="*/ 973836 h 1275207"/>
                <a:gd name="connsiteX15" fmla="*/ 334518 w 1495234"/>
                <a:gd name="connsiteY15" fmla="*/ 1275207 h 1275207"/>
                <a:gd name="connsiteX16" fmla="*/ 1163669 w 1495234"/>
                <a:gd name="connsiteY16" fmla="*/ 1275207 h 1275207"/>
                <a:gd name="connsiteX17" fmla="*/ 1495234 w 1495234"/>
                <a:gd name="connsiteY17" fmla="*/ 973836 h 1275207"/>
                <a:gd name="connsiteX18" fmla="*/ 1495234 w 1495234"/>
                <a:gd name="connsiteY18" fmla="*/ 798957 h 1275207"/>
                <a:gd name="connsiteX19" fmla="*/ 1163669 w 1495234"/>
                <a:gd name="connsiteY19" fmla="*/ 497586 h 1275207"/>
                <a:gd name="connsiteX20" fmla="*/ 334518 w 1495234"/>
                <a:gd name="connsiteY20" fmla="*/ 497586 h 1275207"/>
                <a:gd name="connsiteX21" fmla="*/ 334518 w 1495234"/>
                <a:gd name="connsiteY21" fmla="*/ 229076 h 1275207"/>
                <a:gd name="connsiteX22" fmla="*/ 1211770 w 1495234"/>
                <a:gd name="connsiteY22" fmla="*/ 229076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95234" h="1275207">
                  <a:moveTo>
                    <a:pt x="1211770" y="229076"/>
                  </a:moveTo>
                  <a:lnTo>
                    <a:pt x="1211770" y="348234"/>
                  </a:lnTo>
                  <a:lnTo>
                    <a:pt x="1479995" y="291084"/>
                  </a:lnTo>
                  <a:lnTo>
                    <a:pt x="1479995" y="277368"/>
                  </a:lnTo>
                  <a:cubicBezTo>
                    <a:pt x="1479995" y="54388"/>
                    <a:pt x="1380649" y="0"/>
                    <a:pt x="1145477" y="0"/>
                  </a:cubicBezTo>
                  <a:lnTo>
                    <a:pt x="388905" y="0"/>
                  </a:lnTo>
                  <a:cubicBezTo>
                    <a:pt x="138684" y="0"/>
                    <a:pt x="54197" y="60388"/>
                    <a:pt x="54197" y="301561"/>
                  </a:cubicBezTo>
                  <a:lnTo>
                    <a:pt x="54197" y="443294"/>
                  </a:lnTo>
                  <a:cubicBezTo>
                    <a:pt x="54197" y="684467"/>
                    <a:pt x="138684" y="744665"/>
                    <a:pt x="388905" y="744665"/>
                  </a:cubicBezTo>
                  <a:lnTo>
                    <a:pt x="1214818" y="744665"/>
                  </a:lnTo>
                  <a:lnTo>
                    <a:pt x="1214818" y="1037177"/>
                  </a:lnTo>
                  <a:lnTo>
                    <a:pt x="277177" y="1037177"/>
                  </a:lnTo>
                  <a:lnTo>
                    <a:pt x="277177" y="902875"/>
                  </a:lnTo>
                  <a:lnTo>
                    <a:pt x="0" y="954214"/>
                  </a:lnTo>
                  <a:lnTo>
                    <a:pt x="0" y="973836"/>
                  </a:lnTo>
                  <a:cubicBezTo>
                    <a:pt x="0" y="1212056"/>
                    <a:pt x="81343" y="1275207"/>
                    <a:pt x="334518" y="1275207"/>
                  </a:cubicBezTo>
                  <a:lnTo>
                    <a:pt x="1163669" y="1275207"/>
                  </a:lnTo>
                  <a:cubicBezTo>
                    <a:pt x="1416844" y="1275207"/>
                    <a:pt x="1495234" y="1212056"/>
                    <a:pt x="1495234" y="973836"/>
                  </a:cubicBezTo>
                  <a:lnTo>
                    <a:pt x="1495234" y="798957"/>
                  </a:lnTo>
                  <a:cubicBezTo>
                    <a:pt x="1495234" y="557784"/>
                    <a:pt x="1416939" y="497586"/>
                    <a:pt x="1163669" y="497586"/>
                  </a:cubicBezTo>
                  <a:lnTo>
                    <a:pt x="334518" y="497586"/>
                  </a:lnTo>
                  <a:lnTo>
                    <a:pt x="334518" y="229076"/>
                  </a:lnTo>
                  <a:lnTo>
                    <a:pt x="1211770" y="229076"/>
                  </a:lnTo>
                  <a:close/>
                </a:path>
              </a:pathLst>
            </a:custGeom>
            <a:grpFill/>
            <a:ln w="9525" cap="flat">
              <a:noFill/>
              <a:prstDash val="solid"/>
              <a:miter/>
            </a:ln>
          </p:spPr>
          <p:txBody>
            <a:bodyPr lIns="0" tIns="0" rIns="0" bIns="0" rtlCol="0" anchor="ctr"/>
            <a:lstStyle/>
            <a:p>
              <a:endParaRPr lang="de-DE" sz="100"/>
            </a:p>
          </p:txBody>
        </p:sp>
        <p:sp>
          <p:nvSpPr>
            <p:cNvPr id="53" name="&amp;">
              <a:extLst>
                <a:ext uri="{FF2B5EF4-FFF2-40B4-BE49-F238E27FC236}">
                  <a16:creationId xmlns:a16="http://schemas.microsoft.com/office/drawing/2014/main" id="{69D8CA69-9CD5-4BDF-B967-4B0ADD7058A0}"/>
                </a:ext>
              </a:extLst>
            </p:cNvPr>
            <p:cNvSpPr/>
            <p:nvPr/>
          </p:nvSpPr>
          <p:spPr bwMode="gray">
            <a:xfrm>
              <a:off x="9995063" y="1619247"/>
              <a:ext cx="2104259" cy="1555528"/>
            </a:xfrm>
            <a:custGeom>
              <a:avLst/>
              <a:gdLst>
                <a:gd name="connsiteX0" fmla="*/ 304514 w 2104263"/>
                <a:gd name="connsiteY0" fmla="*/ 1284161 h 1555527"/>
                <a:gd name="connsiteX1" fmla="*/ 304514 w 2104263"/>
                <a:gd name="connsiteY1" fmla="*/ 1018985 h 1555527"/>
                <a:gd name="connsiteX2" fmla="*/ 702373 w 2104263"/>
                <a:gd name="connsiteY2" fmla="*/ 771811 h 1555527"/>
                <a:gd name="connsiteX3" fmla="*/ 1169575 w 2104263"/>
                <a:gd name="connsiteY3" fmla="*/ 1160717 h 1555527"/>
                <a:gd name="connsiteX4" fmla="*/ 1024890 w 2104263"/>
                <a:gd name="connsiteY4" fmla="*/ 1284256 h 1555527"/>
                <a:gd name="connsiteX5" fmla="*/ 304514 w 2104263"/>
                <a:gd name="connsiteY5" fmla="*/ 1284256 h 1555527"/>
                <a:gd name="connsiteX6" fmla="*/ 388811 w 2104263"/>
                <a:gd name="connsiteY6" fmla="*/ 1555528 h 1555527"/>
                <a:gd name="connsiteX7" fmla="*/ 943547 w 2104263"/>
                <a:gd name="connsiteY7" fmla="*/ 1555528 h 1555527"/>
                <a:gd name="connsiteX8" fmla="*/ 1235964 w 2104263"/>
                <a:gd name="connsiteY8" fmla="*/ 1461992 h 1555527"/>
                <a:gd name="connsiteX9" fmla="*/ 1374649 w 2104263"/>
                <a:gd name="connsiteY9" fmla="*/ 1338453 h 1555527"/>
                <a:gd name="connsiteX10" fmla="*/ 1630870 w 2104263"/>
                <a:gd name="connsiteY10" fmla="*/ 1555528 h 1555527"/>
                <a:gd name="connsiteX11" fmla="*/ 2104264 w 2104263"/>
                <a:gd name="connsiteY11" fmla="*/ 1555528 h 1555527"/>
                <a:gd name="connsiteX12" fmla="*/ 1612869 w 2104263"/>
                <a:gd name="connsiteY12" fmla="*/ 1142429 h 1555527"/>
                <a:gd name="connsiteX13" fmla="*/ 1971580 w 2104263"/>
                <a:gd name="connsiteY13" fmla="*/ 844106 h 1555527"/>
                <a:gd name="connsiteX14" fmla="*/ 1766507 w 2104263"/>
                <a:gd name="connsiteY14" fmla="*/ 666274 h 1555527"/>
                <a:gd name="connsiteX15" fmla="*/ 1404747 w 2104263"/>
                <a:gd name="connsiteY15" fmla="*/ 967645 h 1555527"/>
                <a:gd name="connsiteX16" fmla="*/ 672180 w 2104263"/>
                <a:gd name="connsiteY16" fmla="*/ 358712 h 1555527"/>
                <a:gd name="connsiteX17" fmla="*/ 672180 w 2104263"/>
                <a:gd name="connsiteY17" fmla="*/ 247174 h 1555527"/>
                <a:gd name="connsiteX18" fmla="*/ 1181767 w 2104263"/>
                <a:gd name="connsiteY18" fmla="*/ 247174 h 1555527"/>
                <a:gd name="connsiteX19" fmla="*/ 1181767 w 2104263"/>
                <a:gd name="connsiteY19" fmla="*/ 455295 h 1555527"/>
                <a:gd name="connsiteX20" fmla="*/ 1461992 w 2104263"/>
                <a:gd name="connsiteY20" fmla="*/ 407099 h 1555527"/>
                <a:gd name="connsiteX21" fmla="*/ 1461992 w 2104263"/>
                <a:gd name="connsiteY21" fmla="*/ 313563 h 1555527"/>
                <a:gd name="connsiteX22" fmla="*/ 1076134 w 2104263"/>
                <a:gd name="connsiteY22" fmla="*/ 0 h 1555527"/>
                <a:gd name="connsiteX23" fmla="*/ 762763 w 2104263"/>
                <a:gd name="connsiteY23" fmla="*/ 0 h 1555527"/>
                <a:gd name="connsiteX24" fmla="*/ 376905 w 2104263"/>
                <a:gd name="connsiteY24" fmla="*/ 283369 h 1555527"/>
                <a:gd name="connsiteX25" fmla="*/ 376905 w 2104263"/>
                <a:gd name="connsiteY25" fmla="*/ 370713 h 1555527"/>
                <a:gd name="connsiteX26" fmla="*/ 509588 w 2104263"/>
                <a:gd name="connsiteY26" fmla="*/ 605885 h 1555527"/>
                <a:gd name="connsiteX27" fmla="*/ 192881 w 2104263"/>
                <a:gd name="connsiteY27" fmla="*/ 795909 h 1555527"/>
                <a:gd name="connsiteX28" fmla="*/ 0 w 2104263"/>
                <a:gd name="connsiteY28" fmla="*/ 1085279 h 1555527"/>
                <a:gd name="connsiteX29" fmla="*/ 0 w 2104263"/>
                <a:gd name="connsiteY29" fmla="*/ 1187768 h 1555527"/>
                <a:gd name="connsiteX30" fmla="*/ 388811 w 2104263"/>
                <a:gd name="connsiteY30" fmla="*/ 1555528 h 155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104263" h="1555527">
                  <a:moveTo>
                    <a:pt x="304514" y="1284161"/>
                  </a:moveTo>
                  <a:lnTo>
                    <a:pt x="304514" y="1018985"/>
                  </a:lnTo>
                  <a:lnTo>
                    <a:pt x="702373" y="771811"/>
                  </a:lnTo>
                  <a:lnTo>
                    <a:pt x="1169575" y="1160717"/>
                  </a:lnTo>
                  <a:lnTo>
                    <a:pt x="1024890" y="1284256"/>
                  </a:lnTo>
                  <a:lnTo>
                    <a:pt x="304514" y="1284256"/>
                  </a:lnTo>
                  <a:close/>
                  <a:moveTo>
                    <a:pt x="388811" y="1555528"/>
                  </a:moveTo>
                  <a:lnTo>
                    <a:pt x="943547" y="1555528"/>
                  </a:lnTo>
                  <a:cubicBezTo>
                    <a:pt x="1073087" y="1555528"/>
                    <a:pt x="1136428" y="1549527"/>
                    <a:pt x="1235964" y="1461992"/>
                  </a:cubicBezTo>
                  <a:lnTo>
                    <a:pt x="1374649" y="1338453"/>
                  </a:lnTo>
                  <a:lnTo>
                    <a:pt x="1630870" y="1555528"/>
                  </a:lnTo>
                  <a:lnTo>
                    <a:pt x="2104264" y="1555528"/>
                  </a:lnTo>
                  <a:lnTo>
                    <a:pt x="1612869" y="1142429"/>
                  </a:lnTo>
                  <a:lnTo>
                    <a:pt x="1971580" y="844106"/>
                  </a:lnTo>
                  <a:lnTo>
                    <a:pt x="1766507" y="666274"/>
                  </a:lnTo>
                  <a:lnTo>
                    <a:pt x="1404747" y="967645"/>
                  </a:lnTo>
                  <a:lnTo>
                    <a:pt x="672180" y="358712"/>
                  </a:lnTo>
                  <a:lnTo>
                    <a:pt x="672180" y="247174"/>
                  </a:lnTo>
                  <a:lnTo>
                    <a:pt x="1181767" y="247174"/>
                  </a:lnTo>
                  <a:lnTo>
                    <a:pt x="1181767" y="455295"/>
                  </a:lnTo>
                  <a:lnTo>
                    <a:pt x="1461992" y="407099"/>
                  </a:lnTo>
                  <a:lnTo>
                    <a:pt x="1461992" y="313563"/>
                  </a:lnTo>
                  <a:cubicBezTo>
                    <a:pt x="1461992" y="60389"/>
                    <a:pt x="1356456" y="0"/>
                    <a:pt x="1076134" y="0"/>
                  </a:cubicBezTo>
                  <a:lnTo>
                    <a:pt x="762763" y="0"/>
                  </a:lnTo>
                  <a:cubicBezTo>
                    <a:pt x="497395" y="0"/>
                    <a:pt x="376905" y="60389"/>
                    <a:pt x="376905" y="283369"/>
                  </a:cubicBezTo>
                  <a:lnTo>
                    <a:pt x="376905" y="370713"/>
                  </a:lnTo>
                  <a:cubicBezTo>
                    <a:pt x="376905" y="461200"/>
                    <a:pt x="419100" y="530543"/>
                    <a:pt x="509588" y="605885"/>
                  </a:cubicBezTo>
                  <a:lnTo>
                    <a:pt x="192881" y="795909"/>
                  </a:lnTo>
                  <a:cubicBezTo>
                    <a:pt x="57341" y="877253"/>
                    <a:pt x="0" y="925449"/>
                    <a:pt x="0" y="1085279"/>
                  </a:cubicBezTo>
                  <a:lnTo>
                    <a:pt x="0" y="1187768"/>
                  </a:lnTo>
                  <a:cubicBezTo>
                    <a:pt x="0" y="1480185"/>
                    <a:pt x="96488" y="1555528"/>
                    <a:pt x="388811" y="1555528"/>
                  </a:cubicBezTo>
                </a:path>
              </a:pathLst>
            </a:custGeom>
            <a:grpFill/>
            <a:ln w="9525" cap="flat">
              <a:noFill/>
              <a:prstDash val="solid"/>
              <a:miter/>
            </a:ln>
          </p:spPr>
          <p:txBody>
            <a:bodyPr lIns="0" tIns="0" rIns="0" bIns="0" rtlCol="0" anchor="ctr"/>
            <a:lstStyle/>
            <a:p>
              <a:endParaRPr lang="de-DE" sz="100"/>
            </a:p>
          </p:txBody>
        </p:sp>
        <p:sp>
          <p:nvSpPr>
            <p:cNvPr id="42" name="s">
              <a:extLst>
                <a:ext uri="{FF2B5EF4-FFF2-40B4-BE49-F238E27FC236}">
                  <a16:creationId xmlns:a16="http://schemas.microsoft.com/office/drawing/2014/main" id="{0AA249F9-DDB9-48C6-AD7D-F13C3B4AE9E3}"/>
                </a:ext>
              </a:extLst>
            </p:cNvPr>
            <p:cNvSpPr/>
            <p:nvPr/>
          </p:nvSpPr>
          <p:spPr bwMode="gray">
            <a:xfrm>
              <a:off x="95247" y="3686081"/>
              <a:ext cx="1739650" cy="1555528"/>
            </a:xfrm>
            <a:custGeom>
              <a:avLst/>
              <a:gdLst>
                <a:gd name="connsiteX0" fmla="*/ 1398842 w 1739645"/>
                <a:gd name="connsiteY0" fmla="*/ 271367 h 1555527"/>
                <a:gd name="connsiteX1" fmla="*/ 1398842 w 1739645"/>
                <a:gd name="connsiteY1" fmla="*/ 439865 h 1555527"/>
                <a:gd name="connsiteX2" fmla="*/ 1718405 w 1739645"/>
                <a:gd name="connsiteY2" fmla="*/ 364522 h 1555527"/>
                <a:gd name="connsiteX3" fmla="*/ 1718405 w 1739645"/>
                <a:gd name="connsiteY3" fmla="*/ 340709 h 1555527"/>
                <a:gd name="connsiteX4" fmla="*/ 1332548 w 1739645"/>
                <a:gd name="connsiteY4" fmla="*/ 0 h 1555527"/>
                <a:gd name="connsiteX5" fmla="*/ 449199 w 1739645"/>
                <a:gd name="connsiteY5" fmla="*/ 0 h 1555527"/>
                <a:gd name="connsiteX6" fmla="*/ 63341 w 1739645"/>
                <a:gd name="connsiteY6" fmla="*/ 367855 h 1555527"/>
                <a:gd name="connsiteX7" fmla="*/ 63341 w 1739645"/>
                <a:gd name="connsiteY7" fmla="*/ 539496 h 1555527"/>
                <a:gd name="connsiteX8" fmla="*/ 449199 w 1739645"/>
                <a:gd name="connsiteY8" fmla="*/ 907351 h 1555527"/>
                <a:gd name="connsiteX9" fmla="*/ 1419987 w 1739645"/>
                <a:gd name="connsiteY9" fmla="*/ 907351 h 1555527"/>
                <a:gd name="connsiteX10" fmla="*/ 1419987 w 1739645"/>
                <a:gd name="connsiteY10" fmla="*/ 1263110 h 1555527"/>
                <a:gd name="connsiteX11" fmla="*/ 319754 w 1739645"/>
                <a:gd name="connsiteY11" fmla="*/ 1263110 h 1555527"/>
                <a:gd name="connsiteX12" fmla="*/ 319754 w 1739645"/>
                <a:gd name="connsiteY12" fmla="*/ 1095661 h 1555527"/>
                <a:gd name="connsiteX13" fmla="*/ 0 w 1739645"/>
                <a:gd name="connsiteY13" fmla="*/ 1162050 h 1555527"/>
                <a:gd name="connsiteX14" fmla="*/ 0 w 1739645"/>
                <a:gd name="connsiteY14" fmla="*/ 1187768 h 1555527"/>
                <a:gd name="connsiteX15" fmla="*/ 388906 w 1739645"/>
                <a:gd name="connsiteY15" fmla="*/ 1555528 h 1555527"/>
                <a:gd name="connsiteX16" fmla="*/ 1350740 w 1739645"/>
                <a:gd name="connsiteY16" fmla="*/ 1555528 h 1555527"/>
                <a:gd name="connsiteX17" fmla="*/ 1739646 w 1739645"/>
                <a:gd name="connsiteY17" fmla="*/ 1187768 h 1555527"/>
                <a:gd name="connsiteX18" fmla="*/ 1739646 w 1739645"/>
                <a:gd name="connsiteY18" fmla="*/ 973741 h 1555527"/>
                <a:gd name="connsiteX19" fmla="*/ 1350740 w 1739645"/>
                <a:gd name="connsiteY19" fmla="*/ 605885 h 1555527"/>
                <a:gd name="connsiteX20" fmla="*/ 379857 w 1739645"/>
                <a:gd name="connsiteY20" fmla="*/ 605885 h 1555527"/>
                <a:gd name="connsiteX21" fmla="*/ 379857 w 1739645"/>
                <a:gd name="connsiteY21" fmla="*/ 271367 h 1555527"/>
                <a:gd name="connsiteX22" fmla="*/ 1398842 w 1739645"/>
                <a:gd name="connsiteY22" fmla="*/ 271367 h 155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39645" h="1555527">
                  <a:moveTo>
                    <a:pt x="1398842" y="271367"/>
                  </a:moveTo>
                  <a:lnTo>
                    <a:pt x="1398842" y="439865"/>
                  </a:lnTo>
                  <a:lnTo>
                    <a:pt x="1718405" y="364522"/>
                  </a:lnTo>
                  <a:lnTo>
                    <a:pt x="1718405" y="340709"/>
                  </a:lnTo>
                  <a:cubicBezTo>
                    <a:pt x="1718405" y="72295"/>
                    <a:pt x="1609916" y="0"/>
                    <a:pt x="1332548" y="0"/>
                  </a:cubicBezTo>
                  <a:lnTo>
                    <a:pt x="449199" y="0"/>
                  </a:lnTo>
                  <a:cubicBezTo>
                    <a:pt x="156781" y="0"/>
                    <a:pt x="63341" y="75343"/>
                    <a:pt x="63341" y="367855"/>
                  </a:cubicBezTo>
                  <a:lnTo>
                    <a:pt x="63341" y="539496"/>
                  </a:lnTo>
                  <a:cubicBezTo>
                    <a:pt x="63341" y="832009"/>
                    <a:pt x="156877" y="907351"/>
                    <a:pt x="449199" y="907351"/>
                  </a:cubicBezTo>
                  <a:lnTo>
                    <a:pt x="1419987" y="907351"/>
                  </a:lnTo>
                  <a:lnTo>
                    <a:pt x="1419987" y="1263110"/>
                  </a:lnTo>
                  <a:lnTo>
                    <a:pt x="319754" y="1263110"/>
                  </a:lnTo>
                  <a:lnTo>
                    <a:pt x="319754" y="1095661"/>
                  </a:lnTo>
                  <a:lnTo>
                    <a:pt x="0" y="1162050"/>
                  </a:lnTo>
                  <a:lnTo>
                    <a:pt x="0" y="1187768"/>
                  </a:lnTo>
                  <a:cubicBezTo>
                    <a:pt x="0" y="1480185"/>
                    <a:pt x="96488" y="1555528"/>
                    <a:pt x="388906" y="1555528"/>
                  </a:cubicBezTo>
                  <a:lnTo>
                    <a:pt x="1350740" y="1555528"/>
                  </a:lnTo>
                  <a:cubicBezTo>
                    <a:pt x="1643158" y="1555528"/>
                    <a:pt x="1739646" y="1480185"/>
                    <a:pt x="1739646" y="1187768"/>
                  </a:cubicBezTo>
                  <a:lnTo>
                    <a:pt x="1739646" y="973741"/>
                  </a:lnTo>
                  <a:cubicBezTo>
                    <a:pt x="1739646" y="681228"/>
                    <a:pt x="1643158" y="605885"/>
                    <a:pt x="1350740" y="605885"/>
                  </a:cubicBezTo>
                  <a:lnTo>
                    <a:pt x="379857" y="605885"/>
                  </a:lnTo>
                  <a:lnTo>
                    <a:pt x="379857" y="271367"/>
                  </a:lnTo>
                  <a:lnTo>
                    <a:pt x="1398842" y="271367"/>
                  </a:lnTo>
                  <a:close/>
                </a:path>
              </a:pathLst>
            </a:custGeom>
            <a:grpFill/>
            <a:ln w="9525" cap="flat">
              <a:noFill/>
              <a:prstDash val="solid"/>
              <a:miter/>
            </a:ln>
          </p:spPr>
          <p:txBody>
            <a:bodyPr lIns="0" tIns="0" rIns="0" bIns="0" rtlCol="0" anchor="ctr"/>
            <a:lstStyle/>
            <a:p>
              <a:endParaRPr lang="de-DE" sz="100"/>
            </a:p>
          </p:txBody>
        </p:sp>
        <p:sp>
          <p:nvSpPr>
            <p:cNvPr id="43" name="o">
              <a:extLst>
                <a:ext uri="{FF2B5EF4-FFF2-40B4-BE49-F238E27FC236}">
                  <a16:creationId xmlns:a16="http://schemas.microsoft.com/office/drawing/2014/main" id="{4F8DDB14-5D63-45FC-989E-0CAC9914761F}"/>
                </a:ext>
              </a:extLst>
            </p:cNvPr>
            <p:cNvSpPr/>
            <p:nvPr/>
          </p:nvSpPr>
          <p:spPr bwMode="gray">
            <a:xfrm>
              <a:off x="2206937" y="3966587"/>
              <a:ext cx="1682019" cy="1275212"/>
            </a:xfrm>
            <a:custGeom>
              <a:avLst/>
              <a:gdLst>
                <a:gd name="connsiteX0" fmla="*/ 326041 w 1682019"/>
                <a:gd name="connsiteY0" fmla="*/ 234982 h 1275207"/>
                <a:gd name="connsiteX1" fmla="*/ 1374648 w 1682019"/>
                <a:gd name="connsiteY1" fmla="*/ 234982 h 1275207"/>
                <a:gd name="connsiteX2" fmla="*/ 1374648 w 1682019"/>
                <a:gd name="connsiteY2" fmla="*/ 1030891 h 1275207"/>
                <a:gd name="connsiteX3" fmla="*/ 326041 w 1682019"/>
                <a:gd name="connsiteY3" fmla="*/ 1030891 h 1275207"/>
                <a:gd name="connsiteX4" fmla="*/ 326041 w 1682019"/>
                <a:gd name="connsiteY4" fmla="*/ 234982 h 1275207"/>
                <a:gd name="connsiteX5" fmla="*/ 0 w 1682019"/>
                <a:gd name="connsiteY5" fmla="*/ 301371 h 1275207"/>
                <a:gd name="connsiteX6" fmla="*/ 0 w 1682019"/>
                <a:gd name="connsiteY6" fmla="*/ 973646 h 1275207"/>
                <a:gd name="connsiteX7" fmla="*/ 338233 w 1682019"/>
                <a:gd name="connsiteY7" fmla="*/ 1275207 h 1275207"/>
                <a:gd name="connsiteX8" fmla="*/ 1343787 w 1682019"/>
                <a:gd name="connsiteY8" fmla="*/ 1275207 h 1275207"/>
                <a:gd name="connsiteX9" fmla="*/ 1682020 w 1682019"/>
                <a:gd name="connsiteY9" fmla="*/ 973646 h 1275207"/>
                <a:gd name="connsiteX10" fmla="*/ 1682020 w 1682019"/>
                <a:gd name="connsiteY10" fmla="*/ 301371 h 1275207"/>
                <a:gd name="connsiteX11" fmla="*/ 1343787 w 1682019"/>
                <a:gd name="connsiteY11" fmla="*/ 0 h 1275207"/>
                <a:gd name="connsiteX12" fmla="*/ 338233 w 1682019"/>
                <a:gd name="connsiteY12" fmla="*/ 0 h 1275207"/>
                <a:gd name="connsiteX13" fmla="*/ 0 w 1682019"/>
                <a:gd name="connsiteY13" fmla="*/ 301371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82019" h="1275207">
                  <a:moveTo>
                    <a:pt x="326041" y="234982"/>
                  </a:moveTo>
                  <a:lnTo>
                    <a:pt x="1374648" y="234982"/>
                  </a:lnTo>
                  <a:lnTo>
                    <a:pt x="1374648" y="1030891"/>
                  </a:lnTo>
                  <a:lnTo>
                    <a:pt x="326041" y="1030891"/>
                  </a:lnTo>
                  <a:lnTo>
                    <a:pt x="326041" y="234982"/>
                  </a:lnTo>
                  <a:close/>
                  <a:moveTo>
                    <a:pt x="0" y="301371"/>
                  </a:moveTo>
                  <a:lnTo>
                    <a:pt x="0" y="973646"/>
                  </a:lnTo>
                  <a:cubicBezTo>
                    <a:pt x="0" y="1214819"/>
                    <a:pt x="79915" y="1275207"/>
                    <a:pt x="338233" y="1275207"/>
                  </a:cubicBezTo>
                  <a:lnTo>
                    <a:pt x="1343787" y="1275207"/>
                  </a:lnTo>
                  <a:cubicBezTo>
                    <a:pt x="1598962" y="1275207"/>
                    <a:pt x="1682020" y="1214819"/>
                    <a:pt x="1682020" y="973646"/>
                  </a:cubicBezTo>
                  <a:lnTo>
                    <a:pt x="1682020" y="301371"/>
                  </a:lnTo>
                  <a:cubicBezTo>
                    <a:pt x="1682020" y="57150"/>
                    <a:pt x="1598867" y="0"/>
                    <a:pt x="1343787" y="0"/>
                  </a:cubicBezTo>
                  <a:lnTo>
                    <a:pt x="338233" y="0"/>
                  </a:lnTo>
                  <a:cubicBezTo>
                    <a:pt x="83153" y="0"/>
                    <a:pt x="0" y="57150"/>
                    <a:pt x="0" y="301371"/>
                  </a:cubicBezTo>
                </a:path>
              </a:pathLst>
            </a:custGeom>
            <a:grpFill/>
            <a:ln w="9525" cap="flat">
              <a:noFill/>
              <a:prstDash val="solid"/>
              <a:miter/>
            </a:ln>
          </p:spPr>
          <p:txBody>
            <a:bodyPr lIns="0" tIns="0" rIns="0" bIns="0" rtlCol="0" anchor="ctr"/>
            <a:lstStyle/>
            <a:p>
              <a:endParaRPr lang="de-DE" sz="100"/>
            </a:p>
          </p:txBody>
        </p:sp>
        <p:sp>
          <p:nvSpPr>
            <p:cNvPr id="44" name="m">
              <a:extLst>
                <a:ext uri="{FF2B5EF4-FFF2-40B4-BE49-F238E27FC236}">
                  <a16:creationId xmlns:a16="http://schemas.microsoft.com/office/drawing/2014/main" id="{8ED63FA9-3FC0-4FA8-AA4D-0CDCD4B98913}"/>
                </a:ext>
              </a:extLst>
            </p:cNvPr>
            <p:cNvSpPr/>
            <p:nvPr/>
          </p:nvSpPr>
          <p:spPr bwMode="gray">
            <a:xfrm>
              <a:off x="4290154" y="3966498"/>
              <a:ext cx="1815752" cy="1275212"/>
            </a:xfrm>
            <a:custGeom>
              <a:avLst/>
              <a:gdLst>
                <a:gd name="connsiteX0" fmla="*/ 1560576 w 1815750"/>
                <a:gd name="connsiteY0" fmla="*/ 0 h 1275207"/>
                <a:gd name="connsiteX1" fmla="*/ 927163 w 1815750"/>
                <a:gd name="connsiteY1" fmla="*/ 756571 h 1275207"/>
                <a:gd name="connsiteX2" fmla="*/ 290703 w 1815750"/>
                <a:gd name="connsiteY2" fmla="*/ 0 h 1275207"/>
                <a:gd name="connsiteX3" fmla="*/ 0 w 1815750"/>
                <a:gd name="connsiteY3" fmla="*/ 0 h 1275207"/>
                <a:gd name="connsiteX4" fmla="*/ 0 w 1815750"/>
                <a:gd name="connsiteY4" fmla="*/ 1275207 h 1275207"/>
                <a:gd name="connsiteX5" fmla="*/ 290703 w 1815750"/>
                <a:gd name="connsiteY5" fmla="*/ 1275207 h 1275207"/>
                <a:gd name="connsiteX6" fmla="*/ 290703 w 1815750"/>
                <a:gd name="connsiteY6" fmla="*/ 419100 h 1275207"/>
                <a:gd name="connsiteX7" fmla="*/ 877919 w 1815750"/>
                <a:gd name="connsiteY7" fmla="*/ 1121474 h 1275207"/>
                <a:gd name="connsiteX8" fmla="*/ 939356 w 1815750"/>
                <a:gd name="connsiteY8" fmla="*/ 1121474 h 1275207"/>
                <a:gd name="connsiteX9" fmla="*/ 1520571 w 1815750"/>
                <a:gd name="connsiteY9" fmla="*/ 397859 h 1275207"/>
                <a:gd name="connsiteX10" fmla="*/ 1520571 w 1815750"/>
                <a:gd name="connsiteY10" fmla="*/ 1275207 h 1275207"/>
                <a:gd name="connsiteX11" fmla="*/ 1815751 w 1815750"/>
                <a:gd name="connsiteY11" fmla="*/ 1275207 h 1275207"/>
                <a:gd name="connsiteX12" fmla="*/ 1815751 w 1815750"/>
                <a:gd name="connsiteY12" fmla="*/ 0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5750" h="1275207">
                  <a:moveTo>
                    <a:pt x="1560576" y="0"/>
                  </a:moveTo>
                  <a:lnTo>
                    <a:pt x="927163" y="756571"/>
                  </a:lnTo>
                  <a:lnTo>
                    <a:pt x="290703" y="0"/>
                  </a:lnTo>
                  <a:lnTo>
                    <a:pt x="0" y="0"/>
                  </a:lnTo>
                  <a:lnTo>
                    <a:pt x="0" y="1275207"/>
                  </a:lnTo>
                  <a:lnTo>
                    <a:pt x="290703" y="1275207"/>
                  </a:lnTo>
                  <a:lnTo>
                    <a:pt x="290703" y="419100"/>
                  </a:lnTo>
                  <a:lnTo>
                    <a:pt x="877919" y="1121474"/>
                  </a:lnTo>
                  <a:lnTo>
                    <a:pt x="939356" y="1121474"/>
                  </a:lnTo>
                  <a:lnTo>
                    <a:pt x="1520571" y="397859"/>
                  </a:lnTo>
                  <a:lnTo>
                    <a:pt x="1520571" y="1275207"/>
                  </a:lnTo>
                  <a:lnTo>
                    <a:pt x="1815751" y="1275207"/>
                  </a:lnTo>
                  <a:lnTo>
                    <a:pt x="1815751" y="0"/>
                  </a:lnTo>
                  <a:close/>
                </a:path>
              </a:pathLst>
            </a:custGeom>
            <a:grpFill/>
            <a:ln w="9525" cap="flat">
              <a:noFill/>
              <a:prstDash val="solid"/>
              <a:miter/>
            </a:ln>
          </p:spPr>
          <p:txBody>
            <a:bodyPr lIns="0" tIns="0" rIns="0" bIns="0" rtlCol="0" anchor="ctr"/>
            <a:lstStyle/>
            <a:p>
              <a:endParaRPr lang="de-DE" sz="100"/>
            </a:p>
          </p:txBody>
        </p:sp>
        <p:sp>
          <p:nvSpPr>
            <p:cNvPr id="45" name="m">
              <a:extLst>
                <a:ext uri="{FF2B5EF4-FFF2-40B4-BE49-F238E27FC236}">
                  <a16:creationId xmlns:a16="http://schemas.microsoft.com/office/drawing/2014/main" id="{E171DB5F-A1B2-45FC-97CF-E4CD4180AE61}"/>
                </a:ext>
              </a:extLst>
            </p:cNvPr>
            <p:cNvSpPr/>
            <p:nvPr/>
          </p:nvSpPr>
          <p:spPr bwMode="gray">
            <a:xfrm>
              <a:off x="6535096" y="3966498"/>
              <a:ext cx="1815752" cy="1275212"/>
            </a:xfrm>
            <a:custGeom>
              <a:avLst/>
              <a:gdLst>
                <a:gd name="connsiteX0" fmla="*/ 1560672 w 1815750"/>
                <a:gd name="connsiteY0" fmla="*/ 0 h 1275207"/>
                <a:gd name="connsiteX1" fmla="*/ 927164 w 1815750"/>
                <a:gd name="connsiteY1" fmla="*/ 756571 h 1275207"/>
                <a:gd name="connsiteX2" fmla="*/ 290799 w 1815750"/>
                <a:gd name="connsiteY2" fmla="*/ 0 h 1275207"/>
                <a:gd name="connsiteX3" fmla="*/ 0 w 1815750"/>
                <a:gd name="connsiteY3" fmla="*/ 0 h 1275207"/>
                <a:gd name="connsiteX4" fmla="*/ 0 w 1815750"/>
                <a:gd name="connsiteY4" fmla="*/ 1275207 h 1275207"/>
                <a:gd name="connsiteX5" fmla="*/ 290799 w 1815750"/>
                <a:gd name="connsiteY5" fmla="*/ 1275207 h 1275207"/>
                <a:gd name="connsiteX6" fmla="*/ 290799 w 1815750"/>
                <a:gd name="connsiteY6" fmla="*/ 419100 h 1275207"/>
                <a:gd name="connsiteX7" fmla="*/ 878015 w 1815750"/>
                <a:gd name="connsiteY7" fmla="*/ 1121474 h 1275207"/>
                <a:gd name="connsiteX8" fmla="*/ 939546 w 1815750"/>
                <a:gd name="connsiteY8" fmla="*/ 1121474 h 1275207"/>
                <a:gd name="connsiteX9" fmla="*/ 1520571 w 1815750"/>
                <a:gd name="connsiteY9" fmla="*/ 397859 h 1275207"/>
                <a:gd name="connsiteX10" fmla="*/ 1520571 w 1815750"/>
                <a:gd name="connsiteY10" fmla="*/ 1275207 h 1275207"/>
                <a:gd name="connsiteX11" fmla="*/ 1815751 w 1815750"/>
                <a:gd name="connsiteY11" fmla="*/ 1275207 h 1275207"/>
                <a:gd name="connsiteX12" fmla="*/ 1815751 w 1815750"/>
                <a:gd name="connsiteY12" fmla="*/ 0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15750" h="1275207">
                  <a:moveTo>
                    <a:pt x="1560672" y="0"/>
                  </a:moveTo>
                  <a:lnTo>
                    <a:pt x="927164" y="756571"/>
                  </a:lnTo>
                  <a:lnTo>
                    <a:pt x="290799" y="0"/>
                  </a:lnTo>
                  <a:lnTo>
                    <a:pt x="0" y="0"/>
                  </a:lnTo>
                  <a:lnTo>
                    <a:pt x="0" y="1275207"/>
                  </a:lnTo>
                  <a:lnTo>
                    <a:pt x="290799" y="1275207"/>
                  </a:lnTo>
                  <a:lnTo>
                    <a:pt x="290799" y="419100"/>
                  </a:lnTo>
                  <a:lnTo>
                    <a:pt x="878015" y="1121474"/>
                  </a:lnTo>
                  <a:lnTo>
                    <a:pt x="939546" y="1121474"/>
                  </a:lnTo>
                  <a:lnTo>
                    <a:pt x="1520571" y="397859"/>
                  </a:lnTo>
                  <a:lnTo>
                    <a:pt x="1520571" y="1275207"/>
                  </a:lnTo>
                  <a:lnTo>
                    <a:pt x="1815751" y="1275207"/>
                  </a:lnTo>
                  <a:lnTo>
                    <a:pt x="1815751" y="0"/>
                  </a:lnTo>
                  <a:close/>
                </a:path>
              </a:pathLst>
            </a:custGeom>
            <a:grpFill/>
            <a:ln w="9525" cap="flat">
              <a:noFill/>
              <a:prstDash val="solid"/>
              <a:miter/>
            </a:ln>
          </p:spPr>
          <p:txBody>
            <a:bodyPr lIns="0" tIns="0" rIns="0" bIns="0" rtlCol="0" anchor="ctr"/>
            <a:lstStyle/>
            <a:p>
              <a:endParaRPr lang="de-DE" sz="100"/>
            </a:p>
          </p:txBody>
        </p:sp>
        <p:sp>
          <p:nvSpPr>
            <p:cNvPr id="46" name="e">
              <a:extLst>
                <a:ext uri="{FF2B5EF4-FFF2-40B4-BE49-F238E27FC236}">
                  <a16:creationId xmlns:a16="http://schemas.microsoft.com/office/drawing/2014/main" id="{98A429B4-53FB-45C6-A819-28371A1537FB}"/>
                </a:ext>
              </a:extLst>
            </p:cNvPr>
            <p:cNvSpPr/>
            <p:nvPr/>
          </p:nvSpPr>
          <p:spPr bwMode="gray">
            <a:xfrm>
              <a:off x="8765757" y="3966498"/>
              <a:ext cx="1411313" cy="1275212"/>
            </a:xfrm>
            <a:custGeom>
              <a:avLst/>
              <a:gdLst>
                <a:gd name="connsiteX0" fmla="*/ 0 w 1411319"/>
                <a:gd name="connsiteY0" fmla="*/ 0 h 1275207"/>
                <a:gd name="connsiteX1" fmla="*/ 0 w 1411319"/>
                <a:gd name="connsiteY1" fmla="*/ 1275207 h 1275207"/>
                <a:gd name="connsiteX2" fmla="*/ 1411319 w 1411319"/>
                <a:gd name="connsiteY2" fmla="*/ 1275207 h 1275207"/>
                <a:gd name="connsiteX3" fmla="*/ 1411319 w 1411319"/>
                <a:gd name="connsiteY3" fmla="*/ 1036987 h 1275207"/>
                <a:gd name="connsiteX4" fmla="*/ 319850 w 1411319"/>
                <a:gd name="connsiteY4" fmla="*/ 1036987 h 1275207"/>
                <a:gd name="connsiteX5" fmla="*/ 319850 w 1411319"/>
                <a:gd name="connsiteY5" fmla="*/ 723424 h 1275207"/>
                <a:gd name="connsiteX6" fmla="*/ 947166 w 1411319"/>
                <a:gd name="connsiteY6" fmla="*/ 723424 h 1275207"/>
                <a:gd name="connsiteX7" fmla="*/ 947166 w 1411319"/>
                <a:gd name="connsiteY7" fmla="*/ 503396 h 1275207"/>
                <a:gd name="connsiteX8" fmla="*/ 319850 w 1411319"/>
                <a:gd name="connsiteY8" fmla="*/ 503396 h 1275207"/>
                <a:gd name="connsiteX9" fmla="*/ 319850 w 1411319"/>
                <a:gd name="connsiteY9" fmla="*/ 226219 h 1275207"/>
                <a:gd name="connsiteX10" fmla="*/ 1395984 w 1411319"/>
                <a:gd name="connsiteY10" fmla="*/ 226219 h 1275207"/>
                <a:gd name="connsiteX11" fmla="*/ 1395984 w 1411319"/>
                <a:gd name="connsiteY11" fmla="*/ 0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11319" h="1275207">
                  <a:moveTo>
                    <a:pt x="0" y="0"/>
                  </a:moveTo>
                  <a:lnTo>
                    <a:pt x="0" y="1275207"/>
                  </a:lnTo>
                  <a:lnTo>
                    <a:pt x="1411319" y="1275207"/>
                  </a:lnTo>
                  <a:lnTo>
                    <a:pt x="1411319" y="1036987"/>
                  </a:lnTo>
                  <a:lnTo>
                    <a:pt x="319850" y="1036987"/>
                  </a:lnTo>
                  <a:lnTo>
                    <a:pt x="319850" y="723424"/>
                  </a:lnTo>
                  <a:lnTo>
                    <a:pt x="947166" y="723424"/>
                  </a:lnTo>
                  <a:lnTo>
                    <a:pt x="947166" y="503396"/>
                  </a:lnTo>
                  <a:lnTo>
                    <a:pt x="319850" y="503396"/>
                  </a:lnTo>
                  <a:lnTo>
                    <a:pt x="319850" y="226219"/>
                  </a:lnTo>
                  <a:lnTo>
                    <a:pt x="1395984" y="226219"/>
                  </a:lnTo>
                  <a:lnTo>
                    <a:pt x="1395984" y="0"/>
                  </a:lnTo>
                  <a:close/>
                </a:path>
              </a:pathLst>
            </a:custGeom>
            <a:grpFill/>
            <a:ln w="9525" cap="flat">
              <a:noFill/>
              <a:prstDash val="solid"/>
              <a:miter/>
            </a:ln>
          </p:spPr>
          <p:txBody>
            <a:bodyPr lIns="0" tIns="0" rIns="0" bIns="0" rtlCol="0" anchor="ctr"/>
            <a:lstStyle/>
            <a:p>
              <a:endParaRPr lang="de-DE" sz="100"/>
            </a:p>
          </p:txBody>
        </p:sp>
        <p:sp>
          <p:nvSpPr>
            <p:cNvPr id="47" name="r">
              <a:extLst>
                <a:ext uri="{FF2B5EF4-FFF2-40B4-BE49-F238E27FC236}">
                  <a16:creationId xmlns:a16="http://schemas.microsoft.com/office/drawing/2014/main" id="{ED9A35F4-380A-43BC-8F2D-EF29F637FAEA}"/>
                </a:ext>
              </a:extLst>
            </p:cNvPr>
            <p:cNvSpPr/>
            <p:nvPr/>
          </p:nvSpPr>
          <p:spPr bwMode="gray">
            <a:xfrm>
              <a:off x="10504356" y="3966498"/>
              <a:ext cx="1579811" cy="1275212"/>
            </a:xfrm>
            <a:custGeom>
              <a:avLst/>
              <a:gdLst>
                <a:gd name="connsiteX0" fmla="*/ 1015937 w 1579817"/>
                <a:gd name="connsiteY0" fmla="*/ 220028 h 1275207"/>
                <a:gd name="connsiteX1" fmla="*/ 1157669 w 1579817"/>
                <a:gd name="connsiteY1" fmla="*/ 322517 h 1275207"/>
                <a:gd name="connsiteX2" fmla="*/ 1157669 w 1579817"/>
                <a:gd name="connsiteY2" fmla="*/ 470249 h 1275207"/>
                <a:gd name="connsiteX3" fmla="*/ 1015937 w 1579817"/>
                <a:gd name="connsiteY3" fmla="*/ 572738 h 1275207"/>
                <a:gd name="connsiteX4" fmla="*/ 307467 w 1579817"/>
                <a:gd name="connsiteY4" fmla="*/ 572738 h 1275207"/>
                <a:gd name="connsiteX5" fmla="*/ 307467 w 1579817"/>
                <a:gd name="connsiteY5" fmla="*/ 220028 h 1275207"/>
                <a:gd name="connsiteX6" fmla="*/ 1015937 w 1579817"/>
                <a:gd name="connsiteY6" fmla="*/ 220028 h 1275207"/>
                <a:gd name="connsiteX7" fmla="*/ 0 w 1579817"/>
                <a:gd name="connsiteY7" fmla="*/ 1275207 h 1275207"/>
                <a:gd name="connsiteX8" fmla="*/ 307563 w 1579817"/>
                <a:gd name="connsiteY8" fmla="*/ 1275207 h 1275207"/>
                <a:gd name="connsiteX9" fmla="*/ 307563 w 1579817"/>
                <a:gd name="connsiteY9" fmla="*/ 792766 h 1275207"/>
                <a:gd name="connsiteX10" fmla="*/ 599981 w 1579817"/>
                <a:gd name="connsiteY10" fmla="*/ 792766 h 1275207"/>
                <a:gd name="connsiteX11" fmla="*/ 1133570 w 1579817"/>
                <a:gd name="connsiteY11" fmla="*/ 1275207 h 1275207"/>
                <a:gd name="connsiteX12" fmla="*/ 1579818 w 1579817"/>
                <a:gd name="connsiteY12" fmla="*/ 1275207 h 1275207"/>
                <a:gd name="connsiteX13" fmla="*/ 973931 w 1579817"/>
                <a:gd name="connsiteY13" fmla="*/ 792766 h 1275207"/>
                <a:gd name="connsiteX14" fmla="*/ 1148811 w 1579817"/>
                <a:gd name="connsiteY14" fmla="*/ 792766 h 1275207"/>
                <a:gd name="connsiteX15" fmla="*/ 1447229 w 1579817"/>
                <a:gd name="connsiteY15" fmla="*/ 548545 h 1275207"/>
                <a:gd name="connsiteX16" fmla="*/ 1447229 w 1579817"/>
                <a:gd name="connsiteY16" fmla="*/ 247174 h 1275207"/>
                <a:gd name="connsiteX17" fmla="*/ 1148811 w 1579817"/>
                <a:gd name="connsiteY17" fmla="*/ 0 h 1275207"/>
                <a:gd name="connsiteX18" fmla="*/ 191 w 1579817"/>
                <a:gd name="connsiteY18" fmla="*/ 0 h 1275207"/>
                <a:gd name="connsiteX19" fmla="*/ 191 w 1579817"/>
                <a:gd name="connsiteY19" fmla="*/ 1275207 h 1275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79817" h="1275207">
                  <a:moveTo>
                    <a:pt x="1015937" y="220028"/>
                  </a:moveTo>
                  <a:cubicBezTo>
                    <a:pt x="1109282" y="220028"/>
                    <a:pt x="1157669" y="238220"/>
                    <a:pt x="1157669" y="322517"/>
                  </a:cubicBezTo>
                  <a:lnTo>
                    <a:pt x="1157669" y="470249"/>
                  </a:lnTo>
                  <a:cubicBezTo>
                    <a:pt x="1157669" y="554736"/>
                    <a:pt x="1109282" y="572738"/>
                    <a:pt x="1015937" y="572738"/>
                  </a:cubicBezTo>
                  <a:lnTo>
                    <a:pt x="307467" y="572738"/>
                  </a:lnTo>
                  <a:lnTo>
                    <a:pt x="307467" y="220028"/>
                  </a:lnTo>
                  <a:lnTo>
                    <a:pt x="1015937" y="220028"/>
                  </a:lnTo>
                  <a:close/>
                  <a:moveTo>
                    <a:pt x="0" y="1275207"/>
                  </a:moveTo>
                  <a:lnTo>
                    <a:pt x="307563" y="1275207"/>
                  </a:lnTo>
                  <a:lnTo>
                    <a:pt x="307563" y="792766"/>
                  </a:lnTo>
                  <a:lnTo>
                    <a:pt x="599981" y="792766"/>
                  </a:lnTo>
                  <a:lnTo>
                    <a:pt x="1133570" y="1275207"/>
                  </a:lnTo>
                  <a:lnTo>
                    <a:pt x="1579818" y="1275207"/>
                  </a:lnTo>
                  <a:lnTo>
                    <a:pt x="973931" y="792766"/>
                  </a:lnTo>
                  <a:lnTo>
                    <a:pt x="1148811" y="792766"/>
                  </a:lnTo>
                  <a:cubicBezTo>
                    <a:pt x="1353693" y="792766"/>
                    <a:pt x="1447229" y="723424"/>
                    <a:pt x="1447229" y="548545"/>
                  </a:cubicBezTo>
                  <a:lnTo>
                    <a:pt x="1447229" y="247174"/>
                  </a:lnTo>
                  <a:cubicBezTo>
                    <a:pt x="1447229" y="69342"/>
                    <a:pt x="1353693" y="0"/>
                    <a:pt x="1148811" y="0"/>
                  </a:cubicBezTo>
                  <a:lnTo>
                    <a:pt x="191" y="0"/>
                  </a:lnTo>
                  <a:lnTo>
                    <a:pt x="191" y="1275207"/>
                  </a:lnTo>
                  <a:close/>
                </a:path>
              </a:pathLst>
            </a:custGeom>
            <a:grpFill/>
            <a:ln w="9525" cap="flat">
              <a:noFill/>
              <a:prstDash val="solid"/>
              <a:miter/>
            </a:ln>
          </p:spPr>
          <p:txBody>
            <a:bodyPr lIns="0" tIns="0" rIns="0" bIns="0" rtlCol="0" anchor="ctr"/>
            <a:lstStyle/>
            <a:p>
              <a:endParaRPr lang="de-DE" sz="100"/>
            </a:p>
          </p:txBody>
        </p:sp>
      </p:grpSp>
      <p:sp>
        <p:nvSpPr>
          <p:cNvPr id="6" name="slide number">
            <a:extLst>
              <a:ext uri="{FF2B5EF4-FFF2-40B4-BE49-F238E27FC236}">
                <a16:creationId xmlns:a16="http://schemas.microsoft.com/office/drawing/2014/main" id="{2B2AFC16-8A38-4F50-AE5D-7C6D2D9FCAFD}"/>
              </a:ext>
            </a:extLst>
          </p:cNvPr>
          <p:cNvSpPr>
            <a:spLocks noGrp="1"/>
          </p:cNvSpPr>
          <p:nvPr>
            <p:ph type="sldNum" sz="quarter" idx="4"/>
          </p:nvPr>
        </p:nvSpPr>
        <p:spPr bwMode="gray">
          <a:xfrm>
            <a:off x="525600" y="6386400"/>
            <a:ext cx="234000" cy="180000"/>
          </a:xfrm>
          <a:prstGeom prst="rect">
            <a:avLst/>
          </a:prstGeom>
        </p:spPr>
        <p:txBody>
          <a:bodyPr vert="horz" lIns="0" tIns="0" rIns="0" bIns="0" rtlCol="0" anchor="ctr"/>
          <a:lstStyle>
            <a:lvl1pPr algn="l">
              <a:defRPr sz="900">
                <a:solidFill>
                  <a:schemeClr val="tx1"/>
                </a:solidFill>
                <a:latin typeface="+mn-lt"/>
              </a:defRPr>
            </a:lvl1pPr>
          </a:lstStyle>
          <a:p>
            <a:fld id="{9829449A-3FF3-45CE-9F4F-09BADC0910C6}" type="slidenum">
              <a:rPr lang="de-DE" smtClean="0"/>
              <a:pPr/>
              <a:t>‹Nr.›</a:t>
            </a:fld>
            <a:endParaRPr lang="de-DE"/>
          </a:p>
        </p:txBody>
      </p:sp>
      <p:sp>
        <p:nvSpPr>
          <p:cNvPr id="5" name="footer">
            <a:extLst>
              <a:ext uri="{FF2B5EF4-FFF2-40B4-BE49-F238E27FC236}">
                <a16:creationId xmlns:a16="http://schemas.microsoft.com/office/drawing/2014/main" id="{CF610EC4-3BFD-407B-AC7C-71080D842290}"/>
              </a:ext>
            </a:extLst>
          </p:cNvPr>
          <p:cNvSpPr>
            <a:spLocks noGrp="1"/>
          </p:cNvSpPr>
          <p:nvPr>
            <p:ph type="ftr" sz="quarter" idx="3"/>
          </p:nvPr>
        </p:nvSpPr>
        <p:spPr bwMode="gray">
          <a:xfrm>
            <a:off x="763200" y="6386400"/>
            <a:ext cx="7880400" cy="180000"/>
          </a:xfrm>
          <a:prstGeom prst="rect">
            <a:avLst/>
          </a:prstGeom>
        </p:spPr>
        <p:txBody>
          <a:bodyPr vert="horz" lIns="0" tIns="0" rIns="0" bIns="0" rtlCol="0" anchor="ctr"/>
          <a:lstStyle>
            <a:lvl1pPr algn="l">
              <a:defRPr sz="900">
                <a:solidFill>
                  <a:schemeClr val="tx1"/>
                </a:solidFill>
                <a:latin typeface="+mn-lt"/>
              </a:defRPr>
            </a:lvl1pPr>
          </a:lstStyle>
          <a:p>
            <a:endParaRPr lang="de-DE"/>
          </a:p>
        </p:txBody>
      </p:sp>
      <p:sp>
        <p:nvSpPr>
          <p:cNvPr id="4" name="empower - DO NOT DELETE!!!" hidden="1">
            <a:extLst>
              <a:ext uri="{FF2B5EF4-FFF2-40B4-BE49-F238E27FC236}">
                <a16:creationId xmlns:a16="http://schemas.microsoft.com/office/drawing/2014/main" id="{D87469AE-7372-420D-9093-E3348AA0DA77}"/>
              </a:ext>
            </a:extLst>
          </p:cNvPr>
          <p:cNvSpPr/>
          <p:nvPr userDrawn="1">
            <p:custDataLst>
              <p:tags r:id="rId41"/>
            </p:custDataLst>
          </p:nvPr>
        </p:nvSpPr>
        <p:spPr>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lvl="0" algn="ctr">
              <a:spcBef>
                <a:spcPts val="400"/>
              </a:spcBef>
              <a:spcAft>
                <a:spcPts val="400"/>
              </a:spcAft>
            </a:pPr>
            <a:endParaRPr lang="de-DE" sz="1400" err="1"/>
          </a:p>
        </p:txBody>
      </p:sp>
    </p:spTree>
    <p:extLst>
      <p:ext uri="{BB962C8B-B14F-4D97-AF65-F5344CB8AC3E}">
        <p14:creationId xmlns:p14="http://schemas.microsoft.com/office/powerpoint/2010/main" val="2081436531"/>
      </p:ext>
    </p:extLst>
  </p:cSld>
  <p:clrMap bg1="lt1" tx1="dk1" bg2="lt2" tx2="dk2" accent1="accent1" accent2="accent2" accent3="accent3" accent4="accent4" accent5="accent5" accent6="accent6" hlink="hlink" folHlink="folHlink"/>
  <p:sldLayoutIdLst>
    <p:sldLayoutId id="2147483649" r:id="rId1"/>
    <p:sldLayoutId id="2147483755" r:id="rId2"/>
    <p:sldLayoutId id="2147483880" r:id="rId3"/>
    <p:sldLayoutId id="2147483872" r:id="rId4"/>
    <p:sldLayoutId id="2147483868" r:id="rId5"/>
    <p:sldLayoutId id="2147483680" r:id="rId6"/>
    <p:sldLayoutId id="2147483874" r:id="rId7"/>
    <p:sldLayoutId id="2147483882" r:id="rId8"/>
    <p:sldLayoutId id="2147483681" r:id="rId9"/>
    <p:sldLayoutId id="2147483691" r:id="rId10"/>
    <p:sldLayoutId id="2147483692" r:id="rId11"/>
    <p:sldLayoutId id="2147483663" r:id="rId12"/>
    <p:sldLayoutId id="2147483877" r:id="rId13"/>
    <p:sldLayoutId id="2147483883" r:id="rId14"/>
    <p:sldLayoutId id="2147483664" r:id="rId15"/>
    <p:sldLayoutId id="2147483881" r:id="rId16"/>
    <p:sldLayoutId id="2147483693" r:id="rId17"/>
    <p:sldLayoutId id="2147483717" r:id="rId18"/>
    <p:sldLayoutId id="2147483694" r:id="rId19"/>
    <p:sldLayoutId id="2147483696" r:id="rId20"/>
    <p:sldLayoutId id="2147483690" r:id="rId21"/>
    <p:sldLayoutId id="2147483702" r:id="rId22"/>
    <p:sldLayoutId id="2147483699" r:id="rId23"/>
    <p:sldLayoutId id="2147483782" r:id="rId24"/>
    <p:sldLayoutId id="2147483873" r:id="rId25"/>
    <p:sldLayoutId id="2147483736" r:id="rId26"/>
    <p:sldLayoutId id="2147483725" r:id="rId27"/>
    <p:sldLayoutId id="2147483704" r:id="rId28"/>
    <p:sldLayoutId id="2147483860" r:id="rId29"/>
    <p:sldLayoutId id="2147483709" r:id="rId30"/>
    <p:sldLayoutId id="2147483734" r:id="rId31"/>
    <p:sldLayoutId id="2147483735" r:id="rId32"/>
    <p:sldLayoutId id="2147483804" r:id="rId33"/>
    <p:sldLayoutId id="2147483792" r:id="rId34"/>
    <p:sldLayoutId id="2147483729" r:id="rId35"/>
    <p:sldLayoutId id="2147483731" r:id="rId36"/>
    <p:sldLayoutId id="2147483870" r:id="rId37"/>
    <p:sldLayoutId id="2147483871" r:id="rId38"/>
    <p:sldLayoutId id="2147483884" r:id="rId3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85000"/>
        </a:lnSpc>
        <a:spcBef>
          <a:spcPct val="0"/>
        </a:spcBef>
        <a:buNone/>
        <a:defRPr sz="2400" kern="1200" cap="all"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400"/>
        </a:spcBef>
        <a:spcAft>
          <a:spcPts val="400"/>
        </a:spcAft>
        <a:buFontTx/>
        <a:buNone/>
        <a:defRPr sz="1400" kern="1200">
          <a:solidFill>
            <a:schemeClr val="tx1"/>
          </a:solidFill>
          <a:latin typeface="+mn-lt"/>
          <a:ea typeface="+mn-ea"/>
          <a:cs typeface="+mn-cs"/>
        </a:defRPr>
      </a:lvl1pPr>
      <a:lvl2pPr marL="216000" indent="-216000" algn="l" defTabSz="914400" rtl="0" eaLnBrk="1" latinLnBrk="0" hangingPunct="1">
        <a:lnSpc>
          <a:spcPct val="100000"/>
        </a:lnSpc>
        <a:spcBef>
          <a:spcPts val="0"/>
        </a:spcBef>
        <a:spcAft>
          <a:spcPts val="400"/>
        </a:spcAft>
        <a:buClr>
          <a:schemeClr val="tx1"/>
        </a:buClr>
        <a:buFont typeface="Wingdings" panose="05000000000000000000" pitchFamily="2" charset="2"/>
        <a:buChar char="§"/>
        <a:defRPr sz="1400" kern="1200">
          <a:solidFill>
            <a:schemeClr val="tx1"/>
          </a:solidFill>
          <a:latin typeface="+mn-lt"/>
          <a:ea typeface="+mn-ea"/>
          <a:cs typeface="+mn-cs"/>
        </a:defRPr>
      </a:lvl2pPr>
      <a:lvl3pPr marL="432000" indent="-216000" algn="l" defTabSz="914400" rtl="0" eaLnBrk="1" latinLnBrk="0" hangingPunct="1">
        <a:lnSpc>
          <a:spcPct val="100000"/>
        </a:lnSpc>
        <a:spcBef>
          <a:spcPts val="0"/>
        </a:spcBef>
        <a:spcAft>
          <a:spcPts val="400"/>
        </a:spcAft>
        <a:buClr>
          <a:schemeClr val="tx1"/>
        </a:buClr>
        <a:buFont typeface="Symbol" panose="05050102010706020507" pitchFamily="18" charset="2"/>
        <a:buChar char="-"/>
        <a:defRPr sz="1400" kern="1200">
          <a:solidFill>
            <a:schemeClr val="tx1"/>
          </a:solidFill>
          <a:latin typeface="+mn-lt"/>
          <a:ea typeface="+mn-ea"/>
          <a:cs typeface="+mn-cs"/>
        </a:defRPr>
      </a:lvl3pPr>
      <a:lvl4pPr marL="612000" indent="-180000" algn="l" defTabSz="914400" rtl="0" eaLnBrk="1" latinLnBrk="0" hangingPunct="1">
        <a:lnSpc>
          <a:spcPct val="100000"/>
        </a:lnSpc>
        <a:spcBef>
          <a:spcPts val="0"/>
        </a:spcBef>
        <a:spcAft>
          <a:spcPts val="400"/>
        </a:spcAft>
        <a:buClr>
          <a:schemeClr val="tx1"/>
        </a:buClr>
        <a:buFont typeface="Arial" panose="020B0604020202020204" pitchFamily="34" charset="0"/>
        <a:buChar char="•"/>
        <a:defRPr sz="1400" kern="1200">
          <a:solidFill>
            <a:schemeClr val="tx1"/>
          </a:solidFill>
          <a:latin typeface="+mn-lt"/>
          <a:ea typeface="+mn-ea"/>
          <a:cs typeface="+mn-cs"/>
        </a:defRPr>
      </a:lvl4pPr>
      <a:lvl5pPr marL="0" indent="0" algn="l" defTabSz="914400" rtl="0" eaLnBrk="1" latinLnBrk="0" hangingPunct="1">
        <a:lnSpc>
          <a:spcPct val="100000"/>
        </a:lnSpc>
        <a:spcBef>
          <a:spcPts val="400"/>
        </a:spcBef>
        <a:spcAft>
          <a:spcPts val="400"/>
        </a:spcAft>
        <a:buFontTx/>
        <a:buNone/>
        <a:defRPr sz="1600" b="1" kern="1200">
          <a:solidFill>
            <a:schemeClr val="tx1"/>
          </a:solidFill>
          <a:latin typeface="+mn-lt"/>
          <a:ea typeface="+mn-ea"/>
          <a:cs typeface="+mn-cs"/>
        </a:defRPr>
      </a:lvl5pPr>
      <a:lvl6pPr marL="0" indent="0" algn="l" defTabSz="914400" rtl="0" eaLnBrk="1" latinLnBrk="0" hangingPunct="1">
        <a:lnSpc>
          <a:spcPct val="100000"/>
        </a:lnSpc>
        <a:spcBef>
          <a:spcPts val="400"/>
        </a:spcBef>
        <a:spcAft>
          <a:spcPts val="400"/>
        </a:spcAft>
        <a:buFontTx/>
        <a:buNone/>
        <a:defRPr sz="1600" b="1" kern="1200" cap="all" baseline="0">
          <a:solidFill>
            <a:schemeClr val="accent3"/>
          </a:solidFill>
          <a:latin typeface="+mn-lt"/>
          <a:ea typeface="+mn-ea"/>
          <a:cs typeface="+mn-cs"/>
        </a:defRPr>
      </a:lvl6pPr>
      <a:lvl7pPr marL="0" indent="0" algn="l" defTabSz="914400" rtl="0" eaLnBrk="1" latinLnBrk="0" hangingPunct="1">
        <a:lnSpc>
          <a:spcPct val="100000"/>
        </a:lnSpc>
        <a:spcBef>
          <a:spcPts val="400"/>
        </a:spcBef>
        <a:spcAft>
          <a:spcPts val="400"/>
        </a:spcAft>
        <a:buFontTx/>
        <a:buNone/>
        <a:defRPr sz="1600" b="1" kern="1200" cap="all" baseline="0">
          <a:solidFill>
            <a:schemeClr val="accent1"/>
          </a:solidFill>
          <a:latin typeface="+mn-lt"/>
          <a:ea typeface="+mn-ea"/>
          <a:cs typeface="+mn-cs"/>
        </a:defRPr>
      </a:lvl7pPr>
      <a:lvl8pPr marL="0" indent="0" algn="l" defTabSz="914400" rtl="0" eaLnBrk="1" latinLnBrk="0" hangingPunct="1">
        <a:lnSpc>
          <a:spcPct val="100000"/>
        </a:lnSpc>
        <a:spcBef>
          <a:spcPts val="400"/>
        </a:spcBef>
        <a:spcAft>
          <a:spcPts val="400"/>
        </a:spcAft>
        <a:buFontTx/>
        <a:buNone/>
        <a:defRPr sz="10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0" userDrawn="1">
          <p15:clr>
            <a:srgbClr val="F26B43"/>
          </p15:clr>
        </p15:guide>
        <p15:guide id="2" pos="7349" userDrawn="1">
          <p15:clr>
            <a:srgbClr val="F26B43"/>
          </p15:clr>
        </p15:guide>
        <p15:guide id="3" orient="horz" pos="423" userDrawn="1">
          <p15:clr>
            <a:srgbClr val="F26B43"/>
          </p15:clr>
        </p15:guide>
        <p15:guide id="5" orient="horz" pos="1008" userDrawn="1">
          <p15:clr>
            <a:srgbClr val="F26B43"/>
          </p15:clr>
        </p15:guide>
        <p15:guide id="6" orient="horz" pos="384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8306954"/>
      </p:ext>
    </p:extLst>
  </p:cSld>
  <p:clrMap bg1="lt1" tx1="dk1" bg2="lt2" tx2="dk2" accent1="accent1" accent2="accent2" accent3="accent3" accent4="accent4" accent5="accent5" accent6="accent6" hlink="hlink" folHlink="folHlink"/>
  <p:sldLayoutIdLst>
    <p:sldLayoutId id="2147483886" r:id="rId1"/>
    <p:sldLayoutId id="2147483887" r:id="rId2"/>
    <p:sldLayoutId id="2147483888" r:id="rId3"/>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2.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4.jpeg"/><Relationship Id="rId7"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40.xml"/><Relationship Id="rId6" Type="http://schemas.openxmlformats.org/officeDocument/2006/relationships/image" Target="../media/image17.svg"/><Relationship Id="rId5" Type="http://schemas.openxmlformats.org/officeDocument/2006/relationships/image" Target="../media/image16.png"/><Relationship Id="rId10" Type="http://schemas.openxmlformats.org/officeDocument/2006/relationships/image" Target="../media/image21.svg"/><Relationship Id="rId4" Type="http://schemas.openxmlformats.org/officeDocument/2006/relationships/image" Target="../media/image15.emf"/><Relationship Id="rId9" Type="http://schemas.openxmlformats.org/officeDocument/2006/relationships/image" Target="../media/image20.png"/></Relationships>
</file>

<file path=ppt/slides/_rels/slide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3.xml"/><Relationship Id="rId1"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13.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3.png"/><Relationship Id="rId5" Type="http://schemas.openxmlformats.org/officeDocument/2006/relationships/notesSlide" Target="../notesSlides/notesSlide4.xml"/><Relationship Id="rId4"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3.png"/><Relationship Id="rId5" Type="http://schemas.openxmlformats.org/officeDocument/2006/relationships/image" Target="../media/image23.png"/><Relationship Id="rId4" Type="http://schemas.openxmlformats.org/officeDocument/2006/relationships/notesSlide" Target="../notesSlides/notesSlid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Bildplatzhalter 9" descr="Ein Bild, das Outdoorobjekt, Spinnennetz enthält.&#10;&#10;Automatisch generierte Beschreibung">
            <a:extLst>
              <a:ext uri="{FF2B5EF4-FFF2-40B4-BE49-F238E27FC236}">
                <a16:creationId xmlns:a16="http://schemas.microsoft.com/office/drawing/2014/main" id="{5FA14532-62AE-4A95-AEB8-F7E19EBF31CB}"/>
              </a:ext>
            </a:extLst>
          </p:cNvPr>
          <p:cNvPicPr>
            <a:picLocks noGrp="1" noChangeAspect="1"/>
          </p:cNvPicPr>
          <p:nvPr>
            <p:ph type="pic" sz="quarter" idx="15"/>
          </p:nvPr>
        </p:nvPicPr>
        <p:blipFill rotWithShape="1">
          <a:blip r:embed="rId3" cstate="screen">
            <a:extLst>
              <a:ext uri="{28A0092B-C50C-407E-A947-70E740481C1C}">
                <a14:useLocalDpi xmlns:a14="http://schemas.microsoft.com/office/drawing/2010/main"/>
              </a:ext>
            </a:extLst>
          </a:blip>
          <a:srcRect/>
          <a:stretch/>
        </p:blipFill>
        <p:spPr/>
      </p:pic>
      <p:pic>
        <p:nvPicPr>
          <p:cNvPr id="18" name="Grafik 17">
            <a:extLst>
              <a:ext uri="{FF2B5EF4-FFF2-40B4-BE49-F238E27FC236}">
                <a16:creationId xmlns:a16="http://schemas.microsoft.com/office/drawing/2014/main" id="{718C8993-E7F9-444B-8224-5284AD9BCDB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1256" y="4371965"/>
            <a:ext cx="5434469" cy="1775404"/>
          </a:xfrm>
          <a:prstGeom prst="rect">
            <a:avLst/>
          </a:prstGeom>
        </p:spPr>
      </p:pic>
      <p:sp>
        <p:nvSpPr>
          <p:cNvPr id="5" name="Untertitel 11">
            <a:extLst>
              <a:ext uri="{FF2B5EF4-FFF2-40B4-BE49-F238E27FC236}">
                <a16:creationId xmlns:a16="http://schemas.microsoft.com/office/drawing/2014/main" id="{5C5D1E23-148D-3D44-EE06-B39C2F6B510F}"/>
              </a:ext>
            </a:extLst>
          </p:cNvPr>
          <p:cNvSpPr>
            <a:spLocks noGrp="1"/>
          </p:cNvSpPr>
          <p:nvPr>
            <p:ph type="subTitle" idx="1"/>
          </p:nvPr>
        </p:nvSpPr>
        <p:spPr>
          <a:xfrm>
            <a:off x="0" y="5882606"/>
            <a:ext cx="5400000" cy="640113"/>
          </a:xfrm>
        </p:spPr>
        <p:txBody>
          <a:bodyPr/>
          <a:lstStyle/>
          <a:p>
            <a:r>
              <a:rPr lang="de-DE" dirty="0"/>
              <a:t>Workshop - </a:t>
            </a:r>
            <a:r>
              <a:rPr lang="en-US" b="1" cap="all" dirty="0"/>
              <a:t>ENERGY</a:t>
            </a:r>
            <a:endParaRPr lang="de-DE" dirty="0"/>
          </a:p>
        </p:txBody>
      </p:sp>
      <p:pic>
        <p:nvPicPr>
          <p:cNvPr id="2" name="Picture 2">
            <a:extLst>
              <a:ext uri="{FF2B5EF4-FFF2-40B4-BE49-F238E27FC236}">
                <a16:creationId xmlns:a16="http://schemas.microsoft.com/office/drawing/2014/main" id="{8856D42C-FC8A-E316-5D7C-890E212F616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256" y="3749494"/>
            <a:ext cx="2064152" cy="6224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4438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picture containing building, sitting, large, room&#10;&#10;Description automatically generated">
            <a:extLst>
              <a:ext uri="{FF2B5EF4-FFF2-40B4-BE49-F238E27FC236}">
                <a16:creationId xmlns:a16="http://schemas.microsoft.com/office/drawing/2014/main" id="{EE1AD9BB-6FE7-468C-BBF5-EB453B0C469E}"/>
              </a:ext>
            </a:extLst>
          </p:cNvPr>
          <p:cNvPicPr>
            <a:picLocks noChangeAspect="1"/>
          </p:cNvPicPr>
          <p:nvPr/>
        </p:nvPicPr>
        <p:blipFill rotWithShape="1">
          <a:blip r:embed="rId3">
            <a:alphaModFix amt="20000"/>
            <a:extLst>
              <a:ext uri="{28A0092B-C50C-407E-A947-70E740481C1C}">
                <a14:useLocalDpi xmlns:a14="http://schemas.microsoft.com/office/drawing/2010/main" val="0"/>
              </a:ext>
            </a:extLst>
          </a:blip>
          <a:srcRect b="15616"/>
          <a:stretch/>
        </p:blipFill>
        <p:spPr>
          <a:xfrm>
            <a:off x="0" y="-713"/>
            <a:ext cx="12192000" cy="6858713"/>
          </a:xfrm>
          <a:prstGeom prst="rect">
            <a:avLst/>
          </a:prstGeom>
        </p:spPr>
      </p:pic>
      <p:pic>
        <p:nvPicPr>
          <p:cNvPr id="130" name="Picture 129">
            <a:extLst>
              <a:ext uri="{FF2B5EF4-FFF2-40B4-BE49-F238E27FC236}">
                <a16:creationId xmlns:a16="http://schemas.microsoft.com/office/drawing/2014/main" id="{807AA605-1E12-4EFB-A548-4EA9BCC0F4EC}"/>
              </a:ext>
            </a:extLst>
          </p:cNvPr>
          <p:cNvPicPr>
            <a:picLocks noChangeAspect="1"/>
          </p:cNvPicPr>
          <p:nvPr/>
        </p:nvPicPr>
        <p:blipFill>
          <a:blip r:embed="rId4">
            <a:biLevel thresh="25000"/>
            <a:alphaModFix amt="20000"/>
          </a:blip>
          <a:stretch>
            <a:fillRect/>
          </a:stretch>
        </p:blipFill>
        <p:spPr>
          <a:xfrm rot="10800000">
            <a:off x="4460408" y="1353690"/>
            <a:ext cx="3695311" cy="1217056"/>
          </a:xfrm>
          <a:prstGeom prst="rect">
            <a:avLst/>
          </a:prstGeom>
        </p:spPr>
      </p:pic>
      <p:pic>
        <p:nvPicPr>
          <p:cNvPr id="13" name="Picture 12">
            <a:extLst>
              <a:ext uri="{FF2B5EF4-FFF2-40B4-BE49-F238E27FC236}">
                <a16:creationId xmlns:a16="http://schemas.microsoft.com/office/drawing/2014/main" id="{EA6CB387-3AB1-4B30-95D8-E51304038281}"/>
              </a:ext>
            </a:extLst>
          </p:cNvPr>
          <p:cNvPicPr>
            <a:picLocks noChangeAspect="1"/>
          </p:cNvPicPr>
          <p:nvPr/>
        </p:nvPicPr>
        <p:blipFill>
          <a:blip r:embed="rId4">
            <a:biLevel thresh="25000"/>
            <a:alphaModFix amt="20000"/>
          </a:blip>
          <a:stretch>
            <a:fillRect/>
          </a:stretch>
        </p:blipFill>
        <p:spPr>
          <a:xfrm>
            <a:off x="1353372" y="4125043"/>
            <a:ext cx="6846892" cy="2255034"/>
          </a:xfrm>
          <a:prstGeom prst="rect">
            <a:avLst/>
          </a:prstGeom>
        </p:spPr>
      </p:pic>
      <p:cxnSp>
        <p:nvCxnSpPr>
          <p:cNvPr id="116" name="Straight Connector 115">
            <a:extLst>
              <a:ext uri="{FF2B5EF4-FFF2-40B4-BE49-F238E27FC236}">
                <a16:creationId xmlns:a16="http://schemas.microsoft.com/office/drawing/2014/main" id="{79998812-807D-4CF3-A13A-3D8647B1EB6C}"/>
              </a:ext>
            </a:extLst>
          </p:cNvPr>
          <p:cNvCxnSpPr>
            <a:cxnSpLocks/>
          </p:cNvCxnSpPr>
          <p:nvPr/>
        </p:nvCxnSpPr>
        <p:spPr>
          <a:xfrm flipV="1">
            <a:off x="1029274" y="2008802"/>
            <a:ext cx="1165358" cy="883"/>
          </a:xfrm>
          <a:prstGeom prst="line">
            <a:avLst/>
          </a:prstGeom>
          <a:noFill/>
          <a:ln w="3175" cap="rnd" cmpd="sng" algn="ctr">
            <a:solidFill>
              <a:schemeClr val="bg1"/>
            </a:solidFill>
            <a:prstDash val="sysDash"/>
          </a:ln>
          <a:effectLst/>
        </p:spPr>
      </p:cxnSp>
      <p:sp>
        <p:nvSpPr>
          <p:cNvPr id="117" name="Rectangle 116">
            <a:extLst>
              <a:ext uri="{FF2B5EF4-FFF2-40B4-BE49-F238E27FC236}">
                <a16:creationId xmlns:a16="http://schemas.microsoft.com/office/drawing/2014/main" id="{769AAC17-17DD-49A2-BEE3-9CF3EB185EEF}"/>
              </a:ext>
            </a:extLst>
          </p:cNvPr>
          <p:cNvSpPr/>
          <p:nvPr/>
        </p:nvSpPr>
        <p:spPr>
          <a:xfrm>
            <a:off x="384453" y="2008558"/>
            <a:ext cx="751349" cy="1952181"/>
          </a:xfrm>
          <a:prstGeom prst="rect">
            <a:avLst/>
          </a:prstGeom>
          <a:solidFill>
            <a:schemeClr val="tx1"/>
          </a:solidFill>
          <a:ln w="3175" cap="flat" cmpd="sng" algn="ctr">
            <a:solidFill>
              <a:schemeClr val="bg1"/>
            </a:solidFill>
            <a:prstDash val="solid"/>
          </a:ln>
          <a:effectLst/>
        </p:spPr>
        <p:txBody>
          <a:bodyPr rtlCol="0" anchor="t"/>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white"/>
                </a:solidFill>
                <a:effectLst/>
                <a:uLnTx/>
                <a:uFillTx/>
                <a:latin typeface="Arial"/>
                <a:ea typeface="+mn-ea"/>
                <a:cs typeface="+mn-cs"/>
              </a:rPr>
              <a:t>Baseline CO</a:t>
            </a:r>
            <a:r>
              <a:rPr kumimoji="0" lang="en-US" sz="900" b="1" i="0" u="none" strike="noStrike" kern="0" cap="none" spc="0" normalizeH="0" baseline="-25000" noProof="0">
                <a:ln>
                  <a:noFill/>
                </a:ln>
                <a:solidFill>
                  <a:prstClr val="white"/>
                </a:solidFill>
                <a:effectLst/>
                <a:uLnTx/>
                <a:uFillTx/>
                <a:latin typeface="Arial"/>
                <a:ea typeface="+mn-ea"/>
                <a:cs typeface="+mn-cs"/>
              </a:rPr>
              <a:t>2</a:t>
            </a:r>
          </a:p>
        </p:txBody>
      </p:sp>
      <p:cxnSp>
        <p:nvCxnSpPr>
          <p:cNvPr id="118" name="Straight Connector 117">
            <a:extLst>
              <a:ext uri="{FF2B5EF4-FFF2-40B4-BE49-F238E27FC236}">
                <a16:creationId xmlns:a16="http://schemas.microsoft.com/office/drawing/2014/main" id="{2272445D-E55A-49FE-934D-1901567B7204}"/>
              </a:ext>
            </a:extLst>
          </p:cNvPr>
          <p:cNvCxnSpPr>
            <a:cxnSpLocks/>
            <a:stCxn id="120" idx="0"/>
          </p:cNvCxnSpPr>
          <p:nvPr/>
        </p:nvCxnSpPr>
        <p:spPr>
          <a:xfrm>
            <a:off x="2548337" y="1392733"/>
            <a:ext cx="518317" cy="0"/>
          </a:xfrm>
          <a:prstGeom prst="line">
            <a:avLst/>
          </a:prstGeom>
          <a:noFill/>
          <a:ln w="3175" cap="rnd" cmpd="sng" algn="ctr">
            <a:solidFill>
              <a:schemeClr val="bg1"/>
            </a:solidFill>
            <a:prstDash val="sysDash"/>
          </a:ln>
          <a:effectLst/>
        </p:spPr>
      </p:cxnSp>
      <p:grpSp>
        <p:nvGrpSpPr>
          <p:cNvPr id="119" name="Group 118">
            <a:extLst>
              <a:ext uri="{FF2B5EF4-FFF2-40B4-BE49-F238E27FC236}">
                <a16:creationId xmlns:a16="http://schemas.microsoft.com/office/drawing/2014/main" id="{36F886E9-7CFB-4D16-9C34-3E87E94383EC}"/>
              </a:ext>
            </a:extLst>
          </p:cNvPr>
          <p:cNvGrpSpPr/>
          <p:nvPr/>
        </p:nvGrpSpPr>
        <p:grpSpPr>
          <a:xfrm>
            <a:off x="1796988" y="1392733"/>
            <a:ext cx="845773" cy="617411"/>
            <a:chOff x="2721234" y="971965"/>
            <a:chExt cx="926383" cy="729679"/>
          </a:xfrm>
          <a:solidFill>
            <a:schemeClr val="accent2">
              <a:lumMod val="60000"/>
              <a:lumOff val="40000"/>
            </a:schemeClr>
          </a:solidFill>
        </p:grpSpPr>
        <p:sp>
          <p:nvSpPr>
            <p:cNvPr id="120" name="Right Triangle 119">
              <a:extLst>
                <a:ext uri="{FF2B5EF4-FFF2-40B4-BE49-F238E27FC236}">
                  <a16:creationId xmlns:a16="http://schemas.microsoft.com/office/drawing/2014/main" id="{62953CB6-B3F9-4BC4-99CF-165B94F4E919}"/>
                </a:ext>
              </a:extLst>
            </p:cNvPr>
            <p:cNvSpPr/>
            <p:nvPr/>
          </p:nvSpPr>
          <p:spPr>
            <a:xfrm flipH="1">
              <a:off x="2721234" y="971965"/>
              <a:ext cx="822960" cy="729679"/>
            </a:xfrm>
            <a:prstGeom prst="rtTriangle">
              <a:avLst/>
            </a:prstGeom>
            <a:solidFill>
              <a:schemeClr val="tx1"/>
            </a:solidFill>
            <a:ln w="3175" cap="flat" cmpd="sng" algn="ctr">
              <a:solidFill>
                <a:schemeClr val="bg1"/>
              </a:solidFill>
              <a:prstDash val="solid"/>
            </a:ln>
            <a:effectLst/>
          </p:spPr>
          <p:txBody>
            <a:bodyPr rtlCol="0" anchor="t"/>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srgbClr val="626469"/>
                </a:solidFill>
                <a:effectLst/>
                <a:uLnTx/>
                <a:uFillTx/>
                <a:latin typeface="Arial"/>
                <a:ea typeface="+mn-ea"/>
                <a:cs typeface="+mn-cs"/>
              </a:endParaRPr>
            </a:p>
          </p:txBody>
        </p:sp>
        <p:sp>
          <p:nvSpPr>
            <p:cNvPr id="121" name="Rectangle 120">
              <a:extLst>
                <a:ext uri="{FF2B5EF4-FFF2-40B4-BE49-F238E27FC236}">
                  <a16:creationId xmlns:a16="http://schemas.microsoft.com/office/drawing/2014/main" id="{20E1FEDD-254C-40D2-AB26-26E7ACA80636}"/>
                </a:ext>
              </a:extLst>
            </p:cNvPr>
            <p:cNvSpPr/>
            <p:nvPr/>
          </p:nvSpPr>
          <p:spPr>
            <a:xfrm rot="19147296">
              <a:off x="2867447" y="1233022"/>
              <a:ext cx="780170" cy="436490"/>
            </a:xfrm>
            <a:prstGeom prst="rect">
              <a:avLst/>
            </a:prstGeom>
            <a:noFill/>
          </p:spPr>
          <p:txBody>
            <a:bodyPr wrap="squar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white"/>
                  </a:solidFill>
                  <a:effectLst/>
                  <a:uLnTx/>
                  <a:uFillTx/>
                  <a:latin typeface="Arial"/>
                  <a:ea typeface="+mn-ea"/>
                  <a:cs typeface="+mn-cs"/>
                </a:rPr>
                <a:t>Business Growth</a:t>
              </a:r>
            </a:p>
          </p:txBody>
        </p:sp>
      </p:grpSp>
      <p:grpSp>
        <p:nvGrpSpPr>
          <p:cNvPr id="124" name="Group 123">
            <a:extLst>
              <a:ext uri="{FF2B5EF4-FFF2-40B4-BE49-F238E27FC236}">
                <a16:creationId xmlns:a16="http://schemas.microsoft.com/office/drawing/2014/main" id="{00207E15-70C7-461C-8BC2-9CB7655B58FE}"/>
              </a:ext>
            </a:extLst>
          </p:cNvPr>
          <p:cNvGrpSpPr/>
          <p:nvPr/>
        </p:nvGrpSpPr>
        <p:grpSpPr>
          <a:xfrm>
            <a:off x="3695621" y="2325666"/>
            <a:ext cx="1002154" cy="905563"/>
            <a:chOff x="6859479" y="2365211"/>
            <a:chExt cx="1002154" cy="905563"/>
          </a:xfrm>
        </p:grpSpPr>
        <p:cxnSp>
          <p:nvCxnSpPr>
            <p:cNvPr id="133" name="Straight Connector 132">
              <a:extLst>
                <a:ext uri="{FF2B5EF4-FFF2-40B4-BE49-F238E27FC236}">
                  <a16:creationId xmlns:a16="http://schemas.microsoft.com/office/drawing/2014/main" id="{9389283C-6869-4199-A5E4-C5ACF77F9EF9}"/>
                </a:ext>
              </a:extLst>
            </p:cNvPr>
            <p:cNvCxnSpPr>
              <a:cxnSpLocks/>
            </p:cNvCxnSpPr>
            <p:nvPr/>
          </p:nvCxnSpPr>
          <p:spPr>
            <a:xfrm flipV="1">
              <a:off x="7598918" y="3269843"/>
              <a:ext cx="262715" cy="1"/>
            </a:xfrm>
            <a:prstGeom prst="line">
              <a:avLst/>
            </a:prstGeom>
            <a:noFill/>
            <a:ln w="3175" cap="rnd" cmpd="sng" algn="ctr">
              <a:solidFill>
                <a:srgbClr val="626469"/>
              </a:solidFill>
              <a:prstDash val="sysDash"/>
            </a:ln>
            <a:effectLst/>
          </p:spPr>
        </p:cxnSp>
        <p:sp>
          <p:nvSpPr>
            <p:cNvPr id="134" name="Rectangle 133">
              <a:extLst>
                <a:ext uri="{FF2B5EF4-FFF2-40B4-BE49-F238E27FC236}">
                  <a16:creationId xmlns:a16="http://schemas.microsoft.com/office/drawing/2014/main" id="{8982F861-D853-4B96-8E78-58CDE16D4E03}"/>
                </a:ext>
              </a:extLst>
            </p:cNvPr>
            <p:cNvSpPr/>
            <p:nvPr/>
          </p:nvSpPr>
          <p:spPr>
            <a:xfrm>
              <a:off x="6859479" y="2365211"/>
              <a:ext cx="832399" cy="905563"/>
            </a:xfrm>
            <a:prstGeom prst="rect">
              <a:avLst/>
            </a:prstGeom>
            <a:solidFill>
              <a:srgbClr val="3DCD58"/>
            </a:solidFill>
            <a:ln w="3175" cap="flat" cmpd="sng" algn="ctr">
              <a:solidFill>
                <a:sysClr val="window" lastClr="FFFFFF"/>
              </a:solidFill>
              <a:prstDash val="solid"/>
            </a:ln>
            <a:effectLst/>
          </p:spPr>
          <p:txBody>
            <a:bodyPr rtlCol="0" anchor="t"/>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white"/>
                  </a:solidFill>
                  <a:effectLst/>
                  <a:uLnTx/>
                  <a:uFillTx/>
                  <a:latin typeface="Arial"/>
                  <a:ea typeface="+mn-ea"/>
                  <a:cs typeface="+mn-cs"/>
                </a:rPr>
                <a:t>Renewable Energy</a:t>
              </a:r>
              <a:endParaRPr kumimoji="0" lang="en-US" sz="900" b="1" i="0" u="none" strike="noStrike" kern="0" cap="none" spc="0" normalizeH="0" baseline="30000" noProof="0">
                <a:ln>
                  <a:noFill/>
                </a:ln>
                <a:solidFill>
                  <a:prstClr val="white"/>
                </a:solidFill>
                <a:effectLst/>
                <a:uLnTx/>
                <a:uFillTx/>
                <a:latin typeface="Arial"/>
                <a:ea typeface="+mn-ea"/>
                <a:cs typeface="+mn-cs"/>
              </a:endParaRPr>
            </a:p>
          </p:txBody>
        </p:sp>
        <p:sp>
          <p:nvSpPr>
            <p:cNvPr id="135" name="Freeform 9">
              <a:extLst>
                <a:ext uri="{FF2B5EF4-FFF2-40B4-BE49-F238E27FC236}">
                  <a16:creationId xmlns:a16="http://schemas.microsoft.com/office/drawing/2014/main" id="{B9CBD651-2B3C-4FC3-BCD3-7A5980EC2E9F}"/>
                </a:ext>
              </a:extLst>
            </p:cNvPr>
            <p:cNvSpPr>
              <a:spLocks/>
            </p:cNvSpPr>
            <p:nvPr/>
          </p:nvSpPr>
          <p:spPr bwMode="auto">
            <a:xfrm>
              <a:off x="7149405" y="2697903"/>
              <a:ext cx="274319" cy="274321"/>
            </a:xfrm>
            <a:custGeom>
              <a:avLst/>
              <a:gdLst>
                <a:gd name="T0" fmla="*/ 7 w 372"/>
                <a:gd name="T1" fmla="*/ 174 h 373"/>
                <a:gd name="T2" fmla="*/ 199 w 372"/>
                <a:gd name="T3" fmla="*/ 8 h 373"/>
                <a:gd name="T4" fmla="*/ 365 w 372"/>
                <a:gd name="T5" fmla="*/ 200 h 373"/>
                <a:gd name="T6" fmla="*/ 173 w 372"/>
                <a:gd name="T7" fmla="*/ 366 h 373"/>
                <a:gd name="T8" fmla="*/ 7 w 372"/>
                <a:gd name="T9" fmla="*/ 174 h 373"/>
              </a:gdLst>
              <a:ahLst/>
              <a:cxnLst>
                <a:cxn ang="0">
                  <a:pos x="T0" y="T1"/>
                </a:cxn>
                <a:cxn ang="0">
                  <a:pos x="T2" y="T3"/>
                </a:cxn>
                <a:cxn ang="0">
                  <a:pos x="T4" y="T5"/>
                </a:cxn>
                <a:cxn ang="0">
                  <a:pos x="T6" y="T7"/>
                </a:cxn>
                <a:cxn ang="0">
                  <a:pos x="T8" y="T9"/>
                </a:cxn>
              </a:cxnLst>
              <a:rect l="0" t="0" r="r" b="b"/>
              <a:pathLst>
                <a:path w="372" h="373">
                  <a:moveTo>
                    <a:pt x="7" y="174"/>
                  </a:moveTo>
                  <a:cubicBezTo>
                    <a:pt x="14" y="75"/>
                    <a:pt x="100" y="0"/>
                    <a:pt x="199" y="8"/>
                  </a:cubicBezTo>
                  <a:cubicBezTo>
                    <a:pt x="298" y="15"/>
                    <a:pt x="372" y="101"/>
                    <a:pt x="365" y="200"/>
                  </a:cubicBezTo>
                  <a:cubicBezTo>
                    <a:pt x="358" y="299"/>
                    <a:pt x="272" y="373"/>
                    <a:pt x="173" y="366"/>
                  </a:cubicBezTo>
                  <a:cubicBezTo>
                    <a:pt x="74" y="359"/>
                    <a:pt x="0" y="273"/>
                    <a:pt x="7" y="174"/>
                  </a:cubicBezTo>
                  <a:close/>
                </a:path>
              </a:pathLst>
            </a:custGeom>
            <a:noFill/>
            <a:ln w="6350" cap="flat">
              <a:solidFill>
                <a:sysClr val="window" lastClr="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26469"/>
                </a:solidFill>
                <a:effectLst/>
                <a:uLnTx/>
                <a:uFillTx/>
                <a:latin typeface="Arial"/>
                <a:ea typeface="+mn-ea"/>
                <a:cs typeface="+mn-cs"/>
              </a:endParaRPr>
            </a:p>
          </p:txBody>
        </p:sp>
        <p:grpSp>
          <p:nvGrpSpPr>
            <p:cNvPr id="136" name="Group 23">
              <a:extLst>
                <a:ext uri="{FF2B5EF4-FFF2-40B4-BE49-F238E27FC236}">
                  <a16:creationId xmlns:a16="http://schemas.microsoft.com/office/drawing/2014/main" id="{5FD7F58B-8194-4BCD-8A16-E5529752A76C}"/>
                </a:ext>
              </a:extLst>
            </p:cNvPr>
            <p:cNvGrpSpPr>
              <a:grpSpLocks noChangeAspect="1"/>
            </p:cNvGrpSpPr>
            <p:nvPr/>
          </p:nvGrpSpPr>
          <p:grpSpPr bwMode="auto">
            <a:xfrm>
              <a:off x="7237461" y="2778166"/>
              <a:ext cx="95517" cy="125058"/>
              <a:chOff x="2621" y="2552"/>
              <a:chExt cx="252" cy="356"/>
            </a:xfrm>
          </p:grpSpPr>
          <p:sp>
            <p:nvSpPr>
              <p:cNvPr id="137" name="Freeform 24">
                <a:extLst>
                  <a:ext uri="{FF2B5EF4-FFF2-40B4-BE49-F238E27FC236}">
                    <a16:creationId xmlns:a16="http://schemas.microsoft.com/office/drawing/2014/main" id="{AD6083E0-6DF5-4EE4-8C76-DB2BB941C8FF}"/>
                  </a:ext>
                </a:extLst>
              </p:cNvPr>
              <p:cNvSpPr>
                <a:spLocks/>
              </p:cNvSpPr>
              <p:nvPr/>
            </p:nvSpPr>
            <p:spPr bwMode="auto">
              <a:xfrm>
                <a:off x="2635" y="2552"/>
                <a:ext cx="238" cy="356"/>
              </a:xfrm>
              <a:custGeom>
                <a:avLst/>
                <a:gdLst>
                  <a:gd name="T0" fmla="*/ 133 w 330"/>
                  <a:gd name="T1" fmla="*/ 495 h 495"/>
                  <a:gd name="T2" fmla="*/ 148 w 330"/>
                  <a:gd name="T3" fmla="*/ 229 h 495"/>
                  <a:gd name="T4" fmla="*/ 11 w 330"/>
                  <a:gd name="T5" fmla="*/ 283 h 495"/>
                  <a:gd name="T6" fmla="*/ 5 w 330"/>
                  <a:gd name="T7" fmla="*/ 273 h 495"/>
                  <a:gd name="T8" fmla="*/ 135 w 330"/>
                  <a:gd name="T9" fmla="*/ 170 h 495"/>
                  <a:gd name="T10" fmla="*/ 159 w 330"/>
                  <a:gd name="T11" fmla="*/ 6 h 495"/>
                  <a:gd name="T12" fmla="*/ 170 w 330"/>
                  <a:gd name="T13" fmla="*/ 6 h 495"/>
                  <a:gd name="T14" fmla="*/ 195 w 330"/>
                  <a:gd name="T15" fmla="*/ 170 h 495"/>
                  <a:gd name="T16" fmla="*/ 325 w 330"/>
                  <a:gd name="T17" fmla="*/ 273 h 495"/>
                  <a:gd name="T18" fmla="*/ 319 w 330"/>
                  <a:gd name="T19" fmla="*/ 283 h 495"/>
                  <a:gd name="T20" fmla="*/ 182 w 330"/>
                  <a:gd name="T21" fmla="*/ 229 h 495"/>
                  <a:gd name="T22" fmla="*/ 197 w 330"/>
                  <a:gd name="T23" fmla="*/ 495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0" h="495">
                    <a:moveTo>
                      <a:pt x="133" y="495"/>
                    </a:moveTo>
                    <a:cubicBezTo>
                      <a:pt x="148" y="229"/>
                      <a:pt x="148" y="229"/>
                      <a:pt x="148" y="229"/>
                    </a:cubicBezTo>
                    <a:cubicBezTo>
                      <a:pt x="11" y="283"/>
                      <a:pt x="11" y="283"/>
                      <a:pt x="11" y="283"/>
                    </a:cubicBezTo>
                    <a:cubicBezTo>
                      <a:pt x="5" y="285"/>
                      <a:pt x="0" y="277"/>
                      <a:pt x="5" y="273"/>
                    </a:cubicBezTo>
                    <a:cubicBezTo>
                      <a:pt x="135" y="170"/>
                      <a:pt x="135" y="170"/>
                      <a:pt x="135" y="170"/>
                    </a:cubicBezTo>
                    <a:cubicBezTo>
                      <a:pt x="159" y="6"/>
                      <a:pt x="159" y="6"/>
                      <a:pt x="159" y="6"/>
                    </a:cubicBezTo>
                    <a:cubicBezTo>
                      <a:pt x="160" y="0"/>
                      <a:pt x="170" y="0"/>
                      <a:pt x="170" y="6"/>
                    </a:cubicBezTo>
                    <a:cubicBezTo>
                      <a:pt x="195" y="170"/>
                      <a:pt x="195" y="170"/>
                      <a:pt x="195" y="170"/>
                    </a:cubicBezTo>
                    <a:cubicBezTo>
                      <a:pt x="325" y="273"/>
                      <a:pt x="325" y="273"/>
                      <a:pt x="325" y="273"/>
                    </a:cubicBezTo>
                    <a:cubicBezTo>
                      <a:pt x="330" y="277"/>
                      <a:pt x="325" y="285"/>
                      <a:pt x="319" y="283"/>
                    </a:cubicBezTo>
                    <a:cubicBezTo>
                      <a:pt x="182" y="229"/>
                      <a:pt x="182" y="229"/>
                      <a:pt x="182" y="229"/>
                    </a:cubicBezTo>
                    <a:cubicBezTo>
                      <a:pt x="197" y="495"/>
                      <a:pt x="197" y="495"/>
                      <a:pt x="197" y="495"/>
                    </a:cubicBezTo>
                  </a:path>
                </a:pathLst>
              </a:custGeom>
              <a:noFill/>
              <a:ln w="6350" cap="rnd">
                <a:solidFill>
                  <a:sysClr val="window" lastClr="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26469"/>
                  </a:solidFill>
                  <a:effectLst/>
                  <a:uLnTx/>
                  <a:uFillTx/>
                  <a:latin typeface="Arial"/>
                  <a:ea typeface="+mn-ea"/>
                  <a:cs typeface="+mn-cs"/>
                </a:endParaRPr>
              </a:p>
            </p:txBody>
          </p:sp>
          <p:sp>
            <p:nvSpPr>
              <p:cNvPr id="138" name="Freeform 25">
                <a:extLst>
                  <a:ext uri="{FF2B5EF4-FFF2-40B4-BE49-F238E27FC236}">
                    <a16:creationId xmlns:a16="http://schemas.microsoft.com/office/drawing/2014/main" id="{3B653573-B198-4465-B685-BEDF8EA35B20}"/>
                  </a:ext>
                </a:extLst>
              </p:cNvPr>
              <p:cNvSpPr>
                <a:spLocks noEditPoints="1"/>
              </p:cNvSpPr>
              <p:nvPr/>
            </p:nvSpPr>
            <p:spPr bwMode="auto">
              <a:xfrm>
                <a:off x="2621" y="2558"/>
                <a:ext cx="250" cy="260"/>
              </a:xfrm>
              <a:custGeom>
                <a:avLst/>
                <a:gdLst>
                  <a:gd name="T0" fmla="*/ 270 w 347"/>
                  <a:gd name="T1" fmla="*/ 277 h 362"/>
                  <a:gd name="T2" fmla="*/ 243 w 347"/>
                  <a:gd name="T3" fmla="*/ 296 h 362"/>
                  <a:gd name="T4" fmla="*/ 135 w 347"/>
                  <a:gd name="T5" fmla="*/ 299 h 362"/>
                  <a:gd name="T6" fmla="*/ 100 w 347"/>
                  <a:gd name="T7" fmla="*/ 277 h 362"/>
                  <a:gd name="T8" fmla="*/ 60 w 347"/>
                  <a:gd name="T9" fmla="*/ 168 h 362"/>
                  <a:gd name="T10" fmla="*/ 119 w 347"/>
                  <a:gd name="T11" fmla="*/ 77 h 362"/>
                  <a:gd name="T12" fmla="*/ 243 w 347"/>
                  <a:gd name="T13" fmla="*/ 73 h 362"/>
                  <a:gd name="T14" fmla="*/ 310 w 347"/>
                  <a:gd name="T15" fmla="*/ 184 h 362"/>
                  <a:gd name="T16" fmla="*/ 185 w 347"/>
                  <a:gd name="T17" fmla="*/ 0 h 362"/>
                  <a:gd name="T18" fmla="*/ 308 w 347"/>
                  <a:gd name="T19" fmla="*/ 47 h 362"/>
                  <a:gd name="T20" fmla="*/ 335 w 347"/>
                  <a:gd name="T21" fmla="*/ 77 h 362"/>
                  <a:gd name="T22" fmla="*/ 347 w 347"/>
                  <a:gd name="T23" fmla="*/ 96 h 362"/>
                  <a:gd name="T24" fmla="*/ 344 w 347"/>
                  <a:gd name="T25" fmla="*/ 277 h 362"/>
                  <a:gd name="T26" fmla="*/ 300 w 347"/>
                  <a:gd name="T27" fmla="*/ 328 h 362"/>
                  <a:gd name="T28" fmla="*/ 270 w 347"/>
                  <a:gd name="T29" fmla="*/ 348 h 362"/>
                  <a:gd name="T30" fmla="*/ 235 w 347"/>
                  <a:gd name="T31" fmla="*/ 362 h 362"/>
                  <a:gd name="T32" fmla="*/ 20 w 347"/>
                  <a:gd name="T33" fmla="*/ 268 h 362"/>
                  <a:gd name="T34" fmla="*/ 0 w 347"/>
                  <a:gd name="T35" fmla="*/ 184 h 362"/>
                  <a:gd name="T36" fmla="*/ 4 w 347"/>
                  <a:gd name="T37" fmla="*/ 147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362">
                    <a:moveTo>
                      <a:pt x="270" y="277"/>
                    </a:moveTo>
                    <a:cubicBezTo>
                      <a:pt x="261" y="284"/>
                      <a:pt x="252" y="290"/>
                      <a:pt x="243" y="296"/>
                    </a:cubicBezTo>
                    <a:moveTo>
                      <a:pt x="135" y="299"/>
                    </a:moveTo>
                    <a:cubicBezTo>
                      <a:pt x="122" y="294"/>
                      <a:pt x="110" y="286"/>
                      <a:pt x="100" y="277"/>
                    </a:cubicBezTo>
                    <a:moveTo>
                      <a:pt x="60" y="168"/>
                    </a:moveTo>
                    <a:cubicBezTo>
                      <a:pt x="65" y="130"/>
                      <a:pt x="88" y="97"/>
                      <a:pt x="119" y="77"/>
                    </a:cubicBezTo>
                    <a:moveTo>
                      <a:pt x="243" y="73"/>
                    </a:moveTo>
                    <a:cubicBezTo>
                      <a:pt x="283" y="94"/>
                      <a:pt x="310" y="136"/>
                      <a:pt x="310" y="184"/>
                    </a:cubicBezTo>
                    <a:moveTo>
                      <a:pt x="185" y="0"/>
                    </a:moveTo>
                    <a:cubicBezTo>
                      <a:pt x="232" y="0"/>
                      <a:pt x="276" y="18"/>
                      <a:pt x="308" y="47"/>
                    </a:cubicBezTo>
                    <a:moveTo>
                      <a:pt x="335" y="77"/>
                    </a:moveTo>
                    <a:cubicBezTo>
                      <a:pt x="339" y="83"/>
                      <a:pt x="343" y="89"/>
                      <a:pt x="347" y="96"/>
                    </a:cubicBezTo>
                    <a:moveTo>
                      <a:pt x="344" y="277"/>
                    </a:moveTo>
                    <a:cubicBezTo>
                      <a:pt x="333" y="296"/>
                      <a:pt x="318" y="314"/>
                      <a:pt x="300" y="328"/>
                    </a:cubicBezTo>
                    <a:moveTo>
                      <a:pt x="270" y="348"/>
                    </a:moveTo>
                    <a:cubicBezTo>
                      <a:pt x="259" y="354"/>
                      <a:pt x="247" y="358"/>
                      <a:pt x="235" y="362"/>
                    </a:cubicBezTo>
                    <a:moveTo>
                      <a:pt x="20" y="268"/>
                    </a:moveTo>
                    <a:cubicBezTo>
                      <a:pt x="8" y="243"/>
                      <a:pt x="0" y="214"/>
                      <a:pt x="0" y="184"/>
                    </a:cubicBezTo>
                    <a:cubicBezTo>
                      <a:pt x="0" y="171"/>
                      <a:pt x="2" y="159"/>
                      <a:pt x="4" y="147"/>
                    </a:cubicBezTo>
                  </a:path>
                </a:pathLst>
              </a:custGeom>
              <a:noFill/>
              <a:ln w="6350" cap="rnd">
                <a:solidFill>
                  <a:sysClr val="window" lastClr="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26469"/>
                  </a:solidFill>
                  <a:effectLst/>
                  <a:uLnTx/>
                  <a:uFillTx/>
                  <a:latin typeface="Arial"/>
                  <a:ea typeface="+mn-ea"/>
                  <a:cs typeface="+mn-cs"/>
                </a:endParaRPr>
              </a:p>
            </p:txBody>
          </p:sp>
        </p:grpSp>
      </p:grpSp>
      <p:grpSp>
        <p:nvGrpSpPr>
          <p:cNvPr id="139" name="Group 138">
            <a:extLst>
              <a:ext uri="{FF2B5EF4-FFF2-40B4-BE49-F238E27FC236}">
                <a16:creationId xmlns:a16="http://schemas.microsoft.com/office/drawing/2014/main" id="{86D60DA2-61BC-48AD-B5A0-0B17116C7BC6}"/>
              </a:ext>
            </a:extLst>
          </p:cNvPr>
          <p:cNvGrpSpPr/>
          <p:nvPr/>
        </p:nvGrpSpPr>
        <p:grpSpPr>
          <a:xfrm>
            <a:off x="2858838" y="1389381"/>
            <a:ext cx="831111" cy="934652"/>
            <a:chOff x="7784424" y="3269843"/>
            <a:chExt cx="831111" cy="903819"/>
          </a:xfrm>
        </p:grpSpPr>
        <p:sp>
          <p:nvSpPr>
            <p:cNvPr id="140" name="Rectangle 139">
              <a:extLst>
                <a:ext uri="{FF2B5EF4-FFF2-40B4-BE49-F238E27FC236}">
                  <a16:creationId xmlns:a16="http://schemas.microsoft.com/office/drawing/2014/main" id="{CE749E85-22E7-48BF-91CF-7CB79B3A9A85}"/>
                </a:ext>
              </a:extLst>
            </p:cNvPr>
            <p:cNvSpPr/>
            <p:nvPr/>
          </p:nvSpPr>
          <p:spPr>
            <a:xfrm>
              <a:off x="7784424" y="3269843"/>
              <a:ext cx="831111" cy="903819"/>
            </a:xfrm>
            <a:prstGeom prst="rect">
              <a:avLst/>
            </a:prstGeom>
            <a:solidFill>
              <a:srgbClr val="42B4E6"/>
            </a:solidFill>
            <a:ln w="3175" cap="flat" cmpd="sng" algn="ctr">
              <a:solidFill>
                <a:sysClr val="window" lastClr="FFFFFF"/>
              </a:solidFill>
              <a:prstDash val="solid"/>
            </a:ln>
            <a:effectLst/>
          </p:spPr>
          <p:txBody>
            <a:bodyPr rtlCol="0" anchor="t"/>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white"/>
                  </a:solidFill>
                  <a:effectLst/>
                  <a:uLnTx/>
                  <a:uFillTx/>
                  <a:latin typeface="Arial"/>
                  <a:ea typeface="+mn-ea"/>
                  <a:cs typeface="+mn-cs"/>
                </a:rPr>
                <a:t>Resource Efficiency</a:t>
              </a:r>
            </a:p>
          </p:txBody>
        </p:sp>
        <p:sp>
          <p:nvSpPr>
            <p:cNvPr id="141" name="Freeform 20">
              <a:extLst>
                <a:ext uri="{FF2B5EF4-FFF2-40B4-BE49-F238E27FC236}">
                  <a16:creationId xmlns:a16="http://schemas.microsoft.com/office/drawing/2014/main" id="{022CBA04-69D5-40F8-8C2B-A497D4AB4D21}"/>
                </a:ext>
              </a:extLst>
            </p:cNvPr>
            <p:cNvSpPr>
              <a:spLocks noEditPoints="1"/>
            </p:cNvSpPr>
            <p:nvPr/>
          </p:nvSpPr>
          <p:spPr bwMode="auto">
            <a:xfrm>
              <a:off x="8139450" y="3692045"/>
              <a:ext cx="124283" cy="115185"/>
            </a:xfrm>
            <a:custGeom>
              <a:avLst/>
              <a:gdLst>
                <a:gd name="T0" fmla="*/ 307 w 307"/>
                <a:gd name="T1" fmla="*/ 132 h 307"/>
                <a:gd name="T2" fmla="*/ 307 w 307"/>
                <a:gd name="T3" fmla="*/ 176 h 307"/>
                <a:gd name="T4" fmla="*/ 269 w 307"/>
                <a:gd name="T5" fmla="*/ 183 h 307"/>
                <a:gd name="T6" fmla="*/ 268 w 307"/>
                <a:gd name="T7" fmla="*/ 183 h 307"/>
                <a:gd name="T8" fmla="*/ 255 w 307"/>
                <a:gd name="T9" fmla="*/ 214 h 307"/>
                <a:gd name="T10" fmla="*/ 256 w 307"/>
                <a:gd name="T11" fmla="*/ 215 h 307"/>
                <a:gd name="T12" fmla="*/ 278 w 307"/>
                <a:gd name="T13" fmla="*/ 247 h 307"/>
                <a:gd name="T14" fmla="*/ 246 w 307"/>
                <a:gd name="T15" fmla="*/ 278 h 307"/>
                <a:gd name="T16" fmla="*/ 214 w 307"/>
                <a:gd name="T17" fmla="*/ 257 h 307"/>
                <a:gd name="T18" fmla="*/ 213 w 307"/>
                <a:gd name="T19" fmla="*/ 256 h 307"/>
                <a:gd name="T20" fmla="*/ 183 w 307"/>
                <a:gd name="T21" fmla="*/ 268 h 307"/>
                <a:gd name="T22" fmla="*/ 183 w 307"/>
                <a:gd name="T23" fmla="*/ 270 h 307"/>
                <a:gd name="T24" fmla="*/ 176 w 307"/>
                <a:gd name="T25" fmla="*/ 307 h 307"/>
                <a:gd name="T26" fmla="*/ 153 w 307"/>
                <a:gd name="T27" fmla="*/ 307 h 307"/>
                <a:gd name="T28" fmla="*/ 131 w 307"/>
                <a:gd name="T29" fmla="*/ 307 h 307"/>
                <a:gd name="T30" fmla="*/ 124 w 307"/>
                <a:gd name="T31" fmla="*/ 270 h 307"/>
                <a:gd name="T32" fmla="*/ 124 w 307"/>
                <a:gd name="T33" fmla="*/ 268 h 307"/>
                <a:gd name="T34" fmla="*/ 93 w 307"/>
                <a:gd name="T35" fmla="*/ 256 h 307"/>
                <a:gd name="T36" fmla="*/ 92 w 307"/>
                <a:gd name="T37" fmla="*/ 257 h 307"/>
                <a:gd name="T38" fmla="*/ 60 w 307"/>
                <a:gd name="T39" fmla="*/ 278 h 307"/>
                <a:gd name="T40" fmla="*/ 29 w 307"/>
                <a:gd name="T41" fmla="*/ 247 h 307"/>
                <a:gd name="T42" fmla="*/ 51 w 307"/>
                <a:gd name="T43" fmla="*/ 215 h 307"/>
                <a:gd name="T44" fmla="*/ 52 w 307"/>
                <a:gd name="T45" fmla="*/ 214 h 307"/>
                <a:gd name="T46" fmla="*/ 39 w 307"/>
                <a:gd name="T47" fmla="*/ 183 h 307"/>
                <a:gd name="T48" fmla="*/ 35 w 307"/>
                <a:gd name="T49" fmla="*/ 183 h 307"/>
                <a:gd name="T50" fmla="*/ 0 w 307"/>
                <a:gd name="T51" fmla="*/ 176 h 307"/>
                <a:gd name="T52" fmla="*/ 0 w 307"/>
                <a:gd name="T53" fmla="*/ 132 h 307"/>
                <a:gd name="T54" fmla="*/ 35 w 307"/>
                <a:gd name="T55" fmla="*/ 124 h 307"/>
                <a:gd name="T56" fmla="*/ 39 w 307"/>
                <a:gd name="T57" fmla="*/ 124 h 307"/>
                <a:gd name="T58" fmla="*/ 52 w 307"/>
                <a:gd name="T59" fmla="*/ 94 h 307"/>
                <a:gd name="T60" fmla="*/ 49 w 307"/>
                <a:gd name="T61" fmla="*/ 91 h 307"/>
                <a:gd name="T62" fmla="*/ 29 w 307"/>
                <a:gd name="T63" fmla="*/ 61 h 307"/>
                <a:gd name="T64" fmla="*/ 60 w 307"/>
                <a:gd name="T65" fmla="*/ 30 h 307"/>
                <a:gd name="T66" fmla="*/ 91 w 307"/>
                <a:gd name="T67" fmla="*/ 49 h 307"/>
                <a:gd name="T68" fmla="*/ 93 w 307"/>
                <a:gd name="T69" fmla="*/ 52 h 307"/>
                <a:gd name="T70" fmla="*/ 124 w 307"/>
                <a:gd name="T71" fmla="*/ 40 h 307"/>
                <a:gd name="T72" fmla="*/ 124 w 307"/>
                <a:gd name="T73" fmla="*/ 36 h 307"/>
                <a:gd name="T74" fmla="*/ 131 w 307"/>
                <a:gd name="T75" fmla="*/ 0 h 307"/>
                <a:gd name="T76" fmla="*/ 176 w 307"/>
                <a:gd name="T77" fmla="*/ 0 h 307"/>
                <a:gd name="T78" fmla="*/ 183 w 307"/>
                <a:gd name="T79" fmla="*/ 36 h 307"/>
                <a:gd name="T80" fmla="*/ 183 w 307"/>
                <a:gd name="T81" fmla="*/ 40 h 307"/>
                <a:gd name="T82" fmla="*/ 213 w 307"/>
                <a:gd name="T83" fmla="*/ 52 h 307"/>
                <a:gd name="T84" fmla="*/ 216 w 307"/>
                <a:gd name="T85" fmla="*/ 49 h 307"/>
                <a:gd name="T86" fmla="*/ 246 w 307"/>
                <a:gd name="T87" fmla="*/ 30 h 307"/>
                <a:gd name="T88" fmla="*/ 278 w 307"/>
                <a:gd name="T89" fmla="*/ 61 h 307"/>
                <a:gd name="T90" fmla="*/ 258 w 307"/>
                <a:gd name="T91" fmla="*/ 91 h 307"/>
                <a:gd name="T92" fmla="*/ 255 w 307"/>
                <a:gd name="T93" fmla="*/ 94 h 307"/>
                <a:gd name="T94" fmla="*/ 268 w 307"/>
                <a:gd name="T95" fmla="*/ 124 h 307"/>
                <a:gd name="T96" fmla="*/ 269 w 307"/>
                <a:gd name="T97" fmla="*/ 124 h 307"/>
                <a:gd name="T98" fmla="*/ 307 w 307"/>
                <a:gd name="T99" fmla="*/ 132 h 307"/>
                <a:gd name="T100" fmla="*/ 89 w 307"/>
                <a:gd name="T101" fmla="*/ 111 h 307"/>
                <a:gd name="T102" fmla="*/ 76 w 307"/>
                <a:gd name="T103" fmla="*/ 154 h 307"/>
                <a:gd name="T104" fmla="*/ 153 w 307"/>
                <a:gd name="T105" fmla="*/ 231 h 307"/>
                <a:gd name="T106" fmla="*/ 230 w 307"/>
                <a:gd name="T107" fmla="*/ 154 h 307"/>
                <a:gd name="T108" fmla="*/ 217 w 307"/>
                <a:gd name="T109" fmla="*/ 111 h 307"/>
                <a:gd name="T110" fmla="*/ 153 w 307"/>
                <a:gd name="T111" fmla="*/ 77 h 307"/>
                <a:gd name="T112" fmla="*/ 89 w 307"/>
                <a:gd name="T113" fmla="*/ 11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7" h="307">
                  <a:moveTo>
                    <a:pt x="307" y="132"/>
                  </a:moveTo>
                  <a:cubicBezTo>
                    <a:pt x="307" y="176"/>
                    <a:pt x="307" y="176"/>
                    <a:pt x="307" y="176"/>
                  </a:cubicBezTo>
                  <a:cubicBezTo>
                    <a:pt x="269" y="183"/>
                    <a:pt x="269" y="183"/>
                    <a:pt x="269" y="183"/>
                  </a:cubicBezTo>
                  <a:cubicBezTo>
                    <a:pt x="268" y="183"/>
                    <a:pt x="268" y="183"/>
                    <a:pt x="268" y="183"/>
                  </a:cubicBezTo>
                  <a:cubicBezTo>
                    <a:pt x="265" y="194"/>
                    <a:pt x="261" y="204"/>
                    <a:pt x="255" y="214"/>
                  </a:cubicBezTo>
                  <a:cubicBezTo>
                    <a:pt x="256" y="215"/>
                    <a:pt x="256" y="215"/>
                    <a:pt x="256" y="215"/>
                  </a:cubicBezTo>
                  <a:cubicBezTo>
                    <a:pt x="278" y="247"/>
                    <a:pt x="278" y="247"/>
                    <a:pt x="278" y="247"/>
                  </a:cubicBezTo>
                  <a:cubicBezTo>
                    <a:pt x="246" y="278"/>
                    <a:pt x="246" y="278"/>
                    <a:pt x="246" y="278"/>
                  </a:cubicBezTo>
                  <a:cubicBezTo>
                    <a:pt x="214" y="257"/>
                    <a:pt x="214" y="257"/>
                    <a:pt x="214" y="257"/>
                  </a:cubicBezTo>
                  <a:cubicBezTo>
                    <a:pt x="213" y="256"/>
                    <a:pt x="213" y="256"/>
                    <a:pt x="213" y="256"/>
                  </a:cubicBezTo>
                  <a:cubicBezTo>
                    <a:pt x="204" y="261"/>
                    <a:pt x="194" y="265"/>
                    <a:pt x="183" y="268"/>
                  </a:cubicBezTo>
                  <a:cubicBezTo>
                    <a:pt x="183" y="270"/>
                    <a:pt x="183" y="270"/>
                    <a:pt x="183" y="270"/>
                  </a:cubicBezTo>
                  <a:cubicBezTo>
                    <a:pt x="176" y="307"/>
                    <a:pt x="176" y="307"/>
                    <a:pt x="176" y="307"/>
                  </a:cubicBezTo>
                  <a:cubicBezTo>
                    <a:pt x="153" y="307"/>
                    <a:pt x="153" y="307"/>
                    <a:pt x="153" y="307"/>
                  </a:cubicBezTo>
                  <a:cubicBezTo>
                    <a:pt x="131" y="307"/>
                    <a:pt x="131" y="307"/>
                    <a:pt x="131" y="307"/>
                  </a:cubicBezTo>
                  <a:cubicBezTo>
                    <a:pt x="124" y="270"/>
                    <a:pt x="124" y="270"/>
                    <a:pt x="124" y="270"/>
                  </a:cubicBezTo>
                  <a:cubicBezTo>
                    <a:pt x="124" y="268"/>
                    <a:pt x="124" y="268"/>
                    <a:pt x="124" y="268"/>
                  </a:cubicBezTo>
                  <a:cubicBezTo>
                    <a:pt x="113" y="265"/>
                    <a:pt x="103" y="261"/>
                    <a:pt x="93" y="256"/>
                  </a:cubicBezTo>
                  <a:cubicBezTo>
                    <a:pt x="92" y="257"/>
                    <a:pt x="92" y="257"/>
                    <a:pt x="92" y="257"/>
                  </a:cubicBezTo>
                  <a:cubicBezTo>
                    <a:pt x="60" y="278"/>
                    <a:pt x="60" y="278"/>
                    <a:pt x="60" y="278"/>
                  </a:cubicBezTo>
                  <a:cubicBezTo>
                    <a:pt x="29" y="247"/>
                    <a:pt x="29" y="247"/>
                    <a:pt x="29" y="247"/>
                  </a:cubicBezTo>
                  <a:cubicBezTo>
                    <a:pt x="51" y="215"/>
                    <a:pt x="51" y="215"/>
                    <a:pt x="51" y="215"/>
                  </a:cubicBezTo>
                  <a:cubicBezTo>
                    <a:pt x="52" y="214"/>
                    <a:pt x="52" y="214"/>
                    <a:pt x="52" y="214"/>
                  </a:cubicBezTo>
                  <a:cubicBezTo>
                    <a:pt x="46" y="204"/>
                    <a:pt x="42" y="194"/>
                    <a:pt x="39" y="183"/>
                  </a:cubicBezTo>
                  <a:cubicBezTo>
                    <a:pt x="35" y="183"/>
                    <a:pt x="35" y="183"/>
                    <a:pt x="35" y="183"/>
                  </a:cubicBezTo>
                  <a:cubicBezTo>
                    <a:pt x="0" y="176"/>
                    <a:pt x="0" y="176"/>
                    <a:pt x="0" y="176"/>
                  </a:cubicBezTo>
                  <a:cubicBezTo>
                    <a:pt x="0" y="132"/>
                    <a:pt x="0" y="132"/>
                    <a:pt x="0" y="132"/>
                  </a:cubicBezTo>
                  <a:cubicBezTo>
                    <a:pt x="35" y="124"/>
                    <a:pt x="35" y="124"/>
                    <a:pt x="35" y="124"/>
                  </a:cubicBezTo>
                  <a:cubicBezTo>
                    <a:pt x="39" y="124"/>
                    <a:pt x="39" y="124"/>
                    <a:pt x="39" y="124"/>
                  </a:cubicBezTo>
                  <a:cubicBezTo>
                    <a:pt x="42" y="114"/>
                    <a:pt x="46" y="103"/>
                    <a:pt x="52" y="94"/>
                  </a:cubicBezTo>
                  <a:cubicBezTo>
                    <a:pt x="49" y="91"/>
                    <a:pt x="49" y="91"/>
                    <a:pt x="49" y="91"/>
                  </a:cubicBezTo>
                  <a:cubicBezTo>
                    <a:pt x="29" y="61"/>
                    <a:pt x="29" y="61"/>
                    <a:pt x="29" y="61"/>
                  </a:cubicBezTo>
                  <a:cubicBezTo>
                    <a:pt x="60" y="30"/>
                    <a:pt x="60" y="30"/>
                    <a:pt x="60" y="30"/>
                  </a:cubicBezTo>
                  <a:cubicBezTo>
                    <a:pt x="91" y="49"/>
                    <a:pt x="91" y="49"/>
                    <a:pt x="91" y="49"/>
                  </a:cubicBezTo>
                  <a:cubicBezTo>
                    <a:pt x="93" y="52"/>
                    <a:pt x="93" y="52"/>
                    <a:pt x="93" y="52"/>
                  </a:cubicBezTo>
                  <a:cubicBezTo>
                    <a:pt x="103" y="47"/>
                    <a:pt x="113" y="42"/>
                    <a:pt x="124" y="40"/>
                  </a:cubicBezTo>
                  <a:cubicBezTo>
                    <a:pt x="124" y="36"/>
                    <a:pt x="124" y="36"/>
                    <a:pt x="124" y="36"/>
                  </a:cubicBezTo>
                  <a:cubicBezTo>
                    <a:pt x="131" y="0"/>
                    <a:pt x="131" y="0"/>
                    <a:pt x="131" y="0"/>
                  </a:cubicBezTo>
                  <a:cubicBezTo>
                    <a:pt x="176" y="0"/>
                    <a:pt x="176" y="0"/>
                    <a:pt x="176" y="0"/>
                  </a:cubicBezTo>
                  <a:cubicBezTo>
                    <a:pt x="183" y="36"/>
                    <a:pt x="183" y="36"/>
                    <a:pt x="183" y="36"/>
                  </a:cubicBezTo>
                  <a:cubicBezTo>
                    <a:pt x="183" y="40"/>
                    <a:pt x="183" y="40"/>
                    <a:pt x="183" y="40"/>
                  </a:cubicBezTo>
                  <a:cubicBezTo>
                    <a:pt x="194" y="42"/>
                    <a:pt x="204" y="47"/>
                    <a:pt x="213" y="52"/>
                  </a:cubicBezTo>
                  <a:cubicBezTo>
                    <a:pt x="216" y="49"/>
                    <a:pt x="216" y="49"/>
                    <a:pt x="216" y="49"/>
                  </a:cubicBezTo>
                  <a:cubicBezTo>
                    <a:pt x="246" y="30"/>
                    <a:pt x="246" y="30"/>
                    <a:pt x="246" y="30"/>
                  </a:cubicBezTo>
                  <a:cubicBezTo>
                    <a:pt x="278" y="61"/>
                    <a:pt x="278" y="61"/>
                    <a:pt x="278" y="61"/>
                  </a:cubicBezTo>
                  <a:cubicBezTo>
                    <a:pt x="258" y="91"/>
                    <a:pt x="258" y="91"/>
                    <a:pt x="258" y="91"/>
                  </a:cubicBezTo>
                  <a:cubicBezTo>
                    <a:pt x="255" y="94"/>
                    <a:pt x="255" y="94"/>
                    <a:pt x="255" y="94"/>
                  </a:cubicBezTo>
                  <a:cubicBezTo>
                    <a:pt x="261" y="103"/>
                    <a:pt x="265" y="114"/>
                    <a:pt x="268" y="124"/>
                  </a:cubicBezTo>
                  <a:cubicBezTo>
                    <a:pt x="269" y="124"/>
                    <a:pt x="269" y="124"/>
                    <a:pt x="269" y="124"/>
                  </a:cubicBezTo>
                  <a:lnTo>
                    <a:pt x="307" y="132"/>
                  </a:lnTo>
                  <a:close/>
                  <a:moveTo>
                    <a:pt x="89" y="111"/>
                  </a:moveTo>
                  <a:cubicBezTo>
                    <a:pt x="81" y="123"/>
                    <a:pt x="76" y="138"/>
                    <a:pt x="76" y="154"/>
                  </a:cubicBezTo>
                  <a:cubicBezTo>
                    <a:pt x="76" y="196"/>
                    <a:pt x="111" y="231"/>
                    <a:pt x="153" y="231"/>
                  </a:cubicBezTo>
                  <a:cubicBezTo>
                    <a:pt x="196" y="231"/>
                    <a:pt x="230" y="196"/>
                    <a:pt x="230" y="154"/>
                  </a:cubicBezTo>
                  <a:cubicBezTo>
                    <a:pt x="230" y="138"/>
                    <a:pt x="225" y="123"/>
                    <a:pt x="217" y="111"/>
                  </a:cubicBezTo>
                  <a:cubicBezTo>
                    <a:pt x="203" y="90"/>
                    <a:pt x="180" y="77"/>
                    <a:pt x="153" y="77"/>
                  </a:cubicBezTo>
                  <a:cubicBezTo>
                    <a:pt x="127" y="77"/>
                    <a:pt x="103" y="91"/>
                    <a:pt x="89" y="111"/>
                  </a:cubicBezTo>
                </a:path>
              </a:pathLst>
            </a:custGeom>
            <a:noFill/>
            <a:ln w="9525" cap="rnd">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26469"/>
                </a:solidFill>
                <a:effectLst/>
                <a:uLnTx/>
                <a:uFillTx/>
                <a:latin typeface="Arial"/>
                <a:ea typeface="+mn-ea"/>
                <a:cs typeface="+mn-cs"/>
              </a:endParaRPr>
            </a:p>
          </p:txBody>
        </p:sp>
        <p:sp>
          <p:nvSpPr>
            <p:cNvPr id="142" name="Freeform 9">
              <a:extLst>
                <a:ext uri="{FF2B5EF4-FFF2-40B4-BE49-F238E27FC236}">
                  <a16:creationId xmlns:a16="http://schemas.microsoft.com/office/drawing/2014/main" id="{46AC3520-76A8-479D-846B-EE3A9D30DA9D}"/>
                </a:ext>
              </a:extLst>
            </p:cNvPr>
            <p:cNvSpPr>
              <a:spLocks/>
            </p:cNvSpPr>
            <p:nvPr/>
          </p:nvSpPr>
          <p:spPr bwMode="auto">
            <a:xfrm>
              <a:off x="8065777" y="3614728"/>
              <a:ext cx="274319" cy="274321"/>
            </a:xfrm>
            <a:custGeom>
              <a:avLst/>
              <a:gdLst>
                <a:gd name="T0" fmla="*/ 7 w 372"/>
                <a:gd name="T1" fmla="*/ 174 h 373"/>
                <a:gd name="T2" fmla="*/ 199 w 372"/>
                <a:gd name="T3" fmla="*/ 8 h 373"/>
                <a:gd name="T4" fmla="*/ 365 w 372"/>
                <a:gd name="T5" fmla="*/ 200 h 373"/>
                <a:gd name="T6" fmla="*/ 173 w 372"/>
                <a:gd name="T7" fmla="*/ 366 h 373"/>
                <a:gd name="T8" fmla="*/ 7 w 372"/>
                <a:gd name="T9" fmla="*/ 174 h 373"/>
              </a:gdLst>
              <a:ahLst/>
              <a:cxnLst>
                <a:cxn ang="0">
                  <a:pos x="T0" y="T1"/>
                </a:cxn>
                <a:cxn ang="0">
                  <a:pos x="T2" y="T3"/>
                </a:cxn>
                <a:cxn ang="0">
                  <a:pos x="T4" y="T5"/>
                </a:cxn>
                <a:cxn ang="0">
                  <a:pos x="T6" y="T7"/>
                </a:cxn>
                <a:cxn ang="0">
                  <a:pos x="T8" y="T9"/>
                </a:cxn>
              </a:cxnLst>
              <a:rect l="0" t="0" r="r" b="b"/>
              <a:pathLst>
                <a:path w="372" h="373">
                  <a:moveTo>
                    <a:pt x="7" y="174"/>
                  </a:moveTo>
                  <a:cubicBezTo>
                    <a:pt x="14" y="75"/>
                    <a:pt x="100" y="0"/>
                    <a:pt x="199" y="8"/>
                  </a:cubicBezTo>
                  <a:cubicBezTo>
                    <a:pt x="298" y="15"/>
                    <a:pt x="372" y="101"/>
                    <a:pt x="365" y="200"/>
                  </a:cubicBezTo>
                  <a:cubicBezTo>
                    <a:pt x="358" y="299"/>
                    <a:pt x="272" y="373"/>
                    <a:pt x="173" y="366"/>
                  </a:cubicBezTo>
                  <a:cubicBezTo>
                    <a:pt x="74" y="359"/>
                    <a:pt x="0" y="273"/>
                    <a:pt x="7" y="174"/>
                  </a:cubicBezTo>
                  <a:close/>
                </a:path>
              </a:pathLst>
            </a:custGeom>
            <a:noFill/>
            <a:ln w="9525" cap="flat">
              <a:solidFill>
                <a:sysClr val="window" lastClr="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26469"/>
                </a:solidFill>
                <a:effectLst/>
                <a:uLnTx/>
                <a:uFillTx/>
                <a:latin typeface="Arial"/>
                <a:ea typeface="+mn-ea"/>
                <a:cs typeface="+mn-cs"/>
              </a:endParaRPr>
            </a:p>
          </p:txBody>
        </p:sp>
      </p:grpSp>
      <p:grpSp>
        <p:nvGrpSpPr>
          <p:cNvPr id="143" name="Group 142">
            <a:extLst>
              <a:ext uri="{FF2B5EF4-FFF2-40B4-BE49-F238E27FC236}">
                <a16:creationId xmlns:a16="http://schemas.microsoft.com/office/drawing/2014/main" id="{AE9CE669-19D6-4159-9D91-456E5BE11240}"/>
              </a:ext>
            </a:extLst>
          </p:cNvPr>
          <p:cNvGrpSpPr/>
          <p:nvPr/>
        </p:nvGrpSpPr>
        <p:grpSpPr>
          <a:xfrm>
            <a:off x="4532198" y="3234588"/>
            <a:ext cx="831111" cy="726151"/>
            <a:chOff x="5935690" y="1470782"/>
            <a:chExt cx="831111" cy="726151"/>
          </a:xfrm>
        </p:grpSpPr>
        <p:sp>
          <p:nvSpPr>
            <p:cNvPr id="144" name="Rectangle 143">
              <a:extLst>
                <a:ext uri="{FF2B5EF4-FFF2-40B4-BE49-F238E27FC236}">
                  <a16:creationId xmlns:a16="http://schemas.microsoft.com/office/drawing/2014/main" id="{285EE7B2-8279-439C-B6CE-D2F4E30E7453}"/>
                </a:ext>
              </a:extLst>
            </p:cNvPr>
            <p:cNvSpPr/>
            <p:nvPr/>
          </p:nvSpPr>
          <p:spPr>
            <a:xfrm>
              <a:off x="5935690" y="1470782"/>
              <a:ext cx="831111" cy="726151"/>
            </a:xfrm>
            <a:prstGeom prst="rect">
              <a:avLst/>
            </a:prstGeom>
            <a:solidFill>
              <a:srgbClr val="3DCD58">
                <a:alpha val="60000"/>
              </a:srgbClr>
            </a:solidFill>
            <a:ln w="3175" cap="flat" cmpd="sng" algn="ctr">
              <a:solidFill>
                <a:sysClr val="window" lastClr="FFFFFF"/>
              </a:solidFill>
              <a:prstDash val="solid"/>
            </a:ln>
            <a:effectLst/>
          </p:spPr>
          <p:txBody>
            <a:bodyPr rtlCol="0" anchor="t"/>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white"/>
                  </a:solidFill>
                  <a:effectLst/>
                  <a:uLnTx/>
                  <a:uFillTx/>
                  <a:latin typeface="Arial"/>
                  <a:ea typeface="+mn-ea"/>
                  <a:cs typeface="+mn-cs"/>
                </a:rPr>
                <a:t>Credits + Offsets</a:t>
              </a:r>
            </a:p>
          </p:txBody>
        </p:sp>
        <p:sp>
          <p:nvSpPr>
            <p:cNvPr id="145" name="Freeform 9">
              <a:extLst>
                <a:ext uri="{FF2B5EF4-FFF2-40B4-BE49-F238E27FC236}">
                  <a16:creationId xmlns:a16="http://schemas.microsoft.com/office/drawing/2014/main" id="{8C79B464-53B3-4A61-A6CB-261436422C15}"/>
                </a:ext>
              </a:extLst>
            </p:cNvPr>
            <p:cNvSpPr>
              <a:spLocks/>
            </p:cNvSpPr>
            <p:nvPr/>
          </p:nvSpPr>
          <p:spPr bwMode="auto">
            <a:xfrm>
              <a:off x="6211706" y="1806417"/>
              <a:ext cx="274319" cy="274321"/>
            </a:xfrm>
            <a:custGeom>
              <a:avLst/>
              <a:gdLst>
                <a:gd name="T0" fmla="*/ 7 w 372"/>
                <a:gd name="T1" fmla="*/ 174 h 373"/>
                <a:gd name="T2" fmla="*/ 199 w 372"/>
                <a:gd name="T3" fmla="*/ 8 h 373"/>
                <a:gd name="T4" fmla="*/ 365 w 372"/>
                <a:gd name="T5" fmla="*/ 200 h 373"/>
                <a:gd name="T6" fmla="*/ 173 w 372"/>
                <a:gd name="T7" fmla="*/ 366 h 373"/>
                <a:gd name="T8" fmla="*/ 7 w 372"/>
                <a:gd name="T9" fmla="*/ 174 h 373"/>
              </a:gdLst>
              <a:ahLst/>
              <a:cxnLst>
                <a:cxn ang="0">
                  <a:pos x="T0" y="T1"/>
                </a:cxn>
                <a:cxn ang="0">
                  <a:pos x="T2" y="T3"/>
                </a:cxn>
                <a:cxn ang="0">
                  <a:pos x="T4" y="T5"/>
                </a:cxn>
                <a:cxn ang="0">
                  <a:pos x="T6" y="T7"/>
                </a:cxn>
                <a:cxn ang="0">
                  <a:pos x="T8" y="T9"/>
                </a:cxn>
              </a:cxnLst>
              <a:rect l="0" t="0" r="r" b="b"/>
              <a:pathLst>
                <a:path w="372" h="373">
                  <a:moveTo>
                    <a:pt x="7" y="174"/>
                  </a:moveTo>
                  <a:cubicBezTo>
                    <a:pt x="14" y="75"/>
                    <a:pt x="100" y="0"/>
                    <a:pt x="199" y="8"/>
                  </a:cubicBezTo>
                  <a:cubicBezTo>
                    <a:pt x="298" y="15"/>
                    <a:pt x="372" y="101"/>
                    <a:pt x="365" y="200"/>
                  </a:cubicBezTo>
                  <a:cubicBezTo>
                    <a:pt x="358" y="299"/>
                    <a:pt x="272" y="373"/>
                    <a:pt x="173" y="366"/>
                  </a:cubicBezTo>
                  <a:cubicBezTo>
                    <a:pt x="74" y="359"/>
                    <a:pt x="0" y="273"/>
                    <a:pt x="7" y="174"/>
                  </a:cubicBezTo>
                  <a:close/>
                </a:path>
              </a:pathLst>
            </a:custGeom>
            <a:noFill/>
            <a:ln w="9525" cap="flat">
              <a:solidFill>
                <a:sysClr val="window" lastClr="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26469"/>
                </a:solidFill>
                <a:effectLst/>
                <a:uLnTx/>
                <a:uFillTx/>
                <a:latin typeface="Arial"/>
                <a:ea typeface="+mn-ea"/>
                <a:cs typeface="+mn-cs"/>
              </a:endParaRPr>
            </a:p>
          </p:txBody>
        </p:sp>
        <p:grpSp>
          <p:nvGrpSpPr>
            <p:cNvPr id="146" name="Group 145">
              <a:extLst>
                <a:ext uri="{FF2B5EF4-FFF2-40B4-BE49-F238E27FC236}">
                  <a16:creationId xmlns:a16="http://schemas.microsoft.com/office/drawing/2014/main" id="{596B29B3-8BDD-476D-9EE7-B6D9CB2BE45B}"/>
                </a:ext>
              </a:extLst>
            </p:cNvPr>
            <p:cNvGrpSpPr>
              <a:grpSpLocks noChangeAspect="1"/>
            </p:cNvGrpSpPr>
            <p:nvPr/>
          </p:nvGrpSpPr>
          <p:grpSpPr>
            <a:xfrm>
              <a:off x="6285910" y="1881137"/>
              <a:ext cx="128737" cy="127123"/>
              <a:chOff x="4810125" y="415925"/>
              <a:chExt cx="703263" cy="749300"/>
            </a:xfrm>
            <a:solidFill>
              <a:srgbClr val="FFD100"/>
            </a:solidFill>
          </p:grpSpPr>
          <p:sp>
            <p:nvSpPr>
              <p:cNvPr id="147" name="Freeform 40">
                <a:extLst>
                  <a:ext uri="{FF2B5EF4-FFF2-40B4-BE49-F238E27FC236}">
                    <a16:creationId xmlns:a16="http://schemas.microsoft.com/office/drawing/2014/main" id="{BE39B39C-E7FF-40A0-95FB-7DA15D65DB88}"/>
                  </a:ext>
                </a:extLst>
              </p:cNvPr>
              <p:cNvSpPr>
                <a:spLocks/>
              </p:cNvSpPr>
              <p:nvPr/>
            </p:nvSpPr>
            <p:spPr bwMode="auto">
              <a:xfrm>
                <a:off x="4810125" y="765175"/>
                <a:ext cx="703263" cy="400050"/>
              </a:xfrm>
              <a:custGeom>
                <a:avLst/>
                <a:gdLst>
                  <a:gd name="T0" fmla="*/ 209 w 311"/>
                  <a:gd name="T1" fmla="*/ 29 h 177"/>
                  <a:gd name="T2" fmla="*/ 155 w 311"/>
                  <a:gd name="T3" fmla="*/ 118 h 177"/>
                  <a:gd name="T4" fmla="*/ 155 w 311"/>
                  <a:gd name="T5" fmla="*/ 118 h 177"/>
                  <a:gd name="T6" fmla="*/ 102 w 311"/>
                  <a:gd name="T7" fmla="*/ 29 h 177"/>
                  <a:gd name="T8" fmla="*/ 0 w 311"/>
                  <a:gd name="T9" fmla="*/ 11 h 177"/>
                  <a:gd name="T10" fmla="*/ 54 w 311"/>
                  <a:gd name="T11" fmla="*/ 100 h 177"/>
                  <a:gd name="T12" fmla="*/ 142 w 311"/>
                  <a:gd name="T13" fmla="*/ 120 h 177"/>
                  <a:gd name="T14" fmla="*/ 142 w 311"/>
                  <a:gd name="T15" fmla="*/ 177 h 177"/>
                  <a:gd name="T16" fmla="*/ 169 w 311"/>
                  <a:gd name="T17" fmla="*/ 177 h 177"/>
                  <a:gd name="T18" fmla="*/ 169 w 311"/>
                  <a:gd name="T19" fmla="*/ 120 h 177"/>
                  <a:gd name="T20" fmla="*/ 257 w 311"/>
                  <a:gd name="T21" fmla="*/ 100 h 177"/>
                  <a:gd name="T22" fmla="*/ 311 w 311"/>
                  <a:gd name="T23" fmla="*/ 11 h 177"/>
                  <a:gd name="T24" fmla="*/ 209 w 311"/>
                  <a:gd name="T25" fmla="*/ 2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1" h="177">
                    <a:moveTo>
                      <a:pt x="209" y="29"/>
                    </a:moveTo>
                    <a:cubicBezTo>
                      <a:pt x="166" y="59"/>
                      <a:pt x="155" y="118"/>
                      <a:pt x="155" y="118"/>
                    </a:cubicBezTo>
                    <a:cubicBezTo>
                      <a:pt x="155" y="118"/>
                      <a:pt x="155" y="118"/>
                      <a:pt x="155" y="118"/>
                    </a:cubicBezTo>
                    <a:cubicBezTo>
                      <a:pt x="155" y="118"/>
                      <a:pt x="145" y="59"/>
                      <a:pt x="102" y="29"/>
                    </a:cubicBezTo>
                    <a:cubicBezTo>
                      <a:pt x="59" y="0"/>
                      <a:pt x="0" y="11"/>
                      <a:pt x="0" y="11"/>
                    </a:cubicBezTo>
                    <a:cubicBezTo>
                      <a:pt x="0" y="11"/>
                      <a:pt x="11" y="70"/>
                      <a:pt x="54" y="100"/>
                    </a:cubicBezTo>
                    <a:cubicBezTo>
                      <a:pt x="84" y="120"/>
                      <a:pt x="122" y="121"/>
                      <a:pt x="142" y="120"/>
                    </a:cubicBezTo>
                    <a:cubicBezTo>
                      <a:pt x="142" y="177"/>
                      <a:pt x="142" y="177"/>
                      <a:pt x="142" y="177"/>
                    </a:cubicBezTo>
                    <a:cubicBezTo>
                      <a:pt x="169" y="177"/>
                      <a:pt x="169" y="177"/>
                      <a:pt x="169" y="177"/>
                    </a:cubicBezTo>
                    <a:cubicBezTo>
                      <a:pt x="169" y="120"/>
                      <a:pt x="169" y="120"/>
                      <a:pt x="169" y="120"/>
                    </a:cubicBezTo>
                    <a:cubicBezTo>
                      <a:pt x="189" y="121"/>
                      <a:pt x="227" y="120"/>
                      <a:pt x="257" y="100"/>
                    </a:cubicBezTo>
                    <a:cubicBezTo>
                      <a:pt x="300" y="70"/>
                      <a:pt x="311" y="11"/>
                      <a:pt x="311" y="11"/>
                    </a:cubicBezTo>
                    <a:cubicBezTo>
                      <a:pt x="311" y="11"/>
                      <a:pt x="252" y="0"/>
                      <a:pt x="209" y="29"/>
                    </a:cubicBezTo>
                    <a:close/>
                  </a:path>
                </a:pathLst>
              </a:custGeom>
              <a:solidFill>
                <a:sysClr val="window" lastClr="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26469"/>
                  </a:solidFill>
                  <a:effectLst/>
                  <a:uLnTx/>
                  <a:uFillTx/>
                  <a:latin typeface="Arial"/>
                  <a:ea typeface="+mn-ea"/>
                  <a:cs typeface="+mn-cs"/>
                </a:endParaRPr>
              </a:p>
            </p:txBody>
          </p:sp>
          <p:sp>
            <p:nvSpPr>
              <p:cNvPr id="148" name="Freeform 41">
                <a:extLst>
                  <a:ext uri="{FF2B5EF4-FFF2-40B4-BE49-F238E27FC236}">
                    <a16:creationId xmlns:a16="http://schemas.microsoft.com/office/drawing/2014/main" id="{25FA1F0B-AC8D-4FC8-AD10-777BB613A04C}"/>
                  </a:ext>
                </a:extLst>
              </p:cNvPr>
              <p:cNvSpPr>
                <a:spLocks noEditPoints="1"/>
              </p:cNvSpPr>
              <p:nvPr/>
            </p:nvSpPr>
            <p:spPr bwMode="auto">
              <a:xfrm>
                <a:off x="4956175" y="415925"/>
                <a:ext cx="409575" cy="407988"/>
              </a:xfrm>
              <a:custGeom>
                <a:avLst/>
                <a:gdLst>
                  <a:gd name="T0" fmla="*/ 90 w 181"/>
                  <a:gd name="T1" fmla="*/ 180 h 180"/>
                  <a:gd name="T2" fmla="*/ 181 w 181"/>
                  <a:gd name="T3" fmla="*/ 90 h 180"/>
                  <a:gd name="T4" fmla="*/ 90 w 181"/>
                  <a:gd name="T5" fmla="*/ 0 h 180"/>
                  <a:gd name="T6" fmla="*/ 0 w 181"/>
                  <a:gd name="T7" fmla="*/ 90 h 180"/>
                  <a:gd name="T8" fmla="*/ 90 w 181"/>
                  <a:gd name="T9" fmla="*/ 180 h 180"/>
                  <a:gd name="T10" fmla="*/ 56 w 181"/>
                  <a:gd name="T11" fmla="*/ 118 h 180"/>
                  <a:gd name="T12" fmla="*/ 67 w 181"/>
                  <a:gd name="T13" fmla="*/ 107 h 180"/>
                  <a:gd name="T14" fmla="*/ 70 w 181"/>
                  <a:gd name="T15" fmla="*/ 107 h 180"/>
                  <a:gd name="T16" fmla="*/ 91 w 181"/>
                  <a:gd name="T17" fmla="*/ 118 h 180"/>
                  <a:gd name="T18" fmla="*/ 99 w 181"/>
                  <a:gd name="T19" fmla="*/ 115 h 180"/>
                  <a:gd name="T20" fmla="*/ 102 w 181"/>
                  <a:gd name="T21" fmla="*/ 108 h 180"/>
                  <a:gd name="T22" fmla="*/ 100 w 181"/>
                  <a:gd name="T23" fmla="*/ 102 h 180"/>
                  <a:gd name="T24" fmla="*/ 91 w 181"/>
                  <a:gd name="T25" fmla="*/ 97 h 180"/>
                  <a:gd name="T26" fmla="*/ 70 w 181"/>
                  <a:gd name="T27" fmla="*/ 87 h 180"/>
                  <a:gd name="T28" fmla="*/ 62 w 181"/>
                  <a:gd name="T29" fmla="*/ 78 h 180"/>
                  <a:gd name="T30" fmla="*/ 59 w 181"/>
                  <a:gd name="T31" fmla="*/ 67 h 180"/>
                  <a:gd name="T32" fmla="*/ 67 w 181"/>
                  <a:gd name="T33" fmla="*/ 50 h 180"/>
                  <a:gd name="T34" fmla="*/ 83 w 181"/>
                  <a:gd name="T35" fmla="*/ 43 h 180"/>
                  <a:gd name="T36" fmla="*/ 83 w 181"/>
                  <a:gd name="T37" fmla="*/ 33 h 180"/>
                  <a:gd name="T38" fmla="*/ 85 w 181"/>
                  <a:gd name="T39" fmla="*/ 31 h 180"/>
                  <a:gd name="T40" fmla="*/ 97 w 181"/>
                  <a:gd name="T41" fmla="*/ 31 h 180"/>
                  <a:gd name="T42" fmla="*/ 99 w 181"/>
                  <a:gd name="T43" fmla="*/ 33 h 180"/>
                  <a:gd name="T44" fmla="*/ 99 w 181"/>
                  <a:gd name="T45" fmla="*/ 44 h 180"/>
                  <a:gd name="T46" fmla="*/ 108 w 181"/>
                  <a:gd name="T47" fmla="*/ 47 h 180"/>
                  <a:gd name="T48" fmla="*/ 119 w 181"/>
                  <a:gd name="T49" fmla="*/ 55 h 180"/>
                  <a:gd name="T50" fmla="*/ 119 w 181"/>
                  <a:gd name="T51" fmla="*/ 57 h 180"/>
                  <a:gd name="T52" fmla="*/ 118 w 181"/>
                  <a:gd name="T53" fmla="*/ 59 h 180"/>
                  <a:gd name="T54" fmla="*/ 107 w 181"/>
                  <a:gd name="T55" fmla="*/ 69 h 180"/>
                  <a:gd name="T56" fmla="*/ 104 w 181"/>
                  <a:gd name="T57" fmla="*/ 69 h 180"/>
                  <a:gd name="T58" fmla="*/ 89 w 181"/>
                  <a:gd name="T59" fmla="*/ 62 h 180"/>
                  <a:gd name="T60" fmla="*/ 83 w 181"/>
                  <a:gd name="T61" fmla="*/ 64 h 180"/>
                  <a:gd name="T62" fmla="*/ 81 w 181"/>
                  <a:gd name="T63" fmla="*/ 68 h 180"/>
                  <a:gd name="T64" fmla="*/ 82 w 181"/>
                  <a:gd name="T65" fmla="*/ 71 h 180"/>
                  <a:gd name="T66" fmla="*/ 92 w 181"/>
                  <a:gd name="T67" fmla="*/ 76 h 180"/>
                  <a:gd name="T68" fmla="*/ 111 w 181"/>
                  <a:gd name="T69" fmla="*/ 86 h 180"/>
                  <a:gd name="T70" fmla="*/ 120 w 181"/>
                  <a:gd name="T71" fmla="*/ 95 h 180"/>
                  <a:gd name="T72" fmla="*/ 123 w 181"/>
                  <a:gd name="T73" fmla="*/ 108 h 180"/>
                  <a:gd name="T74" fmla="*/ 120 w 181"/>
                  <a:gd name="T75" fmla="*/ 121 h 180"/>
                  <a:gd name="T76" fmla="*/ 111 w 181"/>
                  <a:gd name="T77" fmla="*/ 131 h 180"/>
                  <a:gd name="T78" fmla="*/ 99 w 181"/>
                  <a:gd name="T79" fmla="*/ 136 h 180"/>
                  <a:gd name="T80" fmla="*/ 99 w 181"/>
                  <a:gd name="T81" fmla="*/ 147 h 180"/>
                  <a:gd name="T82" fmla="*/ 97 w 181"/>
                  <a:gd name="T83" fmla="*/ 150 h 180"/>
                  <a:gd name="T84" fmla="*/ 85 w 181"/>
                  <a:gd name="T85" fmla="*/ 150 h 180"/>
                  <a:gd name="T86" fmla="*/ 83 w 181"/>
                  <a:gd name="T87" fmla="*/ 147 h 180"/>
                  <a:gd name="T88" fmla="*/ 83 w 181"/>
                  <a:gd name="T89" fmla="*/ 136 h 180"/>
                  <a:gd name="T90" fmla="*/ 71 w 181"/>
                  <a:gd name="T91" fmla="*/ 132 h 180"/>
                  <a:gd name="T92" fmla="*/ 56 w 181"/>
                  <a:gd name="T93" fmla="*/ 121 h 180"/>
                  <a:gd name="T94" fmla="*/ 55 w 181"/>
                  <a:gd name="T95" fmla="*/ 120 h 180"/>
                  <a:gd name="T96" fmla="*/ 56 w 181"/>
                  <a:gd name="T97" fmla="*/ 11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1" h="180">
                    <a:moveTo>
                      <a:pt x="90" y="180"/>
                    </a:moveTo>
                    <a:cubicBezTo>
                      <a:pt x="140" y="180"/>
                      <a:pt x="181" y="140"/>
                      <a:pt x="181" y="90"/>
                    </a:cubicBezTo>
                    <a:cubicBezTo>
                      <a:pt x="181" y="40"/>
                      <a:pt x="140" y="0"/>
                      <a:pt x="90" y="0"/>
                    </a:cubicBezTo>
                    <a:cubicBezTo>
                      <a:pt x="41" y="0"/>
                      <a:pt x="0" y="40"/>
                      <a:pt x="0" y="90"/>
                    </a:cubicBezTo>
                    <a:cubicBezTo>
                      <a:pt x="0" y="140"/>
                      <a:pt x="41" y="180"/>
                      <a:pt x="90" y="180"/>
                    </a:cubicBezTo>
                    <a:close/>
                    <a:moveTo>
                      <a:pt x="56" y="118"/>
                    </a:moveTo>
                    <a:cubicBezTo>
                      <a:pt x="67" y="107"/>
                      <a:pt x="67" y="107"/>
                      <a:pt x="67" y="107"/>
                    </a:cubicBezTo>
                    <a:cubicBezTo>
                      <a:pt x="68" y="106"/>
                      <a:pt x="70" y="106"/>
                      <a:pt x="70" y="107"/>
                    </a:cubicBezTo>
                    <a:cubicBezTo>
                      <a:pt x="77" y="114"/>
                      <a:pt x="84" y="118"/>
                      <a:pt x="91" y="118"/>
                    </a:cubicBezTo>
                    <a:cubicBezTo>
                      <a:pt x="94" y="118"/>
                      <a:pt x="96" y="117"/>
                      <a:pt x="99" y="115"/>
                    </a:cubicBezTo>
                    <a:cubicBezTo>
                      <a:pt x="101" y="113"/>
                      <a:pt x="102" y="111"/>
                      <a:pt x="102" y="108"/>
                    </a:cubicBezTo>
                    <a:cubicBezTo>
                      <a:pt x="102" y="106"/>
                      <a:pt x="101" y="104"/>
                      <a:pt x="100" y="102"/>
                    </a:cubicBezTo>
                    <a:cubicBezTo>
                      <a:pt x="98" y="101"/>
                      <a:pt x="95" y="99"/>
                      <a:pt x="91" y="97"/>
                    </a:cubicBezTo>
                    <a:cubicBezTo>
                      <a:pt x="81" y="93"/>
                      <a:pt x="74" y="89"/>
                      <a:pt x="70" y="87"/>
                    </a:cubicBezTo>
                    <a:cubicBezTo>
                      <a:pt x="67" y="84"/>
                      <a:pt x="64" y="81"/>
                      <a:pt x="62" y="78"/>
                    </a:cubicBezTo>
                    <a:cubicBezTo>
                      <a:pt x="60" y="74"/>
                      <a:pt x="59" y="70"/>
                      <a:pt x="59" y="67"/>
                    </a:cubicBezTo>
                    <a:cubicBezTo>
                      <a:pt x="59" y="60"/>
                      <a:pt x="62" y="55"/>
                      <a:pt x="67" y="50"/>
                    </a:cubicBezTo>
                    <a:cubicBezTo>
                      <a:pt x="71" y="46"/>
                      <a:pt x="77" y="44"/>
                      <a:pt x="83" y="43"/>
                    </a:cubicBezTo>
                    <a:cubicBezTo>
                      <a:pt x="83" y="33"/>
                      <a:pt x="83" y="33"/>
                      <a:pt x="83" y="33"/>
                    </a:cubicBezTo>
                    <a:cubicBezTo>
                      <a:pt x="83" y="32"/>
                      <a:pt x="84" y="31"/>
                      <a:pt x="85" y="31"/>
                    </a:cubicBezTo>
                    <a:cubicBezTo>
                      <a:pt x="97" y="31"/>
                      <a:pt x="97" y="31"/>
                      <a:pt x="97" y="31"/>
                    </a:cubicBezTo>
                    <a:cubicBezTo>
                      <a:pt x="98" y="31"/>
                      <a:pt x="99" y="32"/>
                      <a:pt x="99" y="33"/>
                    </a:cubicBezTo>
                    <a:cubicBezTo>
                      <a:pt x="99" y="44"/>
                      <a:pt x="99" y="44"/>
                      <a:pt x="99" y="44"/>
                    </a:cubicBezTo>
                    <a:cubicBezTo>
                      <a:pt x="103" y="45"/>
                      <a:pt x="106" y="46"/>
                      <a:pt x="108" y="47"/>
                    </a:cubicBezTo>
                    <a:cubicBezTo>
                      <a:pt x="111" y="49"/>
                      <a:pt x="115" y="52"/>
                      <a:pt x="119" y="55"/>
                    </a:cubicBezTo>
                    <a:cubicBezTo>
                      <a:pt x="119" y="56"/>
                      <a:pt x="119" y="56"/>
                      <a:pt x="119" y="57"/>
                    </a:cubicBezTo>
                    <a:cubicBezTo>
                      <a:pt x="119" y="58"/>
                      <a:pt x="119" y="58"/>
                      <a:pt x="118" y="59"/>
                    </a:cubicBezTo>
                    <a:cubicBezTo>
                      <a:pt x="107" y="69"/>
                      <a:pt x="107" y="69"/>
                      <a:pt x="107" y="69"/>
                    </a:cubicBezTo>
                    <a:cubicBezTo>
                      <a:pt x="106" y="70"/>
                      <a:pt x="104" y="70"/>
                      <a:pt x="104" y="69"/>
                    </a:cubicBezTo>
                    <a:cubicBezTo>
                      <a:pt x="99" y="65"/>
                      <a:pt x="94" y="62"/>
                      <a:pt x="89" y="62"/>
                    </a:cubicBezTo>
                    <a:cubicBezTo>
                      <a:pt x="86" y="62"/>
                      <a:pt x="84" y="63"/>
                      <a:pt x="83" y="64"/>
                    </a:cubicBezTo>
                    <a:cubicBezTo>
                      <a:pt x="81" y="65"/>
                      <a:pt x="81" y="66"/>
                      <a:pt x="81" y="68"/>
                    </a:cubicBezTo>
                    <a:cubicBezTo>
                      <a:pt x="81" y="69"/>
                      <a:pt x="81" y="70"/>
                      <a:pt x="82" y="71"/>
                    </a:cubicBezTo>
                    <a:cubicBezTo>
                      <a:pt x="84" y="72"/>
                      <a:pt x="86" y="74"/>
                      <a:pt x="92" y="76"/>
                    </a:cubicBezTo>
                    <a:cubicBezTo>
                      <a:pt x="101" y="80"/>
                      <a:pt x="108" y="83"/>
                      <a:pt x="111" y="86"/>
                    </a:cubicBezTo>
                    <a:cubicBezTo>
                      <a:pt x="115" y="88"/>
                      <a:pt x="118" y="92"/>
                      <a:pt x="120" y="95"/>
                    </a:cubicBezTo>
                    <a:cubicBezTo>
                      <a:pt x="122" y="99"/>
                      <a:pt x="123" y="104"/>
                      <a:pt x="123" y="108"/>
                    </a:cubicBezTo>
                    <a:cubicBezTo>
                      <a:pt x="123" y="113"/>
                      <a:pt x="122" y="117"/>
                      <a:pt x="120" y="121"/>
                    </a:cubicBezTo>
                    <a:cubicBezTo>
                      <a:pt x="117" y="125"/>
                      <a:pt x="115" y="129"/>
                      <a:pt x="111" y="131"/>
                    </a:cubicBezTo>
                    <a:cubicBezTo>
                      <a:pt x="108" y="133"/>
                      <a:pt x="104" y="135"/>
                      <a:pt x="99" y="136"/>
                    </a:cubicBezTo>
                    <a:cubicBezTo>
                      <a:pt x="99" y="147"/>
                      <a:pt x="99" y="147"/>
                      <a:pt x="99" y="147"/>
                    </a:cubicBezTo>
                    <a:cubicBezTo>
                      <a:pt x="99" y="149"/>
                      <a:pt x="98" y="150"/>
                      <a:pt x="97" y="150"/>
                    </a:cubicBezTo>
                    <a:cubicBezTo>
                      <a:pt x="85" y="150"/>
                      <a:pt x="85" y="150"/>
                      <a:pt x="85" y="150"/>
                    </a:cubicBezTo>
                    <a:cubicBezTo>
                      <a:pt x="84" y="150"/>
                      <a:pt x="83" y="149"/>
                      <a:pt x="83" y="147"/>
                    </a:cubicBezTo>
                    <a:cubicBezTo>
                      <a:pt x="83" y="136"/>
                      <a:pt x="83" y="136"/>
                      <a:pt x="83" y="136"/>
                    </a:cubicBezTo>
                    <a:cubicBezTo>
                      <a:pt x="78" y="136"/>
                      <a:pt x="74" y="134"/>
                      <a:pt x="71" y="132"/>
                    </a:cubicBezTo>
                    <a:cubicBezTo>
                      <a:pt x="65" y="130"/>
                      <a:pt x="60" y="126"/>
                      <a:pt x="56" y="121"/>
                    </a:cubicBezTo>
                    <a:cubicBezTo>
                      <a:pt x="55" y="121"/>
                      <a:pt x="55" y="120"/>
                      <a:pt x="55" y="120"/>
                    </a:cubicBezTo>
                    <a:cubicBezTo>
                      <a:pt x="55" y="119"/>
                      <a:pt x="55" y="119"/>
                      <a:pt x="56" y="118"/>
                    </a:cubicBezTo>
                    <a:close/>
                  </a:path>
                </a:pathLst>
              </a:custGeom>
              <a:solidFill>
                <a:sysClr val="window" lastClr="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26469"/>
                  </a:solidFill>
                  <a:effectLst/>
                  <a:uLnTx/>
                  <a:uFillTx/>
                  <a:latin typeface="Arial"/>
                  <a:ea typeface="+mn-ea"/>
                  <a:cs typeface="+mn-cs"/>
                </a:endParaRPr>
              </a:p>
            </p:txBody>
          </p:sp>
        </p:grpSp>
      </p:grpSp>
      <p:cxnSp>
        <p:nvCxnSpPr>
          <p:cNvPr id="149" name="Straight Connector 148">
            <a:extLst>
              <a:ext uri="{FF2B5EF4-FFF2-40B4-BE49-F238E27FC236}">
                <a16:creationId xmlns:a16="http://schemas.microsoft.com/office/drawing/2014/main" id="{E24487CE-7CBF-4F16-9E91-02257E1A9109}"/>
              </a:ext>
            </a:extLst>
          </p:cNvPr>
          <p:cNvCxnSpPr>
            <a:cxnSpLocks/>
          </p:cNvCxnSpPr>
          <p:nvPr/>
        </p:nvCxnSpPr>
        <p:spPr>
          <a:xfrm>
            <a:off x="338376" y="5820244"/>
            <a:ext cx="6768953" cy="3565"/>
          </a:xfrm>
          <a:prstGeom prst="line">
            <a:avLst/>
          </a:prstGeom>
          <a:noFill/>
          <a:ln w="3175" cap="rnd" cmpd="sng" algn="ctr">
            <a:solidFill>
              <a:srgbClr val="626469"/>
            </a:solidFill>
            <a:prstDash val="solid"/>
          </a:ln>
          <a:effectLst/>
        </p:spPr>
      </p:cxnSp>
      <p:sp>
        <p:nvSpPr>
          <p:cNvPr id="150" name="TextBox 149">
            <a:extLst>
              <a:ext uri="{FF2B5EF4-FFF2-40B4-BE49-F238E27FC236}">
                <a16:creationId xmlns:a16="http://schemas.microsoft.com/office/drawing/2014/main" id="{BA445B65-4586-40DC-A24E-4B9B05455DAC}"/>
              </a:ext>
            </a:extLst>
          </p:cNvPr>
          <p:cNvSpPr txBox="1"/>
          <p:nvPr/>
        </p:nvSpPr>
        <p:spPr>
          <a:xfrm rot="16200000">
            <a:off x="278269" y="2937259"/>
            <a:ext cx="95250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Scope 1 &amp; 2</a:t>
            </a:r>
          </a:p>
        </p:txBody>
      </p:sp>
      <p:grpSp>
        <p:nvGrpSpPr>
          <p:cNvPr id="151" name="Group 150">
            <a:extLst>
              <a:ext uri="{FF2B5EF4-FFF2-40B4-BE49-F238E27FC236}">
                <a16:creationId xmlns:a16="http://schemas.microsoft.com/office/drawing/2014/main" id="{FAA5736F-F6DF-4F5F-A6B6-C89061961313}"/>
              </a:ext>
            </a:extLst>
          </p:cNvPr>
          <p:cNvGrpSpPr/>
          <p:nvPr/>
        </p:nvGrpSpPr>
        <p:grpSpPr>
          <a:xfrm>
            <a:off x="322695" y="3983818"/>
            <a:ext cx="899437" cy="1826237"/>
            <a:chOff x="322695" y="3983818"/>
            <a:chExt cx="899437" cy="1826237"/>
          </a:xfrm>
        </p:grpSpPr>
        <p:grpSp>
          <p:nvGrpSpPr>
            <p:cNvPr id="152" name="Group 151">
              <a:extLst>
                <a:ext uri="{FF2B5EF4-FFF2-40B4-BE49-F238E27FC236}">
                  <a16:creationId xmlns:a16="http://schemas.microsoft.com/office/drawing/2014/main" id="{6ED351BA-0B45-4E88-BB98-2ABDEC86D1CC}"/>
                </a:ext>
              </a:extLst>
            </p:cNvPr>
            <p:cNvGrpSpPr/>
            <p:nvPr/>
          </p:nvGrpSpPr>
          <p:grpSpPr>
            <a:xfrm>
              <a:off x="322695" y="3983818"/>
              <a:ext cx="899437" cy="1826237"/>
              <a:chOff x="322695" y="3983818"/>
              <a:chExt cx="899437" cy="1826237"/>
            </a:xfrm>
          </p:grpSpPr>
          <p:grpSp>
            <p:nvGrpSpPr>
              <p:cNvPr id="154" name="Group 153">
                <a:extLst>
                  <a:ext uri="{FF2B5EF4-FFF2-40B4-BE49-F238E27FC236}">
                    <a16:creationId xmlns:a16="http://schemas.microsoft.com/office/drawing/2014/main" id="{0C3DFBE8-7AEC-40CE-BB0F-0719BE505C15}"/>
                  </a:ext>
                </a:extLst>
              </p:cNvPr>
              <p:cNvGrpSpPr/>
              <p:nvPr/>
            </p:nvGrpSpPr>
            <p:grpSpPr>
              <a:xfrm>
                <a:off x="322695" y="3983818"/>
                <a:ext cx="888442" cy="1826237"/>
                <a:chOff x="322695" y="3983818"/>
                <a:chExt cx="888442" cy="1826237"/>
              </a:xfrm>
            </p:grpSpPr>
            <p:sp>
              <p:nvSpPr>
                <p:cNvPr id="156" name="Flowchart: Manual Input 155">
                  <a:extLst>
                    <a:ext uri="{FF2B5EF4-FFF2-40B4-BE49-F238E27FC236}">
                      <a16:creationId xmlns:a16="http://schemas.microsoft.com/office/drawing/2014/main" id="{86CA9924-0406-4BED-AE3F-4CDFA062E104}"/>
                    </a:ext>
                  </a:extLst>
                </p:cNvPr>
                <p:cNvSpPr/>
                <p:nvPr/>
              </p:nvSpPr>
              <p:spPr>
                <a:xfrm>
                  <a:off x="381563" y="4831647"/>
                  <a:ext cx="751349" cy="978408"/>
                </a:xfrm>
                <a:prstGeom prst="flowChartManualInput">
                  <a:avLst/>
                </a:prstGeom>
                <a:solidFill>
                  <a:schemeClr val="tx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25000" noProof="0">
                    <a:ln>
                      <a:noFill/>
                    </a:ln>
                    <a:solidFill>
                      <a:prstClr val="white"/>
                    </a:solidFill>
                    <a:effectLst/>
                    <a:uLnTx/>
                    <a:uFillTx/>
                    <a:latin typeface="Arial"/>
                    <a:ea typeface="+mn-ea"/>
                    <a:cs typeface="+mn-cs"/>
                  </a:endParaRPr>
                </a:p>
              </p:txBody>
            </p:sp>
            <p:sp>
              <p:nvSpPr>
                <p:cNvPr id="157" name="Flowchart: Manual Input 156">
                  <a:extLst>
                    <a:ext uri="{FF2B5EF4-FFF2-40B4-BE49-F238E27FC236}">
                      <a16:creationId xmlns:a16="http://schemas.microsoft.com/office/drawing/2014/main" id="{EDFB0BDB-BAFE-4044-BB85-9B3257A7C831}"/>
                    </a:ext>
                  </a:extLst>
                </p:cNvPr>
                <p:cNvSpPr/>
                <p:nvPr/>
              </p:nvSpPr>
              <p:spPr>
                <a:xfrm rot="10800000">
                  <a:off x="384883" y="3983818"/>
                  <a:ext cx="750919" cy="978408"/>
                </a:xfrm>
                <a:prstGeom prst="flowChartManualInput">
                  <a:avLst/>
                </a:prstGeom>
                <a:solidFill>
                  <a:schemeClr val="tx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25000" noProof="0">
                    <a:ln>
                      <a:noFill/>
                    </a:ln>
                    <a:solidFill>
                      <a:prstClr val="white"/>
                    </a:solidFill>
                    <a:effectLst/>
                    <a:uLnTx/>
                    <a:uFillTx/>
                    <a:latin typeface="Arial"/>
                    <a:ea typeface="+mn-ea"/>
                    <a:cs typeface="+mn-cs"/>
                  </a:endParaRPr>
                </a:p>
              </p:txBody>
            </p:sp>
            <p:cxnSp>
              <p:nvCxnSpPr>
                <p:cNvPr id="158" name="Straight Connector 157">
                  <a:extLst>
                    <a:ext uri="{FF2B5EF4-FFF2-40B4-BE49-F238E27FC236}">
                      <a16:creationId xmlns:a16="http://schemas.microsoft.com/office/drawing/2014/main" id="{753470DA-09D7-48E7-B4B7-916F46473473}"/>
                    </a:ext>
                  </a:extLst>
                </p:cNvPr>
                <p:cNvCxnSpPr>
                  <a:cxnSpLocks/>
                </p:cNvCxnSpPr>
                <p:nvPr/>
              </p:nvCxnSpPr>
              <p:spPr>
                <a:xfrm flipV="1">
                  <a:off x="322695" y="4738351"/>
                  <a:ext cx="888442" cy="243429"/>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grpSp>
          <p:cxnSp>
            <p:nvCxnSpPr>
              <p:cNvPr id="155" name="Straight Connector 154">
                <a:extLst>
                  <a:ext uri="{FF2B5EF4-FFF2-40B4-BE49-F238E27FC236}">
                    <a16:creationId xmlns:a16="http://schemas.microsoft.com/office/drawing/2014/main" id="{ED13D48A-F413-4F5E-B234-0B3CE8D0AE1D}"/>
                  </a:ext>
                </a:extLst>
              </p:cNvPr>
              <p:cNvCxnSpPr>
                <a:cxnSpLocks/>
              </p:cNvCxnSpPr>
              <p:nvPr/>
            </p:nvCxnSpPr>
            <p:spPr>
              <a:xfrm flipV="1">
                <a:off x="333690" y="4807908"/>
                <a:ext cx="888442" cy="243429"/>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grpSp>
        <p:sp>
          <p:nvSpPr>
            <p:cNvPr id="153" name="Rectangle 152">
              <a:extLst>
                <a:ext uri="{FF2B5EF4-FFF2-40B4-BE49-F238E27FC236}">
                  <a16:creationId xmlns:a16="http://schemas.microsoft.com/office/drawing/2014/main" id="{11021007-E5AF-47D4-B99D-94DE38BEAB25}"/>
                </a:ext>
              </a:extLst>
            </p:cNvPr>
            <p:cNvSpPr/>
            <p:nvPr/>
          </p:nvSpPr>
          <p:spPr>
            <a:xfrm rot="16200000">
              <a:off x="386471" y="4766004"/>
              <a:ext cx="740908"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Scope 3 </a:t>
              </a:r>
              <a:endParaRPr kumimoji="0" lang="en-US" sz="11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59" name="Group 158">
            <a:extLst>
              <a:ext uri="{FF2B5EF4-FFF2-40B4-BE49-F238E27FC236}">
                <a16:creationId xmlns:a16="http://schemas.microsoft.com/office/drawing/2014/main" id="{41C3821A-68CF-42DF-B5AC-5FA7D05F85A3}"/>
              </a:ext>
            </a:extLst>
          </p:cNvPr>
          <p:cNvGrpSpPr/>
          <p:nvPr/>
        </p:nvGrpSpPr>
        <p:grpSpPr>
          <a:xfrm>
            <a:off x="1627138" y="1636342"/>
            <a:ext cx="5431843" cy="2156187"/>
            <a:chOff x="-6258348" y="2072158"/>
            <a:chExt cx="5431843" cy="2156187"/>
          </a:xfrm>
        </p:grpSpPr>
        <p:sp>
          <p:nvSpPr>
            <p:cNvPr id="160" name="Rectangle 159">
              <a:extLst>
                <a:ext uri="{FF2B5EF4-FFF2-40B4-BE49-F238E27FC236}">
                  <a16:creationId xmlns:a16="http://schemas.microsoft.com/office/drawing/2014/main" id="{62CF2776-7542-4C23-B8BD-B10684D1AFA5}"/>
                </a:ext>
              </a:extLst>
            </p:cNvPr>
            <p:cNvSpPr/>
            <p:nvPr/>
          </p:nvSpPr>
          <p:spPr>
            <a:xfrm>
              <a:off x="-6258348" y="2498572"/>
              <a:ext cx="1165358" cy="507831"/>
            </a:xfrm>
            <a:prstGeom prst="rect">
              <a:avLst/>
            </a:prstGeom>
          </p:spPr>
          <p:txBody>
            <a:bodyPr wrap="square">
              <a:spAutoFit/>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E7E6E6">
                      <a:lumMod val="50000"/>
                    </a:srgbClr>
                  </a:solidFill>
                  <a:effectLst/>
                  <a:uLnTx/>
                  <a:uFillTx/>
                  <a:latin typeface="Arial"/>
                  <a:ea typeface="+mn-ea"/>
                  <a:cs typeface="+mn-cs"/>
                </a:rPr>
                <a:t>AVOID</a:t>
              </a:r>
            </a:p>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a:ea typeface="+mn-ea"/>
                  <a:cs typeface="+mn-cs"/>
                </a:rPr>
                <a:t>carbon-intensive activities</a:t>
              </a:r>
            </a:p>
          </p:txBody>
        </p:sp>
        <p:sp>
          <p:nvSpPr>
            <p:cNvPr id="161" name="TextBox 160">
              <a:extLst>
                <a:ext uri="{FF2B5EF4-FFF2-40B4-BE49-F238E27FC236}">
                  <a16:creationId xmlns:a16="http://schemas.microsoft.com/office/drawing/2014/main" id="{77F009E9-2554-4B8A-80EF-3AC92CF3D976}"/>
                </a:ext>
              </a:extLst>
            </p:cNvPr>
            <p:cNvSpPr txBox="1"/>
            <p:nvPr/>
          </p:nvSpPr>
          <p:spPr>
            <a:xfrm>
              <a:off x="-4143811" y="2072158"/>
              <a:ext cx="1278607" cy="500137"/>
            </a:xfrm>
            <a:prstGeom prst="rect">
              <a:avLst/>
            </a:prstGeom>
            <a:noFill/>
          </p:spPr>
          <p:txBody>
            <a:bodyPr wrap="square" rtlCol="0">
              <a:spAutoFit/>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42B4E6"/>
                  </a:solidFill>
                  <a:effectLst/>
                  <a:uLnTx/>
                  <a:uFillTx/>
                  <a:latin typeface="Arial"/>
                  <a:ea typeface="+mn-ea"/>
                  <a:cs typeface="+mn-cs"/>
                </a:rPr>
                <a:t>REDUCE</a:t>
              </a:r>
            </a:p>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a:ea typeface="+mn-ea"/>
                  <a:cs typeface="+mn-cs"/>
                </a:rPr>
                <a:t>Conduct operations more efficiently</a:t>
              </a:r>
            </a:p>
          </p:txBody>
        </p:sp>
        <p:sp>
          <p:nvSpPr>
            <p:cNvPr id="162" name="TextBox 161">
              <a:extLst>
                <a:ext uri="{FF2B5EF4-FFF2-40B4-BE49-F238E27FC236}">
                  <a16:creationId xmlns:a16="http://schemas.microsoft.com/office/drawing/2014/main" id="{BDE09C8D-2667-462F-8A7B-D11B3E58561F}"/>
                </a:ext>
              </a:extLst>
            </p:cNvPr>
            <p:cNvSpPr txBox="1"/>
            <p:nvPr/>
          </p:nvSpPr>
          <p:spPr>
            <a:xfrm>
              <a:off x="-3341796" y="2936154"/>
              <a:ext cx="1643113" cy="500137"/>
            </a:xfrm>
            <a:prstGeom prst="rect">
              <a:avLst/>
            </a:prstGeom>
            <a:noFill/>
          </p:spPr>
          <p:txBody>
            <a:bodyPr wrap="square" rtlCol="0">
              <a:spAutoFit/>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3DCD58"/>
                  </a:solidFill>
                  <a:effectLst/>
                  <a:uLnTx/>
                  <a:uFillTx/>
                  <a:latin typeface="Arial"/>
                  <a:ea typeface="+mn-ea"/>
                  <a:cs typeface="+mn-cs"/>
                </a:rPr>
                <a:t>REPLACE</a:t>
              </a:r>
            </a:p>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a:ea typeface="+mn-ea"/>
                  <a:cs typeface="+mn-cs"/>
                </a:rPr>
                <a:t>Switch from carbon-intensive energy to low-carbon sources</a:t>
              </a:r>
            </a:p>
          </p:txBody>
        </p:sp>
        <p:sp>
          <p:nvSpPr>
            <p:cNvPr id="163" name="TextBox 162">
              <a:extLst>
                <a:ext uri="{FF2B5EF4-FFF2-40B4-BE49-F238E27FC236}">
                  <a16:creationId xmlns:a16="http://schemas.microsoft.com/office/drawing/2014/main" id="{E822AB04-289E-4373-813B-E063BD69F854}"/>
                </a:ext>
              </a:extLst>
            </p:cNvPr>
            <p:cNvSpPr txBox="1"/>
            <p:nvPr/>
          </p:nvSpPr>
          <p:spPr>
            <a:xfrm>
              <a:off x="-2512937" y="3728208"/>
              <a:ext cx="1686432" cy="500137"/>
            </a:xfrm>
            <a:prstGeom prst="rect">
              <a:avLst/>
            </a:prstGeom>
            <a:noFill/>
          </p:spPr>
          <p:txBody>
            <a:bodyPr wrap="square" rtlCol="0">
              <a:spAutoFit/>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2D8B49"/>
                  </a:solidFill>
                  <a:effectLst/>
                  <a:uLnTx/>
                  <a:uFillTx/>
                  <a:latin typeface="Arial"/>
                  <a:ea typeface="+mn-ea"/>
                  <a:cs typeface="+mn-cs"/>
                </a:rPr>
                <a:t>OFFSET</a:t>
              </a:r>
            </a:p>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a:ea typeface="+mn-ea"/>
                  <a:cs typeface="+mn-cs"/>
                </a:rPr>
                <a:t>Offset emissions that cannot otherwise be reduced</a:t>
              </a:r>
            </a:p>
          </p:txBody>
        </p:sp>
      </p:grpSp>
      <p:sp>
        <p:nvSpPr>
          <p:cNvPr id="164" name="TextBox 163">
            <a:extLst>
              <a:ext uri="{FF2B5EF4-FFF2-40B4-BE49-F238E27FC236}">
                <a16:creationId xmlns:a16="http://schemas.microsoft.com/office/drawing/2014/main" id="{FB588828-2343-4E4D-9FFE-60D52DBCBF77}"/>
              </a:ext>
            </a:extLst>
          </p:cNvPr>
          <p:cNvSpPr txBox="1"/>
          <p:nvPr/>
        </p:nvSpPr>
        <p:spPr>
          <a:xfrm>
            <a:off x="6227212" y="4447775"/>
            <a:ext cx="1338464" cy="623248"/>
          </a:xfrm>
          <a:prstGeom prst="rect">
            <a:avLst/>
          </a:prstGeom>
          <a:noFill/>
        </p:spPr>
        <p:txBody>
          <a:bodyPr wrap="square" rtlCol="0">
            <a:spAutoFit/>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E47F00"/>
                </a:solidFill>
                <a:effectLst/>
                <a:uLnTx/>
                <a:uFillTx/>
                <a:latin typeface="Arial"/>
                <a:ea typeface="+mn-ea"/>
                <a:cs typeface="+mn-cs"/>
              </a:rPr>
              <a:t>ENGAGE</a:t>
            </a:r>
          </a:p>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a:ea typeface="+mn-ea"/>
                <a:cs typeface="+mn-cs"/>
              </a:rPr>
              <a:t>With Value/Supply Chain to drive transition to low-carbon Economy</a:t>
            </a:r>
          </a:p>
        </p:txBody>
      </p:sp>
      <p:sp>
        <p:nvSpPr>
          <p:cNvPr id="165" name="TextBox 164">
            <a:extLst>
              <a:ext uri="{FF2B5EF4-FFF2-40B4-BE49-F238E27FC236}">
                <a16:creationId xmlns:a16="http://schemas.microsoft.com/office/drawing/2014/main" id="{5CB13439-7786-4372-A3F3-082DCECB33DB}"/>
              </a:ext>
            </a:extLst>
          </p:cNvPr>
          <p:cNvSpPr txBox="1"/>
          <p:nvPr/>
        </p:nvSpPr>
        <p:spPr>
          <a:xfrm>
            <a:off x="7067137" y="5276660"/>
            <a:ext cx="1110788" cy="500137"/>
          </a:xfrm>
          <a:prstGeom prst="rect">
            <a:avLst/>
          </a:prstGeom>
          <a:noFill/>
        </p:spPr>
        <p:txBody>
          <a:bodyPr wrap="square" rtlCol="0">
            <a:spAutoFit/>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B10043"/>
                </a:solidFill>
                <a:effectLst/>
                <a:uLnTx/>
                <a:uFillTx/>
                <a:latin typeface="Arial"/>
                <a:ea typeface="+mn-ea"/>
                <a:cs typeface="+mn-cs"/>
              </a:rPr>
              <a:t>REDEFINE</a:t>
            </a:r>
          </a:p>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a:ea typeface="+mn-ea"/>
                <a:cs typeface="+mn-cs"/>
              </a:rPr>
              <a:t>Corporate Mobility and Transportation</a:t>
            </a:r>
          </a:p>
        </p:txBody>
      </p:sp>
      <p:sp>
        <p:nvSpPr>
          <p:cNvPr id="166" name="TextBox 165">
            <a:extLst>
              <a:ext uri="{FF2B5EF4-FFF2-40B4-BE49-F238E27FC236}">
                <a16:creationId xmlns:a16="http://schemas.microsoft.com/office/drawing/2014/main" id="{B894E807-542A-4717-B22B-6EA063ED75C3}"/>
              </a:ext>
            </a:extLst>
          </p:cNvPr>
          <p:cNvSpPr txBox="1"/>
          <p:nvPr/>
        </p:nvSpPr>
        <p:spPr>
          <a:xfrm>
            <a:off x="6050666" y="5873626"/>
            <a:ext cx="1140692" cy="369332"/>
          </a:xfrm>
          <a:prstGeom prst="rect">
            <a:avLst/>
          </a:prstGeom>
          <a:no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3DCD59"/>
                </a:solidFill>
                <a:effectLst/>
                <a:uLnTx/>
                <a:uFillTx/>
                <a:latin typeface="Arial"/>
                <a:ea typeface="+mn-ea"/>
                <a:cs typeface="+mn-cs"/>
              </a:rPr>
              <a:t>Carbon Goals</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3DCD59"/>
                </a:solidFill>
                <a:effectLst/>
                <a:uLnTx/>
                <a:uFillTx/>
                <a:latin typeface="Arial"/>
                <a:ea typeface="+mn-ea"/>
                <a:cs typeface="+mn-cs"/>
              </a:rPr>
              <a:t>Achievement</a:t>
            </a:r>
          </a:p>
        </p:txBody>
      </p:sp>
      <p:cxnSp>
        <p:nvCxnSpPr>
          <p:cNvPr id="167" name="Straight Arrow Connector 166">
            <a:extLst>
              <a:ext uri="{FF2B5EF4-FFF2-40B4-BE49-F238E27FC236}">
                <a16:creationId xmlns:a16="http://schemas.microsoft.com/office/drawing/2014/main" id="{25508060-E4AF-4450-BA66-2AA7B214B373}"/>
              </a:ext>
            </a:extLst>
          </p:cNvPr>
          <p:cNvCxnSpPr>
            <a:cxnSpLocks/>
          </p:cNvCxnSpPr>
          <p:nvPr/>
        </p:nvCxnSpPr>
        <p:spPr>
          <a:xfrm flipV="1">
            <a:off x="1272598" y="5820244"/>
            <a:ext cx="0" cy="261131"/>
          </a:xfrm>
          <a:prstGeom prst="straightConnector1">
            <a:avLst/>
          </a:prstGeom>
          <a:ln>
            <a:solidFill>
              <a:srgbClr val="3DCD58"/>
            </a:solidFill>
            <a:tailEnd type="triangle"/>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2F282333-035F-4BCE-87DD-EB60E1CB0EEC}"/>
              </a:ext>
            </a:extLst>
          </p:cNvPr>
          <p:cNvCxnSpPr>
            <a:cxnSpLocks/>
          </p:cNvCxnSpPr>
          <p:nvPr/>
        </p:nvCxnSpPr>
        <p:spPr>
          <a:xfrm>
            <a:off x="1274979" y="6081375"/>
            <a:ext cx="1583859" cy="0"/>
          </a:xfrm>
          <a:prstGeom prst="line">
            <a:avLst/>
          </a:prstGeom>
          <a:ln>
            <a:solidFill>
              <a:srgbClr val="3DCD58"/>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E70637F7-E9D7-47A2-ABE0-6C42CDE0E16B}"/>
              </a:ext>
            </a:extLst>
          </p:cNvPr>
          <p:cNvCxnSpPr>
            <a:cxnSpLocks/>
          </p:cNvCxnSpPr>
          <p:nvPr/>
        </p:nvCxnSpPr>
        <p:spPr>
          <a:xfrm>
            <a:off x="1274345" y="1945100"/>
            <a:ext cx="0" cy="3864955"/>
          </a:xfrm>
          <a:prstGeom prst="line">
            <a:avLst/>
          </a:prstGeom>
          <a:ln w="19050">
            <a:solidFill>
              <a:srgbClr val="3DCD58"/>
            </a:solidFill>
            <a:prstDash val="dash"/>
          </a:ln>
        </p:spPr>
        <p:style>
          <a:lnRef idx="1">
            <a:schemeClr val="accent1"/>
          </a:lnRef>
          <a:fillRef idx="0">
            <a:schemeClr val="accent1"/>
          </a:fillRef>
          <a:effectRef idx="0">
            <a:schemeClr val="accent1"/>
          </a:effectRef>
          <a:fontRef idx="minor">
            <a:schemeClr val="tx1"/>
          </a:fontRef>
        </p:style>
      </p:cxnSp>
      <p:pic>
        <p:nvPicPr>
          <p:cNvPr id="170" name="Graphic 169" descr="Play">
            <a:extLst>
              <a:ext uri="{FF2B5EF4-FFF2-40B4-BE49-F238E27FC236}">
                <a16:creationId xmlns:a16="http://schemas.microsoft.com/office/drawing/2014/main" id="{68CAE60E-4FDD-447F-9BFB-2D668437036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846289" y="5935949"/>
            <a:ext cx="290851" cy="290851"/>
          </a:xfrm>
          <a:prstGeom prst="rect">
            <a:avLst/>
          </a:prstGeom>
        </p:spPr>
      </p:pic>
      <p:grpSp>
        <p:nvGrpSpPr>
          <p:cNvPr id="171" name="Group 170">
            <a:extLst>
              <a:ext uri="{FF2B5EF4-FFF2-40B4-BE49-F238E27FC236}">
                <a16:creationId xmlns:a16="http://schemas.microsoft.com/office/drawing/2014/main" id="{13BE290E-2D81-4B7F-8731-8E7DAE53059C}"/>
              </a:ext>
            </a:extLst>
          </p:cNvPr>
          <p:cNvGrpSpPr/>
          <p:nvPr/>
        </p:nvGrpSpPr>
        <p:grpSpPr>
          <a:xfrm>
            <a:off x="6207837" y="5177491"/>
            <a:ext cx="831111" cy="633281"/>
            <a:chOff x="6207837" y="5088314"/>
            <a:chExt cx="831111" cy="633281"/>
          </a:xfrm>
        </p:grpSpPr>
        <p:grpSp>
          <p:nvGrpSpPr>
            <p:cNvPr id="172" name="Group 171">
              <a:extLst>
                <a:ext uri="{FF2B5EF4-FFF2-40B4-BE49-F238E27FC236}">
                  <a16:creationId xmlns:a16="http://schemas.microsoft.com/office/drawing/2014/main" id="{672C6529-A77D-4D74-B18E-873B21F975EB}"/>
                </a:ext>
              </a:extLst>
            </p:cNvPr>
            <p:cNvGrpSpPr/>
            <p:nvPr/>
          </p:nvGrpSpPr>
          <p:grpSpPr>
            <a:xfrm>
              <a:off x="6207837" y="5088314"/>
              <a:ext cx="831111" cy="633281"/>
              <a:chOff x="5935690" y="1732002"/>
              <a:chExt cx="831111" cy="633281"/>
            </a:xfrm>
            <a:solidFill>
              <a:srgbClr val="7C7C7C">
                <a:alpha val="69804"/>
              </a:srgbClr>
            </a:solidFill>
          </p:grpSpPr>
          <p:sp>
            <p:nvSpPr>
              <p:cNvPr id="174" name="Rectangle 173">
                <a:extLst>
                  <a:ext uri="{FF2B5EF4-FFF2-40B4-BE49-F238E27FC236}">
                    <a16:creationId xmlns:a16="http://schemas.microsoft.com/office/drawing/2014/main" id="{CBB178F7-0C44-4FA6-93D9-571B3F06D9F0}"/>
                  </a:ext>
                </a:extLst>
              </p:cNvPr>
              <p:cNvSpPr/>
              <p:nvPr/>
            </p:nvSpPr>
            <p:spPr>
              <a:xfrm>
                <a:off x="5935690" y="1732002"/>
                <a:ext cx="831111" cy="633281"/>
              </a:xfrm>
              <a:prstGeom prst="rect">
                <a:avLst/>
              </a:prstGeom>
              <a:solidFill>
                <a:srgbClr val="B10043"/>
              </a:solidFill>
              <a:ln w="3175" cap="flat" cmpd="sng" algn="ctr">
                <a:solidFill>
                  <a:sysClr val="window" lastClr="FFFFFF"/>
                </a:solidFill>
                <a:prstDash val="solid"/>
              </a:ln>
              <a:effectLst/>
            </p:spPr>
            <p:txBody>
              <a:bodyPr rtlCol="0" anchor="t"/>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prstClr val="white"/>
                  </a:solidFill>
                  <a:effectLst/>
                  <a:uLnTx/>
                  <a:uFillTx/>
                  <a:latin typeface="Arial"/>
                  <a:ea typeface="+mn-ea"/>
                  <a:cs typeface="+mn-cs"/>
                </a:endParaRPr>
              </a:p>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0" noProof="0">
                  <a:ln>
                    <a:noFill/>
                  </a:ln>
                  <a:solidFill>
                    <a:prstClr val="white"/>
                  </a:solidFill>
                  <a:effectLst/>
                  <a:uLnTx/>
                  <a:uFillTx/>
                  <a:latin typeface="Arial"/>
                  <a:ea typeface="+mn-ea"/>
                  <a:cs typeface="+mn-cs"/>
                </a:endParaRPr>
              </a:p>
            </p:txBody>
          </p:sp>
          <p:sp>
            <p:nvSpPr>
              <p:cNvPr id="175" name="Freeform 9">
                <a:extLst>
                  <a:ext uri="{FF2B5EF4-FFF2-40B4-BE49-F238E27FC236}">
                    <a16:creationId xmlns:a16="http://schemas.microsoft.com/office/drawing/2014/main" id="{263DC4F6-96B0-487B-B0DE-E0533D088D61}"/>
                  </a:ext>
                </a:extLst>
              </p:cNvPr>
              <p:cNvSpPr>
                <a:spLocks/>
              </p:cNvSpPr>
              <p:nvPr/>
            </p:nvSpPr>
            <p:spPr bwMode="auto">
              <a:xfrm>
                <a:off x="6211706" y="1939767"/>
                <a:ext cx="274319" cy="274321"/>
              </a:xfrm>
              <a:custGeom>
                <a:avLst/>
                <a:gdLst>
                  <a:gd name="T0" fmla="*/ 7 w 372"/>
                  <a:gd name="T1" fmla="*/ 174 h 373"/>
                  <a:gd name="T2" fmla="*/ 199 w 372"/>
                  <a:gd name="T3" fmla="*/ 8 h 373"/>
                  <a:gd name="T4" fmla="*/ 365 w 372"/>
                  <a:gd name="T5" fmla="*/ 200 h 373"/>
                  <a:gd name="T6" fmla="*/ 173 w 372"/>
                  <a:gd name="T7" fmla="*/ 366 h 373"/>
                  <a:gd name="T8" fmla="*/ 7 w 372"/>
                  <a:gd name="T9" fmla="*/ 174 h 373"/>
                </a:gdLst>
                <a:ahLst/>
                <a:cxnLst>
                  <a:cxn ang="0">
                    <a:pos x="T0" y="T1"/>
                  </a:cxn>
                  <a:cxn ang="0">
                    <a:pos x="T2" y="T3"/>
                  </a:cxn>
                  <a:cxn ang="0">
                    <a:pos x="T4" y="T5"/>
                  </a:cxn>
                  <a:cxn ang="0">
                    <a:pos x="T6" y="T7"/>
                  </a:cxn>
                  <a:cxn ang="0">
                    <a:pos x="T8" y="T9"/>
                  </a:cxn>
                </a:cxnLst>
                <a:rect l="0" t="0" r="r" b="b"/>
                <a:pathLst>
                  <a:path w="372" h="373">
                    <a:moveTo>
                      <a:pt x="7" y="174"/>
                    </a:moveTo>
                    <a:cubicBezTo>
                      <a:pt x="14" y="75"/>
                      <a:pt x="100" y="0"/>
                      <a:pt x="199" y="8"/>
                    </a:cubicBezTo>
                    <a:cubicBezTo>
                      <a:pt x="298" y="15"/>
                      <a:pt x="372" y="101"/>
                      <a:pt x="365" y="200"/>
                    </a:cubicBezTo>
                    <a:cubicBezTo>
                      <a:pt x="358" y="299"/>
                      <a:pt x="272" y="373"/>
                      <a:pt x="173" y="366"/>
                    </a:cubicBezTo>
                    <a:cubicBezTo>
                      <a:pt x="74" y="359"/>
                      <a:pt x="0" y="273"/>
                      <a:pt x="7" y="174"/>
                    </a:cubicBezTo>
                    <a:close/>
                  </a:path>
                </a:pathLst>
              </a:custGeom>
              <a:solidFill>
                <a:srgbClr val="B10043"/>
              </a:solidFill>
              <a:ln w="9525" cap="flat">
                <a:solidFill>
                  <a:sysClr val="window" lastClr="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26469"/>
                  </a:solidFill>
                  <a:effectLst/>
                  <a:uLnTx/>
                  <a:uFillTx/>
                  <a:latin typeface="Arial"/>
                  <a:ea typeface="+mn-ea"/>
                  <a:cs typeface="+mn-cs"/>
                </a:endParaRPr>
              </a:p>
            </p:txBody>
          </p:sp>
        </p:grpSp>
        <p:pic>
          <p:nvPicPr>
            <p:cNvPr id="173" name="Graphic 172" descr="Car">
              <a:extLst>
                <a:ext uri="{FF2B5EF4-FFF2-40B4-BE49-F238E27FC236}">
                  <a16:creationId xmlns:a16="http://schemas.microsoft.com/office/drawing/2014/main" id="{4D6E6A4C-238E-4357-8D63-5E4027EFC6D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542351" y="5364066"/>
              <a:ext cx="165402" cy="165402"/>
            </a:xfrm>
            <a:prstGeom prst="rect">
              <a:avLst/>
            </a:prstGeom>
          </p:spPr>
        </p:pic>
      </p:grpSp>
      <p:sp>
        <p:nvSpPr>
          <p:cNvPr id="176" name="Rectangle 175">
            <a:extLst>
              <a:ext uri="{FF2B5EF4-FFF2-40B4-BE49-F238E27FC236}">
                <a16:creationId xmlns:a16="http://schemas.microsoft.com/office/drawing/2014/main" id="{31C993D3-D4C2-4FDC-8BAA-422F32FAC38B}"/>
              </a:ext>
            </a:extLst>
          </p:cNvPr>
          <p:cNvSpPr/>
          <p:nvPr/>
        </p:nvSpPr>
        <p:spPr>
          <a:xfrm>
            <a:off x="5819915" y="5845154"/>
            <a:ext cx="366888" cy="461665"/>
          </a:xfrm>
          <a:prstGeom prst="rect">
            <a:avLst/>
          </a:prstGeom>
        </p:spPr>
        <p:txBody>
          <a:bodyPr wrap="square">
            <a:spAutoFit/>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3DCD58"/>
                </a:solidFill>
                <a:effectLst/>
                <a:uLnTx/>
                <a:uFillTx/>
                <a:latin typeface="Arial"/>
                <a:ea typeface="+mn-ea"/>
                <a:cs typeface="+mn-cs"/>
                <a:sym typeface="Wingdings" panose="05000000000000000000" pitchFamily="2" charset="2"/>
              </a:rPr>
              <a:t></a:t>
            </a:r>
            <a:endParaRPr kumimoji="0" lang="en-US" sz="2400" b="0" i="0" u="none" strike="noStrike" kern="1200" cap="none" spc="0" normalizeH="0" baseline="0" noProof="0">
              <a:ln>
                <a:noFill/>
              </a:ln>
              <a:solidFill>
                <a:srgbClr val="3DCD58"/>
              </a:solidFill>
              <a:effectLst/>
              <a:uLnTx/>
              <a:uFillTx/>
              <a:latin typeface="Arial"/>
              <a:ea typeface="+mn-ea"/>
              <a:cs typeface="+mn-cs"/>
            </a:endParaRPr>
          </a:p>
        </p:txBody>
      </p:sp>
      <p:sp>
        <p:nvSpPr>
          <p:cNvPr id="177" name="Rectangle 176">
            <a:extLst>
              <a:ext uri="{FF2B5EF4-FFF2-40B4-BE49-F238E27FC236}">
                <a16:creationId xmlns:a16="http://schemas.microsoft.com/office/drawing/2014/main" id="{BABA246D-E062-4B22-8EA9-1EC4EA070909}"/>
              </a:ext>
            </a:extLst>
          </p:cNvPr>
          <p:cNvSpPr/>
          <p:nvPr/>
        </p:nvSpPr>
        <p:spPr>
          <a:xfrm>
            <a:off x="1374529" y="5864154"/>
            <a:ext cx="1552028" cy="453970"/>
          </a:xfrm>
          <a:prstGeom prst="rect">
            <a:avLst/>
          </a:prstGeom>
        </p:spPr>
        <p:txBody>
          <a:bodyPr wrap="none">
            <a:spAutoFit/>
          </a:bodyPr>
          <a:lstStyle/>
          <a:p>
            <a:pPr marL="0" marR="0" lvl="0" indent="0" algn="ctr" defTabSz="457189" rtl="0" eaLnBrk="1" fontAlgn="auto" latinLnBrk="0" hangingPunct="1">
              <a:lnSpc>
                <a:spcPct val="100000"/>
              </a:lnSpc>
              <a:spcBef>
                <a:spcPts val="0"/>
              </a:spcBef>
              <a:spcAft>
                <a:spcPts val="300"/>
              </a:spcAft>
              <a:buClrTx/>
              <a:buSzTx/>
              <a:buFontTx/>
              <a:buNone/>
              <a:tabLst/>
              <a:defRPr/>
            </a:pPr>
            <a:r>
              <a:rPr kumimoji="0" lang="en-US" sz="1050" b="1" i="0" u="none" strike="noStrike" kern="1200" cap="none" spc="0" normalizeH="0" baseline="0" noProof="0">
                <a:ln>
                  <a:noFill/>
                </a:ln>
                <a:solidFill>
                  <a:srgbClr val="3DCD59"/>
                </a:solidFill>
                <a:effectLst/>
                <a:uLnTx/>
                <a:uFillTx/>
                <a:latin typeface="Arial"/>
                <a:ea typeface="+mn-ea"/>
                <a:cs typeface="+mn-cs"/>
              </a:rPr>
              <a:t>Emissions Reduction</a:t>
            </a:r>
          </a:p>
          <a:p>
            <a:pPr marL="0" marR="0" lvl="0" indent="0" algn="ctr" defTabSz="457189" rtl="0" eaLnBrk="1" fontAlgn="auto" latinLnBrk="0" hangingPunct="1">
              <a:lnSpc>
                <a:spcPct val="100000"/>
              </a:lnSpc>
              <a:spcBef>
                <a:spcPts val="0"/>
              </a:spcBef>
              <a:spcAft>
                <a:spcPts val="300"/>
              </a:spcAft>
              <a:buClrTx/>
              <a:buSzTx/>
              <a:buFontTx/>
              <a:buNone/>
              <a:tabLst/>
              <a:defRPr/>
            </a:pPr>
            <a:r>
              <a:rPr kumimoji="0" lang="en-US" sz="1050" b="1" i="0" u="none" strike="noStrike" kern="1200" cap="none" spc="0" normalizeH="0" baseline="0" noProof="0">
                <a:ln>
                  <a:noFill/>
                </a:ln>
                <a:solidFill>
                  <a:srgbClr val="3DCD59"/>
                </a:solidFill>
                <a:effectLst/>
                <a:uLnTx/>
                <a:uFillTx/>
                <a:latin typeface="Arial"/>
                <a:ea typeface="+mn-ea"/>
                <a:cs typeface="+mn-cs"/>
              </a:rPr>
              <a:t>Public Commitments</a:t>
            </a:r>
          </a:p>
        </p:txBody>
      </p:sp>
      <p:sp>
        <p:nvSpPr>
          <p:cNvPr id="178" name="TextBox 177">
            <a:extLst>
              <a:ext uri="{FF2B5EF4-FFF2-40B4-BE49-F238E27FC236}">
                <a16:creationId xmlns:a16="http://schemas.microsoft.com/office/drawing/2014/main" id="{0F577CE8-B10E-40BC-88B0-AD89CCCCBB2B}"/>
              </a:ext>
            </a:extLst>
          </p:cNvPr>
          <p:cNvSpPr txBox="1"/>
          <p:nvPr/>
        </p:nvSpPr>
        <p:spPr>
          <a:xfrm>
            <a:off x="100312" y="5873626"/>
            <a:ext cx="1231419" cy="230832"/>
          </a:xfrm>
          <a:prstGeom prst="rect">
            <a:avLst/>
          </a:prstGeom>
          <a:no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mn-ea"/>
                <a:cs typeface="+mn-cs"/>
              </a:rPr>
              <a:t>Business As Usual</a:t>
            </a:r>
          </a:p>
        </p:txBody>
      </p:sp>
      <p:sp>
        <p:nvSpPr>
          <p:cNvPr id="179" name="Rectangle 178">
            <a:extLst>
              <a:ext uri="{FF2B5EF4-FFF2-40B4-BE49-F238E27FC236}">
                <a16:creationId xmlns:a16="http://schemas.microsoft.com/office/drawing/2014/main" id="{D0425922-9865-4C33-BA33-F70065A1FE72}"/>
              </a:ext>
            </a:extLst>
          </p:cNvPr>
          <p:cNvSpPr/>
          <p:nvPr/>
        </p:nvSpPr>
        <p:spPr>
          <a:xfrm>
            <a:off x="3137140" y="5869978"/>
            <a:ext cx="1567671" cy="646331"/>
          </a:xfrm>
          <a:prstGeom prst="rect">
            <a:avLst/>
          </a:prstGeom>
        </p:spPr>
        <p:txBody>
          <a:bodyPr wrap="square">
            <a:spAutoFit/>
          </a:bodyPr>
          <a:lstStyle/>
          <a:p>
            <a:pPr marL="171450" marR="0" lvl="0" indent="-171450" algn="l" defTabSz="457189" rtl="0" eaLnBrk="1" fontAlgn="auto" latinLnBrk="0" hangingPunct="1">
              <a:lnSpc>
                <a:spcPct val="100000"/>
              </a:lnSpc>
              <a:spcBef>
                <a:spcPts val="0"/>
              </a:spcBef>
              <a:spcAft>
                <a:spcPts val="0"/>
              </a:spcAft>
              <a:buClr>
                <a:srgbClr val="3DCD58"/>
              </a:buClr>
              <a:buSzTx/>
              <a:buFont typeface="Arial" panose="020B0604020202020204" pitchFamily="34" charset="0"/>
              <a:buChar char="•"/>
              <a:tabLst/>
              <a:defRPr/>
            </a:pPr>
            <a:r>
              <a:rPr kumimoji="0" lang="en-US" sz="900" b="1" i="0" u="none" strike="noStrike" kern="1200" cap="none" spc="0" normalizeH="0" baseline="0" noProof="0">
                <a:ln>
                  <a:noFill/>
                </a:ln>
                <a:solidFill>
                  <a:prstClr val="white"/>
                </a:solidFill>
                <a:effectLst/>
                <a:uLnTx/>
                <a:uFillTx/>
                <a:latin typeface="Arial"/>
                <a:ea typeface="+mn-ea"/>
                <a:cs typeface="+mn-cs"/>
              </a:rPr>
              <a:t>SBT 1.5 2°C</a:t>
            </a:r>
          </a:p>
          <a:p>
            <a:pPr marL="171450" marR="0" lvl="0" indent="-171450" algn="l" defTabSz="457189" rtl="0" eaLnBrk="1" fontAlgn="auto" latinLnBrk="0" hangingPunct="1">
              <a:lnSpc>
                <a:spcPct val="100000"/>
              </a:lnSpc>
              <a:spcBef>
                <a:spcPts val="0"/>
              </a:spcBef>
              <a:spcAft>
                <a:spcPts val="0"/>
              </a:spcAft>
              <a:buClr>
                <a:srgbClr val="3DCD58"/>
              </a:buClr>
              <a:buSzTx/>
              <a:buFont typeface="Arial" panose="020B0604020202020204" pitchFamily="34" charset="0"/>
              <a:buChar char="•"/>
              <a:tabLst/>
              <a:defRPr/>
            </a:pPr>
            <a:r>
              <a:rPr kumimoji="0" lang="en-US" sz="900" b="1" i="0" u="none" strike="noStrike" kern="1200" cap="none" spc="0" normalizeH="0" baseline="0" noProof="0">
                <a:ln>
                  <a:noFill/>
                </a:ln>
                <a:solidFill>
                  <a:prstClr val="white"/>
                </a:solidFill>
                <a:effectLst/>
                <a:uLnTx/>
                <a:uFillTx/>
                <a:latin typeface="Arial"/>
                <a:ea typeface="+mn-ea"/>
                <a:cs typeface="+mn-cs"/>
              </a:rPr>
              <a:t>Carbon Neutral</a:t>
            </a:r>
          </a:p>
          <a:p>
            <a:pPr marL="171450" marR="0" lvl="0" indent="-171450" algn="l" defTabSz="457189" rtl="0" eaLnBrk="1" fontAlgn="auto" latinLnBrk="0" hangingPunct="1">
              <a:lnSpc>
                <a:spcPct val="100000"/>
              </a:lnSpc>
              <a:spcBef>
                <a:spcPts val="0"/>
              </a:spcBef>
              <a:spcAft>
                <a:spcPts val="0"/>
              </a:spcAft>
              <a:buClr>
                <a:srgbClr val="3DCD58"/>
              </a:buClr>
              <a:buSzTx/>
              <a:buFont typeface="Arial" panose="020B0604020202020204" pitchFamily="34" charset="0"/>
              <a:buChar char="•"/>
              <a:tabLst/>
              <a:defRPr/>
            </a:pPr>
            <a:r>
              <a:rPr kumimoji="0" lang="en-US" sz="900" b="1" i="0" u="none" strike="noStrike" kern="1200" cap="none" spc="0" normalizeH="0" baseline="0" noProof="0">
                <a:ln>
                  <a:noFill/>
                </a:ln>
                <a:solidFill>
                  <a:prstClr val="white"/>
                </a:solidFill>
                <a:effectLst/>
                <a:uLnTx/>
                <a:uFillTx/>
                <a:latin typeface="Arial"/>
                <a:ea typeface="+mn-ea"/>
                <a:cs typeface="+mn-cs"/>
              </a:rPr>
              <a:t>Net Zero</a:t>
            </a:r>
          </a:p>
          <a:p>
            <a:pPr marL="171450" marR="0" lvl="0" indent="-171450" algn="l" defTabSz="457189" rtl="0" eaLnBrk="1" fontAlgn="auto" latinLnBrk="0" hangingPunct="1">
              <a:lnSpc>
                <a:spcPct val="100000"/>
              </a:lnSpc>
              <a:spcBef>
                <a:spcPts val="0"/>
              </a:spcBef>
              <a:spcAft>
                <a:spcPts val="0"/>
              </a:spcAft>
              <a:buClr>
                <a:srgbClr val="3DCD58"/>
              </a:buClr>
              <a:buSzTx/>
              <a:buFont typeface="Arial" panose="020B0604020202020204" pitchFamily="34" charset="0"/>
              <a:buChar char="•"/>
              <a:tabLst/>
              <a:defRPr/>
            </a:pPr>
            <a:r>
              <a:rPr kumimoji="0" lang="en-US" sz="900" b="1" i="0" u="none" strike="noStrike" kern="1200" cap="none" spc="0" normalizeH="0" baseline="0" noProof="0">
                <a:ln>
                  <a:noFill/>
                </a:ln>
                <a:solidFill>
                  <a:prstClr val="white"/>
                </a:solidFill>
                <a:effectLst/>
                <a:uLnTx/>
                <a:uFillTx/>
                <a:latin typeface="Arial"/>
                <a:ea typeface="+mn-ea"/>
                <a:cs typeface="+mn-cs"/>
              </a:rPr>
              <a:t>Carbon Positive</a:t>
            </a:r>
          </a:p>
        </p:txBody>
      </p:sp>
      <p:sp>
        <p:nvSpPr>
          <p:cNvPr id="180" name="Rectangle 179">
            <a:extLst>
              <a:ext uri="{FF2B5EF4-FFF2-40B4-BE49-F238E27FC236}">
                <a16:creationId xmlns:a16="http://schemas.microsoft.com/office/drawing/2014/main" id="{86EBEEE0-A89D-413B-B8B3-3F7F8743E57F}"/>
              </a:ext>
            </a:extLst>
          </p:cNvPr>
          <p:cNvSpPr/>
          <p:nvPr/>
        </p:nvSpPr>
        <p:spPr>
          <a:xfrm>
            <a:off x="1314371" y="2554341"/>
            <a:ext cx="2433021" cy="1246495"/>
          </a:xfrm>
          <a:prstGeom prst="rect">
            <a:avLst/>
          </a:prstGeom>
          <a:ln>
            <a:noFill/>
          </a:ln>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lumMod val="75000"/>
                  </a:prstClr>
                </a:solidFill>
                <a:effectLst/>
                <a:uLnTx/>
                <a:uFillTx/>
                <a:latin typeface="Arial"/>
                <a:ea typeface="+mn-ea"/>
                <a:cs typeface="+mn-cs"/>
              </a:rPr>
              <a:t>MANAGE</a:t>
            </a:r>
          </a:p>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a:ea typeface="+mn-ea"/>
                <a:cs typeface="+mn-cs"/>
              </a:rPr>
              <a:t>Your Energy Supply</a:t>
            </a:r>
          </a:p>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Arial"/>
              <a:ea typeface="+mn-ea"/>
              <a:cs typeface="+mn-cs"/>
            </a:endParaRPr>
          </a:p>
          <a:p>
            <a:pPr marL="0" marR="0" lvl="0" indent="0" algn="l" defTabSz="3429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a:ea typeface="+mn-ea"/>
                <a:cs typeface="+mn-cs"/>
              </a:rPr>
              <a:t>You can’t manage what you don’t measure.</a:t>
            </a:r>
          </a:p>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Arial"/>
              <a:ea typeface="+mn-ea"/>
              <a:cs typeface="+mn-cs"/>
            </a:endParaRPr>
          </a:p>
          <a:p>
            <a:pPr marL="171450" marR="0" lvl="0" indent="-171450" algn="l" defTabSz="342900" rtl="0" eaLnBrk="1" fontAlgn="auto" latinLnBrk="0" hangingPunct="1">
              <a:lnSpc>
                <a:spcPct val="100000"/>
              </a:lnSpc>
              <a:spcBef>
                <a:spcPts val="0"/>
              </a:spcBef>
              <a:spcAft>
                <a:spcPts val="0"/>
              </a:spcAft>
              <a:buClr>
                <a:srgbClr val="3DCD58"/>
              </a:buClr>
              <a:buSzTx/>
              <a:buFont typeface="Arial" panose="020B0604020202020204" pitchFamily="34" charset="0"/>
              <a:buChar char="•"/>
              <a:tabLst/>
              <a:defRPr/>
            </a:pPr>
            <a:r>
              <a:rPr kumimoji="0" lang="en-US" sz="800" b="0" i="0" u="none" strike="noStrike" kern="1200" cap="none" spc="0" normalizeH="0" baseline="0" noProof="0">
                <a:ln>
                  <a:noFill/>
                </a:ln>
                <a:solidFill>
                  <a:srgbClr val="FFFFFF"/>
                </a:solidFill>
                <a:effectLst/>
                <a:uLnTx/>
                <a:uFillTx/>
                <a:latin typeface="Arial"/>
                <a:ea typeface="+mn-ea"/>
                <a:cs typeface="+mn-cs"/>
              </a:rPr>
              <a:t>Global Data Management</a:t>
            </a:r>
          </a:p>
          <a:p>
            <a:pPr marL="171450" marR="0" lvl="0" indent="-171450" algn="l" defTabSz="342900" rtl="0" eaLnBrk="1" fontAlgn="auto" latinLnBrk="0" hangingPunct="1">
              <a:lnSpc>
                <a:spcPct val="100000"/>
              </a:lnSpc>
              <a:spcBef>
                <a:spcPts val="0"/>
              </a:spcBef>
              <a:spcAft>
                <a:spcPts val="0"/>
              </a:spcAft>
              <a:buClr>
                <a:srgbClr val="3DCD58"/>
              </a:buClr>
              <a:buSzTx/>
              <a:buFont typeface="Arial" panose="020B0604020202020204" pitchFamily="34" charset="0"/>
              <a:buChar char="•"/>
              <a:tabLst/>
              <a:defRPr/>
            </a:pPr>
            <a:r>
              <a:rPr kumimoji="0" lang="en-US" sz="800" b="0" i="0" u="none" strike="noStrike" kern="1200" cap="none" spc="0" normalizeH="0" baseline="0" noProof="0">
                <a:ln>
                  <a:noFill/>
                </a:ln>
                <a:solidFill>
                  <a:srgbClr val="FFFFFF"/>
                </a:solidFill>
                <a:effectLst/>
                <a:uLnTx/>
                <a:uFillTx/>
                <a:latin typeface="Arial"/>
                <a:ea typeface="+mn-ea"/>
                <a:cs typeface="+mn-cs"/>
              </a:rPr>
              <a:t>Commodities Sourcing</a:t>
            </a:r>
          </a:p>
          <a:p>
            <a:pPr marL="171450" marR="0" lvl="0" indent="-171450" algn="l" defTabSz="342900" rtl="0" eaLnBrk="1" fontAlgn="auto" latinLnBrk="0" hangingPunct="1">
              <a:lnSpc>
                <a:spcPct val="100000"/>
              </a:lnSpc>
              <a:spcBef>
                <a:spcPts val="0"/>
              </a:spcBef>
              <a:spcAft>
                <a:spcPts val="0"/>
              </a:spcAft>
              <a:buClr>
                <a:srgbClr val="3DCD58"/>
              </a:buClr>
              <a:buSzTx/>
              <a:buFont typeface="Arial" panose="020B0604020202020204" pitchFamily="34" charset="0"/>
              <a:buChar char="•"/>
              <a:tabLst/>
              <a:defRPr/>
            </a:pPr>
            <a:r>
              <a:rPr kumimoji="0" lang="en-US" sz="800" b="0" i="0" u="none" strike="noStrike" kern="1200" cap="none" spc="0" normalizeH="0" baseline="0" noProof="0">
                <a:ln>
                  <a:noFill/>
                </a:ln>
                <a:solidFill>
                  <a:srgbClr val="FFFFFF"/>
                </a:solidFill>
                <a:effectLst/>
                <a:uLnTx/>
                <a:uFillTx/>
                <a:latin typeface="Arial"/>
                <a:ea typeface="+mn-ea"/>
                <a:cs typeface="+mn-cs"/>
              </a:rPr>
              <a:t>Emissions Management</a:t>
            </a:r>
          </a:p>
          <a:p>
            <a:pPr marL="171450" marR="0" lvl="0" indent="-171450" algn="l" defTabSz="342900" rtl="0" eaLnBrk="1" fontAlgn="auto" latinLnBrk="0" hangingPunct="1">
              <a:lnSpc>
                <a:spcPct val="100000"/>
              </a:lnSpc>
              <a:spcBef>
                <a:spcPts val="0"/>
              </a:spcBef>
              <a:spcAft>
                <a:spcPts val="0"/>
              </a:spcAft>
              <a:buClr>
                <a:srgbClr val="3DCD58"/>
              </a:buClr>
              <a:buSzTx/>
              <a:buFont typeface="Arial" panose="020B0604020202020204" pitchFamily="34" charset="0"/>
              <a:buChar char="•"/>
              <a:tabLst/>
              <a:defRPr/>
            </a:pPr>
            <a:r>
              <a:rPr kumimoji="0" lang="en-US" sz="800" b="0" i="0" u="none" strike="noStrike" kern="1200" cap="none" spc="0" normalizeH="0" baseline="0" noProof="0">
                <a:ln>
                  <a:noFill/>
                </a:ln>
                <a:solidFill>
                  <a:srgbClr val="FFFFFF"/>
                </a:solidFill>
                <a:effectLst/>
                <a:uLnTx/>
                <a:uFillTx/>
                <a:latin typeface="Arial"/>
                <a:ea typeface="+mn-ea"/>
                <a:cs typeface="+mn-cs"/>
              </a:rPr>
              <a:t>Portfolio Risk Management</a:t>
            </a:r>
          </a:p>
        </p:txBody>
      </p:sp>
      <p:sp>
        <p:nvSpPr>
          <p:cNvPr id="181" name="Rectangle 180">
            <a:extLst>
              <a:ext uri="{FF2B5EF4-FFF2-40B4-BE49-F238E27FC236}">
                <a16:creationId xmlns:a16="http://schemas.microsoft.com/office/drawing/2014/main" id="{A6A7FCBF-AC62-4355-B146-ACA0559F2B9A}"/>
              </a:ext>
            </a:extLst>
          </p:cNvPr>
          <p:cNvSpPr/>
          <p:nvPr/>
        </p:nvSpPr>
        <p:spPr>
          <a:xfrm>
            <a:off x="5819915" y="5843715"/>
            <a:ext cx="366888" cy="461665"/>
          </a:xfrm>
          <a:prstGeom prst="rect">
            <a:avLst/>
          </a:prstGeom>
        </p:spPr>
        <p:txBody>
          <a:bodyPr wrap="square">
            <a:spAutoFit/>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3DCD58"/>
                </a:solidFill>
                <a:effectLst/>
                <a:uLnTx/>
                <a:uFillTx/>
                <a:latin typeface="Arial"/>
                <a:ea typeface="+mn-ea"/>
                <a:cs typeface="+mn-cs"/>
                <a:sym typeface="Wingdings" panose="05000000000000000000" pitchFamily="2" charset="2"/>
              </a:rPr>
              <a:t></a:t>
            </a:r>
            <a:endParaRPr kumimoji="0" lang="en-US" sz="2400" b="0" i="0" u="none" strike="noStrike" kern="1200" cap="none" spc="0" normalizeH="0" baseline="0" noProof="0">
              <a:ln>
                <a:noFill/>
              </a:ln>
              <a:solidFill>
                <a:srgbClr val="3DCD58"/>
              </a:solidFill>
              <a:effectLst/>
              <a:uLnTx/>
              <a:uFillTx/>
              <a:latin typeface="Arial"/>
              <a:ea typeface="+mn-ea"/>
              <a:cs typeface="+mn-cs"/>
            </a:endParaRPr>
          </a:p>
        </p:txBody>
      </p:sp>
      <p:grpSp>
        <p:nvGrpSpPr>
          <p:cNvPr id="182" name="Group 181">
            <a:extLst>
              <a:ext uri="{FF2B5EF4-FFF2-40B4-BE49-F238E27FC236}">
                <a16:creationId xmlns:a16="http://schemas.microsoft.com/office/drawing/2014/main" id="{F92AD7A0-CE4C-45F7-B2D4-D852B7EABDCD}"/>
              </a:ext>
            </a:extLst>
          </p:cNvPr>
          <p:cNvGrpSpPr/>
          <p:nvPr/>
        </p:nvGrpSpPr>
        <p:grpSpPr>
          <a:xfrm>
            <a:off x="4479449" y="3982846"/>
            <a:ext cx="914400" cy="356067"/>
            <a:chOff x="4479449" y="3982846"/>
            <a:chExt cx="914400" cy="356067"/>
          </a:xfrm>
        </p:grpSpPr>
        <p:sp>
          <p:nvSpPr>
            <p:cNvPr id="183" name="Flowchart: Manual Input 182">
              <a:extLst>
                <a:ext uri="{FF2B5EF4-FFF2-40B4-BE49-F238E27FC236}">
                  <a16:creationId xmlns:a16="http://schemas.microsoft.com/office/drawing/2014/main" id="{8EF968E6-429E-41F0-B44D-5334CF23F1BE}"/>
                </a:ext>
              </a:extLst>
            </p:cNvPr>
            <p:cNvSpPr/>
            <p:nvPr/>
          </p:nvSpPr>
          <p:spPr>
            <a:xfrm>
              <a:off x="4531723" y="4161216"/>
              <a:ext cx="831586" cy="177697"/>
            </a:xfrm>
            <a:prstGeom prst="flowChartManualInput">
              <a:avLst/>
            </a:prstGeom>
            <a:solidFill>
              <a:srgbClr val="3DCD58">
                <a:alpha val="60000"/>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25000" noProof="0">
                <a:ln>
                  <a:noFill/>
                </a:ln>
                <a:solidFill>
                  <a:prstClr val="white"/>
                </a:solidFill>
                <a:effectLst/>
                <a:uLnTx/>
                <a:uFillTx/>
                <a:latin typeface="Arial"/>
                <a:ea typeface="+mn-ea"/>
                <a:cs typeface="+mn-cs"/>
              </a:endParaRPr>
            </a:p>
          </p:txBody>
        </p:sp>
        <p:sp>
          <p:nvSpPr>
            <p:cNvPr id="184" name="Flowchart: Manual Input 183">
              <a:extLst>
                <a:ext uri="{FF2B5EF4-FFF2-40B4-BE49-F238E27FC236}">
                  <a16:creationId xmlns:a16="http://schemas.microsoft.com/office/drawing/2014/main" id="{F5F40B84-1549-4719-AADA-2A66B59F9086}"/>
                </a:ext>
              </a:extLst>
            </p:cNvPr>
            <p:cNvSpPr/>
            <p:nvPr/>
          </p:nvSpPr>
          <p:spPr>
            <a:xfrm rot="10800000">
              <a:off x="4532199" y="3982846"/>
              <a:ext cx="831110" cy="165903"/>
            </a:xfrm>
            <a:prstGeom prst="flowChartManualInput">
              <a:avLst/>
            </a:prstGeom>
            <a:solidFill>
              <a:srgbClr val="3DCD58">
                <a:alpha val="60000"/>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25000" noProof="0">
                <a:ln>
                  <a:noFill/>
                </a:ln>
                <a:solidFill>
                  <a:prstClr val="white"/>
                </a:solidFill>
                <a:effectLst/>
                <a:uLnTx/>
                <a:uFillTx/>
                <a:latin typeface="Arial"/>
                <a:ea typeface="+mn-ea"/>
                <a:cs typeface="+mn-cs"/>
              </a:endParaRPr>
            </a:p>
          </p:txBody>
        </p:sp>
        <p:cxnSp>
          <p:nvCxnSpPr>
            <p:cNvPr id="185" name="Straight Connector 184">
              <a:extLst>
                <a:ext uri="{FF2B5EF4-FFF2-40B4-BE49-F238E27FC236}">
                  <a16:creationId xmlns:a16="http://schemas.microsoft.com/office/drawing/2014/main" id="{3A5DB0A1-7CBC-4051-9721-B1F68CC9CBDE}"/>
                </a:ext>
              </a:extLst>
            </p:cNvPr>
            <p:cNvCxnSpPr>
              <a:cxnSpLocks/>
            </p:cNvCxnSpPr>
            <p:nvPr/>
          </p:nvCxnSpPr>
          <p:spPr>
            <a:xfrm flipV="1">
              <a:off x="4479449" y="4110090"/>
              <a:ext cx="914400" cy="37309"/>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6EEEDB83-92D9-4772-B183-6BCD22625822}"/>
                </a:ext>
              </a:extLst>
            </p:cNvPr>
            <p:cNvCxnSpPr>
              <a:cxnSpLocks/>
            </p:cNvCxnSpPr>
            <p:nvPr/>
          </p:nvCxnSpPr>
          <p:spPr>
            <a:xfrm flipV="1">
              <a:off x="4479449" y="4160975"/>
              <a:ext cx="914400" cy="3938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nvGrpSpPr>
          <p:cNvPr id="187" name="Group 186">
            <a:extLst>
              <a:ext uri="{FF2B5EF4-FFF2-40B4-BE49-F238E27FC236}">
                <a16:creationId xmlns:a16="http://schemas.microsoft.com/office/drawing/2014/main" id="{2347D795-3DA0-4854-BC71-D8A8893B1E2F}"/>
              </a:ext>
            </a:extLst>
          </p:cNvPr>
          <p:cNvGrpSpPr/>
          <p:nvPr/>
        </p:nvGrpSpPr>
        <p:grpSpPr>
          <a:xfrm>
            <a:off x="5323449" y="4338824"/>
            <a:ext cx="934960" cy="834759"/>
            <a:chOff x="5333177" y="4348552"/>
            <a:chExt cx="934960" cy="834759"/>
          </a:xfrm>
        </p:grpSpPr>
        <p:sp>
          <p:nvSpPr>
            <p:cNvPr id="188" name="Flowchart: Manual Input 187">
              <a:extLst>
                <a:ext uri="{FF2B5EF4-FFF2-40B4-BE49-F238E27FC236}">
                  <a16:creationId xmlns:a16="http://schemas.microsoft.com/office/drawing/2014/main" id="{E2243881-6419-49B0-BEF3-82C0108C8DAA}"/>
                </a:ext>
              </a:extLst>
            </p:cNvPr>
            <p:cNvSpPr/>
            <p:nvPr/>
          </p:nvSpPr>
          <p:spPr>
            <a:xfrm>
              <a:off x="5380714" y="4753300"/>
              <a:ext cx="831583" cy="430011"/>
            </a:xfrm>
            <a:prstGeom prst="flowChartManualInput">
              <a:avLst/>
            </a:prstGeom>
            <a:solidFill>
              <a:srgbClr val="E47F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25000" noProof="0">
                <a:ln>
                  <a:noFill/>
                </a:ln>
                <a:solidFill>
                  <a:prstClr val="white"/>
                </a:solidFill>
                <a:effectLst/>
                <a:uLnTx/>
                <a:uFillTx/>
                <a:latin typeface="Arial"/>
                <a:ea typeface="+mn-ea"/>
                <a:cs typeface="+mn-cs"/>
              </a:endParaRPr>
            </a:p>
          </p:txBody>
        </p:sp>
        <p:sp>
          <p:nvSpPr>
            <p:cNvPr id="189" name="Flowchart: Manual Input 188">
              <a:extLst>
                <a:ext uri="{FF2B5EF4-FFF2-40B4-BE49-F238E27FC236}">
                  <a16:creationId xmlns:a16="http://schemas.microsoft.com/office/drawing/2014/main" id="{10EA0517-C528-4FF8-AC6F-7B788B018A02}"/>
                </a:ext>
              </a:extLst>
            </p:cNvPr>
            <p:cNvSpPr/>
            <p:nvPr/>
          </p:nvSpPr>
          <p:spPr>
            <a:xfrm rot="10800000">
              <a:off x="5384031" y="4348552"/>
              <a:ext cx="831107" cy="450443"/>
            </a:xfrm>
            <a:prstGeom prst="flowChartManualInput">
              <a:avLst/>
            </a:prstGeom>
            <a:solidFill>
              <a:srgbClr val="E47F00"/>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US" sz="900" b="1" i="0" u="none" strike="noStrike" kern="0" cap="none" spc="0" normalizeH="0" baseline="-25000" noProof="0">
                <a:ln>
                  <a:noFill/>
                </a:ln>
                <a:solidFill>
                  <a:prstClr val="white"/>
                </a:solidFill>
                <a:effectLst/>
                <a:uLnTx/>
                <a:uFillTx/>
                <a:latin typeface="Arial"/>
                <a:ea typeface="+mn-ea"/>
                <a:cs typeface="+mn-cs"/>
              </a:endParaRPr>
            </a:p>
          </p:txBody>
        </p:sp>
        <p:cxnSp>
          <p:nvCxnSpPr>
            <p:cNvPr id="190" name="Straight Connector 189">
              <a:extLst>
                <a:ext uri="{FF2B5EF4-FFF2-40B4-BE49-F238E27FC236}">
                  <a16:creationId xmlns:a16="http://schemas.microsoft.com/office/drawing/2014/main" id="{9629AFCF-F1FE-4C3F-9A0D-CDF93260B760}"/>
                </a:ext>
              </a:extLst>
            </p:cNvPr>
            <p:cNvCxnSpPr>
              <a:cxnSpLocks/>
            </p:cNvCxnSpPr>
            <p:nvPr/>
          </p:nvCxnSpPr>
          <p:spPr>
            <a:xfrm flipV="1">
              <a:off x="5339413" y="4697699"/>
              <a:ext cx="928724" cy="10185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C7C2028F-C3CA-413C-81A8-8701D0B8763F}"/>
                </a:ext>
              </a:extLst>
            </p:cNvPr>
            <p:cNvCxnSpPr>
              <a:cxnSpLocks/>
            </p:cNvCxnSpPr>
            <p:nvPr/>
          </p:nvCxnSpPr>
          <p:spPr>
            <a:xfrm flipV="1">
              <a:off x="5339413" y="4749175"/>
              <a:ext cx="914400" cy="10057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92" name="Freeform 9">
              <a:extLst>
                <a:ext uri="{FF2B5EF4-FFF2-40B4-BE49-F238E27FC236}">
                  <a16:creationId xmlns:a16="http://schemas.microsoft.com/office/drawing/2014/main" id="{C5345BF4-2E58-437A-B249-B24F22A703C6}"/>
                </a:ext>
              </a:extLst>
            </p:cNvPr>
            <p:cNvSpPr>
              <a:spLocks/>
            </p:cNvSpPr>
            <p:nvPr/>
          </p:nvSpPr>
          <p:spPr bwMode="auto">
            <a:xfrm>
              <a:off x="5676344" y="4837925"/>
              <a:ext cx="274319" cy="274321"/>
            </a:xfrm>
            <a:custGeom>
              <a:avLst/>
              <a:gdLst>
                <a:gd name="T0" fmla="*/ 7 w 372"/>
                <a:gd name="T1" fmla="*/ 174 h 373"/>
                <a:gd name="T2" fmla="*/ 199 w 372"/>
                <a:gd name="T3" fmla="*/ 8 h 373"/>
                <a:gd name="T4" fmla="*/ 365 w 372"/>
                <a:gd name="T5" fmla="*/ 200 h 373"/>
                <a:gd name="T6" fmla="*/ 173 w 372"/>
                <a:gd name="T7" fmla="*/ 366 h 373"/>
                <a:gd name="T8" fmla="*/ 7 w 372"/>
                <a:gd name="T9" fmla="*/ 174 h 373"/>
              </a:gdLst>
              <a:ahLst/>
              <a:cxnLst>
                <a:cxn ang="0">
                  <a:pos x="T0" y="T1"/>
                </a:cxn>
                <a:cxn ang="0">
                  <a:pos x="T2" y="T3"/>
                </a:cxn>
                <a:cxn ang="0">
                  <a:pos x="T4" y="T5"/>
                </a:cxn>
                <a:cxn ang="0">
                  <a:pos x="T6" y="T7"/>
                </a:cxn>
                <a:cxn ang="0">
                  <a:pos x="T8" y="T9"/>
                </a:cxn>
              </a:cxnLst>
              <a:rect l="0" t="0" r="r" b="b"/>
              <a:pathLst>
                <a:path w="372" h="373">
                  <a:moveTo>
                    <a:pt x="7" y="174"/>
                  </a:moveTo>
                  <a:cubicBezTo>
                    <a:pt x="14" y="75"/>
                    <a:pt x="100" y="0"/>
                    <a:pt x="199" y="8"/>
                  </a:cubicBezTo>
                  <a:cubicBezTo>
                    <a:pt x="298" y="15"/>
                    <a:pt x="372" y="101"/>
                    <a:pt x="365" y="200"/>
                  </a:cubicBezTo>
                  <a:cubicBezTo>
                    <a:pt x="358" y="299"/>
                    <a:pt x="272" y="373"/>
                    <a:pt x="173" y="366"/>
                  </a:cubicBezTo>
                  <a:cubicBezTo>
                    <a:pt x="74" y="359"/>
                    <a:pt x="0" y="273"/>
                    <a:pt x="7" y="174"/>
                  </a:cubicBezTo>
                  <a:close/>
                </a:path>
              </a:pathLst>
            </a:custGeom>
            <a:solidFill>
              <a:srgbClr val="E47F00"/>
            </a:solidFill>
            <a:ln w="9525" cap="flat">
              <a:solidFill>
                <a:sysClr val="window" lastClr="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26469"/>
                </a:solidFill>
                <a:effectLst/>
                <a:uLnTx/>
                <a:uFillTx/>
                <a:latin typeface="Arial"/>
                <a:ea typeface="+mn-ea"/>
                <a:cs typeface="+mn-cs"/>
              </a:endParaRPr>
            </a:p>
          </p:txBody>
        </p:sp>
        <p:pic>
          <p:nvPicPr>
            <p:cNvPr id="193" name="Graphic 192" descr="Sustainability">
              <a:extLst>
                <a:ext uri="{FF2B5EF4-FFF2-40B4-BE49-F238E27FC236}">
                  <a16:creationId xmlns:a16="http://schemas.microsoft.com/office/drawing/2014/main" id="{00E4EF03-1A90-444F-BFD9-BD11A98E8C8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724980" y="4886562"/>
              <a:ext cx="171806" cy="171806"/>
            </a:xfrm>
            <a:prstGeom prst="rect">
              <a:avLst/>
            </a:prstGeom>
          </p:spPr>
        </p:pic>
        <p:sp>
          <p:nvSpPr>
            <p:cNvPr id="194" name="Rectangle 193">
              <a:extLst>
                <a:ext uri="{FF2B5EF4-FFF2-40B4-BE49-F238E27FC236}">
                  <a16:creationId xmlns:a16="http://schemas.microsoft.com/office/drawing/2014/main" id="{860A4EB6-4407-4704-AF32-2B29A8079B09}"/>
                </a:ext>
              </a:extLst>
            </p:cNvPr>
            <p:cNvSpPr/>
            <p:nvPr/>
          </p:nvSpPr>
          <p:spPr>
            <a:xfrm>
              <a:off x="5333177" y="4351356"/>
              <a:ext cx="928724" cy="459733"/>
            </a:xfrm>
            <a:prstGeom prst="rect">
              <a:avLst/>
            </a:prstGeom>
            <a:noFill/>
            <a:ln w="3175" cap="flat" cmpd="sng" algn="ctr">
              <a:noFill/>
              <a:prstDash val="solid"/>
            </a:ln>
            <a:effectLst/>
          </p:spPr>
          <p:txBody>
            <a:bodyPr rtlCol="0" anchor="t"/>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white"/>
                  </a:solidFill>
                  <a:effectLst/>
                  <a:uLnTx/>
                  <a:uFillTx/>
                  <a:latin typeface="Arial"/>
                  <a:ea typeface="+mn-ea"/>
                  <a:cs typeface="+mn-cs"/>
                </a:rPr>
                <a:t>Value and Supply Chain</a:t>
              </a:r>
            </a:p>
          </p:txBody>
        </p:sp>
      </p:grpSp>
      <p:sp>
        <p:nvSpPr>
          <p:cNvPr id="195" name="Rectangle 194">
            <a:extLst>
              <a:ext uri="{FF2B5EF4-FFF2-40B4-BE49-F238E27FC236}">
                <a16:creationId xmlns:a16="http://schemas.microsoft.com/office/drawing/2014/main" id="{5D072D28-6EF6-400B-903D-89A20903AFAC}"/>
              </a:ext>
            </a:extLst>
          </p:cNvPr>
          <p:cNvSpPr/>
          <p:nvPr/>
        </p:nvSpPr>
        <p:spPr>
          <a:xfrm>
            <a:off x="6127008" y="5170917"/>
            <a:ext cx="998991" cy="230832"/>
          </a:xfrm>
          <a:prstGeom prst="rect">
            <a:avLst/>
          </a:prstGeom>
        </p:spPr>
        <p:txBody>
          <a:bodyPr wrap="none">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prstClr val="white"/>
                </a:solidFill>
                <a:effectLst/>
                <a:uLnTx/>
                <a:uFillTx/>
                <a:latin typeface="Arial"/>
                <a:ea typeface="+mn-ea"/>
                <a:cs typeface="+mn-cs"/>
              </a:rPr>
              <a:t>Transportation</a:t>
            </a:r>
          </a:p>
        </p:txBody>
      </p:sp>
      <p:sp>
        <p:nvSpPr>
          <p:cNvPr id="10" name="Footer Placeholder 1">
            <a:extLst>
              <a:ext uri="{FF2B5EF4-FFF2-40B4-BE49-F238E27FC236}">
                <a16:creationId xmlns:a16="http://schemas.microsoft.com/office/drawing/2014/main" id="{AC327DD7-CA1E-4CF8-9F4B-7F0BB11BD1FE}"/>
              </a:ext>
            </a:extLst>
          </p:cNvPr>
          <p:cNvSpPr txBox="1">
            <a:spLocks/>
          </p:cNvSpPr>
          <p:nvPr/>
        </p:nvSpPr>
        <p:spPr>
          <a:xfrm>
            <a:off x="0" y="6491818"/>
            <a:ext cx="4114800" cy="366183"/>
          </a:xfrm>
          <a:prstGeom prst="rect">
            <a:avLst/>
          </a:prstGeom>
        </p:spPr>
        <p:txBody>
          <a:bodyPr lIns="324000"/>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Arial" panose="020B0604020202020204" pitchFamily="34" charset="0"/>
                <a:ea typeface="Microsoft YaHei" panose="020B0503020204020204" pitchFamily="34" charset="-122"/>
                <a:cs typeface="Arial" panose="020B0604020202020204" pitchFamily="34" charset="0"/>
              </a:rPr>
              <a:t>© 2020 Schneider Electric, All Rights Reserved </a:t>
            </a:r>
            <a:r>
              <a:rPr kumimoji="0" lang="en-US" sz="800" b="0" i="0" u="none" strike="noStrike" kern="1200" cap="none" spc="0" normalizeH="0" baseline="0" noProof="0">
                <a:ln>
                  <a:noFill/>
                </a:ln>
                <a:solidFill>
                  <a:prstClr val="white"/>
                </a:solidFill>
                <a:effectLst/>
                <a:uLnTx/>
                <a:uFillTx/>
                <a:latin typeface="Arial"/>
                <a:ea typeface="Microsoft YaHei" panose="020B0503020204020204" pitchFamily="34" charset="-122"/>
                <a:cs typeface="Arial"/>
              </a:rPr>
              <a:t>| </a:t>
            </a:r>
            <a:r>
              <a:rPr kumimoji="0" lang="en-US" sz="800" b="0" i="0" u="none" strike="noStrike" kern="1200" cap="none" spc="0" normalizeH="0" baseline="0" noProof="0">
                <a:ln>
                  <a:noFill/>
                </a:ln>
                <a:solidFill>
                  <a:srgbClr val="3DCD58"/>
                </a:solidFill>
                <a:effectLst/>
                <a:uLnTx/>
                <a:uFillTx/>
                <a:latin typeface="Arial"/>
                <a:ea typeface="Microsoft YaHei" panose="020B0503020204020204" pitchFamily="34" charset="-122"/>
                <a:cs typeface="Arial"/>
              </a:rPr>
              <a:t>Page </a:t>
            </a:r>
            <a:fld id="{5A9C12DC-491F-9444-86A2-13AC5C62A2FC}" type="slidenum">
              <a:rPr kumimoji="0" lang="en-US" sz="800" b="0" i="0" u="none" strike="noStrike" kern="1200" cap="none" spc="0" normalizeH="0" baseline="0" noProof="0">
                <a:ln>
                  <a:noFill/>
                </a:ln>
                <a:solidFill>
                  <a:srgbClr val="3DCD58"/>
                </a:solidFill>
                <a:effectLst/>
                <a:uLnTx/>
                <a:uFillTx/>
                <a:latin typeface="Arial"/>
                <a:ea typeface="Microsoft YaHei" panose="020B0503020204020204" pitchFamily="34" charset="-122"/>
                <a:cs typeface="Arial"/>
              </a:rPr>
              <a:pPr marL="0" marR="0" lvl="0" indent="0" algn="l" defTabSz="914354"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a:ln>
                <a:noFill/>
              </a:ln>
              <a:solidFill>
                <a:srgbClr val="3DCD58"/>
              </a:solidFill>
              <a:effectLst/>
              <a:uLnTx/>
              <a:uFillTx/>
              <a:latin typeface="Arial"/>
              <a:ea typeface="Microsoft YaHei" panose="020B0503020204020204" pitchFamily="34" charset="-122"/>
              <a:cs typeface="Arial"/>
            </a:endParaRPr>
          </a:p>
        </p:txBody>
      </p:sp>
      <p:sp>
        <p:nvSpPr>
          <p:cNvPr id="96" name="Rectangle 95">
            <a:extLst>
              <a:ext uri="{FF2B5EF4-FFF2-40B4-BE49-F238E27FC236}">
                <a16:creationId xmlns:a16="http://schemas.microsoft.com/office/drawing/2014/main" id="{9A2129B7-EACA-4412-B42F-BB975528B820}"/>
              </a:ext>
            </a:extLst>
          </p:cNvPr>
          <p:cNvSpPr/>
          <p:nvPr/>
        </p:nvSpPr>
        <p:spPr>
          <a:xfrm>
            <a:off x="1314075" y="1347417"/>
            <a:ext cx="6858000" cy="4515298"/>
          </a:xfrm>
          <a:prstGeom prst="rect">
            <a:avLst/>
          </a:prstGeom>
          <a:noFill/>
          <a:ln>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7" name="Rectangle 96">
            <a:extLst>
              <a:ext uri="{FF2B5EF4-FFF2-40B4-BE49-F238E27FC236}">
                <a16:creationId xmlns:a16="http://schemas.microsoft.com/office/drawing/2014/main" id="{7143FA4F-5A42-4CDE-994C-0617C95925B9}"/>
              </a:ext>
            </a:extLst>
          </p:cNvPr>
          <p:cNvSpPr/>
          <p:nvPr/>
        </p:nvSpPr>
        <p:spPr>
          <a:xfrm>
            <a:off x="8357258" y="1296677"/>
            <a:ext cx="3814971" cy="464743"/>
          </a:xfrm>
          <a:prstGeom prst="rect">
            <a:avLst/>
          </a:prstGeom>
        </p:spPr>
        <p:txBody>
          <a:bodyPr wrap="square">
            <a:spAutoFit/>
          </a:bodyPr>
          <a:lstStyle/>
          <a:p>
            <a:pPr marL="342888" marR="0" lvl="0" indent="-342888" algn="l" defTabSz="914377" rtl="0" eaLnBrk="1" fontAlgn="auto" latinLnBrk="0" hangingPunct="1">
              <a:lnSpc>
                <a:spcPct val="80000"/>
              </a:lnSpc>
              <a:spcBef>
                <a:spcPct val="20000"/>
              </a:spcBef>
              <a:spcAft>
                <a:spcPts val="0"/>
              </a:spcAft>
              <a:buClrTx/>
              <a:buSzTx/>
              <a:buFontTx/>
              <a:buNone/>
              <a:tabLst/>
              <a:defRPr/>
            </a:pPr>
            <a:r>
              <a:rPr kumimoji="0" lang="en-HK" sz="1400" b="1" i="0" u="none" strike="noStrike" kern="1200" cap="none" spc="0" normalizeH="0" baseline="0" noProof="0">
                <a:ln>
                  <a:noFill/>
                </a:ln>
                <a:solidFill>
                  <a:srgbClr val="3DCD59"/>
                </a:solidFill>
                <a:effectLst/>
                <a:uLnTx/>
                <a:uFillTx/>
                <a:latin typeface="Arial" panose="020B0604020202020204" pitchFamily="34" charset="0"/>
                <a:ea typeface="+mn-ea"/>
                <a:cs typeface="Arial" panose="020B0604020202020204" pitchFamily="34" charset="0"/>
              </a:rPr>
              <a:t>Energy &amp; Sustainability Services</a:t>
            </a:r>
            <a:endParaRPr kumimoji="0" lang="en-HK"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a:p>
            <a:pPr marL="342888" marR="0" lvl="0" indent="-342888" algn="l" defTabSz="914377" rtl="0" eaLnBrk="1" fontAlgn="auto" latinLnBrk="0" hangingPunct="1">
              <a:lnSpc>
                <a:spcPct val="80000"/>
              </a:lnSpc>
              <a:spcBef>
                <a:spcPct val="20000"/>
              </a:spcBef>
              <a:spcAft>
                <a:spcPts val="0"/>
              </a:spcAft>
              <a:buClrTx/>
              <a:buSzTx/>
              <a:buFontTx/>
              <a:buNone/>
              <a:tabLst/>
              <a:defRPr/>
            </a:pPr>
            <a:r>
              <a:rPr kumimoji="0" lang="en-HK" sz="13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Integrated Services for Carbon Management</a:t>
            </a:r>
          </a:p>
        </p:txBody>
      </p:sp>
      <p:sp>
        <p:nvSpPr>
          <p:cNvPr id="99" name="Rectangle 98">
            <a:extLst>
              <a:ext uri="{FF2B5EF4-FFF2-40B4-BE49-F238E27FC236}">
                <a16:creationId xmlns:a16="http://schemas.microsoft.com/office/drawing/2014/main" id="{36574384-AC2C-43A5-A634-D5C6C8F46DC4}"/>
              </a:ext>
            </a:extLst>
          </p:cNvPr>
          <p:cNvSpPr/>
          <p:nvPr/>
        </p:nvSpPr>
        <p:spPr>
          <a:xfrm>
            <a:off x="8357258" y="1790555"/>
            <a:ext cx="3648258" cy="938719"/>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42B4E6"/>
                </a:solidFill>
                <a:effectLst/>
                <a:uLnTx/>
                <a:uFillTx/>
                <a:latin typeface="Arial"/>
                <a:ea typeface="+mn-ea"/>
                <a:cs typeface="+mn-cs"/>
              </a:rPr>
              <a:t>Energy Efficiency Potential Identific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42B4E6"/>
                </a:solidFill>
                <a:effectLst/>
                <a:uLnTx/>
                <a:uFillTx/>
                <a:latin typeface="Arial"/>
                <a:ea typeface="+mn-ea"/>
                <a:cs typeface="+mn-cs"/>
              </a:rPr>
              <a:t>Project and Program Develop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42B4E6"/>
                </a:solidFill>
                <a:effectLst/>
                <a:uLnTx/>
                <a:uFillTx/>
                <a:latin typeface="Arial"/>
                <a:ea typeface="+mn-ea"/>
                <a:cs typeface="+mn-cs"/>
              </a:rPr>
              <a:t>On site Project Delivery (EAAS, EPC, Turnke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42B4E6"/>
                </a:solidFill>
                <a:effectLst/>
                <a:uLnTx/>
                <a:uFillTx/>
                <a:latin typeface="Arial"/>
                <a:ea typeface="+mn-ea"/>
                <a:cs typeface="+mn-cs"/>
              </a:rPr>
              <a:t>Performance Follow-u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42B4E6"/>
                </a:solidFill>
                <a:effectLst/>
                <a:uLnTx/>
                <a:uFillTx/>
                <a:latin typeface="Arial"/>
                <a:ea typeface="+mn-ea"/>
                <a:cs typeface="+mn-cs"/>
              </a:rPr>
              <a:t>Microgrid Technology</a:t>
            </a:r>
          </a:p>
        </p:txBody>
      </p:sp>
      <p:sp>
        <p:nvSpPr>
          <p:cNvPr id="102" name="Rectangle 101">
            <a:extLst>
              <a:ext uri="{FF2B5EF4-FFF2-40B4-BE49-F238E27FC236}">
                <a16:creationId xmlns:a16="http://schemas.microsoft.com/office/drawing/2014/main" id="{81160F57-2C3E-43C7-9A60-B2A294E3C890}"/>
              </a:ext>
            </a:extLst>
          </p:cNvPr>
          <p:cNvSpPr/>
          <p:nvPr/>
        </p:nvSpPr>
        <p:spPr>
          <a:xfrm>
            <a:off x="8357258" y="2715351"/>
            <a:ext cx="3814971" cy="938719"/>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3DCD58"/>
                </a:solidFill>
                <a:effectLst/>
                <a:uLnTx/>
                <a:uFillTx/>
                <a:latin typeface="Arial"/>
                <a:ea typeface="+mn-ea"/>
                <a:cs typeface="+mn-cs"/>
              </a:rPr>
              <a:t>RE Opportunity Assess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3DCD58"/>
                </a:solidFill>
                <a:effectLst/>
                <a:uLnTx/>
                <a:uFillTx/>
                <a:latin typeface="Arial"/>
                <a:ea typeface="+mn-ea"/>
                <a:cs typeface="+mn-cs"/>
              </a:rPr>
              <a:t>On Site Project Development and Deliver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3DCD58"/>
                </a:solidFill>
                <a:effectLst/>
                <a:uLnTx/>
                <a:uFillTx/>
                <a:latin typeface="Arial"/>
                <a:ea typeface="+mn-ea"/>
                <a:cs typeface="+mn-cs"/>
              </a:rPr>
              <a:t>Off Site RE Sourcing (PPAs, </a:t>
            </a:r>
            <a:r>
              <a:rPr kumimoji="0" lang="en-US" sz="1100" b="0" i="0" u="none" strike="noStrike" kern="1200" cap="none" spc="0" normalizeH="0" baseline="0" noProof="0" err="1">
                <a:ln>
                  <a:noFill/>
                </a:ln>
                <a:solidFill>
                  <a:srgbClr val="3DCD58"/>
                </a:solidFill>
                <a:effectLst/>
                <a:uLnTx/>
                <a:uFillTx/>
                <a:latin typeface="Arial"/>
                <a:ea typeface="+mn-ea"/>
                <a:cs typeface="+mn-cs"/>
              </a:rPr>
              <a:t>vPPAs</a:t>
            </a:r>
            <a:r>
              <a:rPr kumimoji="0" lang="en-US" sz="1100" b="0" i="0" u="none" strike="noStrike" kern="1200" cap="none" spc="0" normalizeH="0" baseline="0" noProof="0">
                <a:ln>
                  <a:noFill/>
                </a:ln>
                <a:solidFill>
                  <a:srgbClr val="3DCD58"/>
                </a:solidFill>
                <a:effectLst/>
                <a:uLnTx/>
                <a:uFillTx/>
                <a:latin typeface="Arial"/>
                <a:ea typeface="+mn-ea"/>
                <a:cs typeface="+mn-cs"/>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3DCD58"/>
                </a:solidFill>
                <a:effectLst/>
                <a:uLnTx/>
                <a:uFillTx/>
                <a:latin typeface="Arial"/>
                <a:ea typeface="+mn-ea"/>
                <a:cs typeface="+mn-cs"/>
              </a:rPr>
              <a:t>Operational Serv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3DCD58"/>
                </a:solidFill>
                <a:effectLst/>
                <a:uLnTx/>
                <a:uFillTx/>
                <a:latin typeface="Arial"/>
                <a:ea typeface="+mn-ea"/>
                <a:cs typeface="+mn-cs"/>
              </a:rPr>
              <a:t>Distributed Energy Resources (DERs)</a:t>
            </a:r>
          </a:p>
        </p:txBody>
      </p:sp>
      <p:sp>
        <p:nvSpPr>
          <p:cNvPr id="104" name="Rectangle 103">
            <a:extLst>
              <a:ext uri="{FF2B5EF4-FFF2-40B4-BE49-F238E27FC236}">
                <a16:creationId xmlns:a16="http://schemas.microsoft.com/office/drawing/2014/main" id="{6BE5A868-3EF2-4027-B4B4-580836F6E45C}"/>
              </a:ext>
            </a:extLst>
          </p:cNvPr>
          <p:cNvSpPr/>
          <p:nvPr/>
        </p:nvSpPr>
        <p:spPr>
          <a:xfrm>
            <a:off x="8357258" y="3640147"/>
            <a:ext cx="3648258" cy="769441"/>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2F8B49"/>
                </a:solidFill>
                <a:effectLst/>
                <a:uLnTx/>
                <a:uFillTx/>
                <a:latin typeface="Arial"/>
                <a:ea typeface="+mn-ea"/>
                <a:cs typeface="+mn-cs"/>
              </a:rPr>
              <a:t>VER Market and Standards Overview</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2F8B49"/>
                </a:solidFill>
                <a:effectLst/>
                <a:uLnTx/>
                <a:uFillTx/>
                <a:latin typeface="Arial"/>
                <a:ea typeface="+mn-ea"/>
                <a:cs typeface="+mn-cs"/>
              </a:rPr>
              <a:t>Offset Strategy Develop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2F8B49"/>
                </a:solidFill>
                <a:effectLst/>
                <a:uLnTx/>
                <a:uFillTx/>
                <a:latin typeface="Arial"/>
                <a:ea typeface="+mn-ea"/>
                <a:cs typeface="+mn-cs"/>
              </a:rPr>
              <a:t>Offset Sourc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2F8B49"/>
                </a:solidFill>
                <a:effectLst/>
                <a:uLnTx/>
                <a:uFillTx/>
                <a:latin typeface="Arial"/>
                <a:ea typeface="+mn-ea"/>
                <a:cs typeface="+mn-cs"/>
              </a:rPr>
              <a:t>Communication and Reporting</a:t>
            </a:r>
          </a:p>
        </p:txBody>
      </p:sp>
      <p:sp>
        <p:nvSpPr>
          <p:cNvPr id="112" name="Rectangle 111">
            <a:extLst>
              <a:ext uri="{FF2B5EF4-FFF2-40B4-BE49-F238E27FC236}">
                <a16:creationId xmlns:a16="http://schemas.microsoft.com/office/drawing/2014/main" id="{6D9B2210-EFBD-4847-9FB1-192D7AC8E97C}"/>
              </a:ext>
            </a:extLst>
          </p:cNvPr>
          <p:cNvSpPr/>
          <p:nvPr/>
        </p:nvSpPr>
        <p:spPr>
          <a:xfrm>
            <a:off x="8357258" y="4395665"/>
            <a:ext cx="3648258" cy="600164"/>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E47F00"/>
                </a:solidFill>
                <a:effectLst/>
                <a:uLnTx/>
                <a:uFillTx/>
                <a:latin typeface="Arial"/>
                <a:ea typeface="+mn-ea"/>
                <a:cs typeface="+mn-cs"/>
              </a:rPr>
              <a:t>Supply Chain Engagement Worksho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E47F00"/>
                </a:solidFill>
                <a:effectLst/>
                <a:uLnTx/>
                <a:uFillTx/>
                <a:latin typeface="Arial"/>
                <a:ea typeface="+mn-ea"/>
                <a:cs typeface="+mn-cs"/>
              </a:rPr>
              <a:t>Supply Chain Scope 1 and 2 reduction initiativ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E47F00"/>
                </a:solidFill>
                <a:effectLst/>
                <a:uLnTx/>
                <a:uFillTx/>
                <a:latin typeface="Arial"/>
                <a:ea typeface="+mn-ea"/>
                <a:cs typeface="+mn-cs"/>
              </a:rPr>
              <a:t>Value chain initiatives (LCA, Circular Economy,..)</a:t>
            </a:r>
          </a:p>
        </p:txBody>
      </p:sp>
      <p:sp>
        <p:nvSpPr>
          <p:cNvPr id="113" name="Rectangle 112">
            <a:extLst>
              <a:ext uri="{FF2B5EF4-FFF2-40B4-BE49-F238E27FC236}">
                <a16:creationId xmlns:a16="http://schemas.microsoft.com/office/drawing/2014/main" id="{BA65CFCB-71D7-42AC-8C9E-4043273CB457}"/>
              </a:ext>
            </a:extLst>
          </p:cNvPr>
          <p:cNvSpPr/>
          <p:nvPr/>
        </p:nvSpPr>
        <p:spPr>
          <a:xfrm>
            <a:off x="8357258" y="4981904"/>
            <a:ext cx="3648258" cy="600164"/>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B10043"/>
                </a:solidFill>
                <a:effectLst/>
                <a:uLnTx/>
                <a:uFillTx/>
                <a:latin typeface="Arial"/>
                <a:ea typeface="+mn-ea"/>
                <a:cs typeface="+mn-cs"/>
              </a:rPr>
              <a:t>Mobility and Transportation Status quo and Strateg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B10043"/>
                </a:solidFill>
                <a:effectLst/>
                <a:uLnTx/>
                <a:uFillTx/>
                <a:latin typeface="Arial"/>
                <a:ea typeface="+mn-ea"/>
                <a:cs typeface="+mn-cs"/>
              </a:rPr>
              <a:t>Alternative Fuels and Offsets sourc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B10043"/>
                </a:solidFill>
                <a:effectLst/>
                <a:uLnTx/>
                <a:uFillTx/>
                <a:latin typeface="Arial"/>
                <a:ea typeface="+mn-ea"/>
                <a:cs typeface="+mn-cs"/>
              </a:rPr>
              <a:t>On Site Project Delivery</a:t>
            </a:r>
          </a:p>
        </p:txBody>
      </p:sp>
      <p:sp>
        <p:nvSpPr>
          <p:cNvPr id="131" name="Title 1">
            <a:extLst>
              <a:ext uri="{FF2B5EF4-FFF2-40B4-BE49-F238E27FC236}">
                <a16:creationId xmlns:a16="http://schemas.microsoft.com/office/drawing/2014/main" id="{5E93280F-BFA0-4487-8889-D63CA21269E4}"/>
              </a:ext>
            </a:extLst>
          </p:cNvPr>
          <p:cNvSpPr txBox="1">
            <a:spLocks/>
          </p:cNvSpPr>
          <p:nvPr/>
        </p:nvSpPr>
        <p:spPr>
          <a:xfrm>
            <a:off x="258058" y="230189"/>
            <a:ext cx="8633531" cy="307777"/>
          </a:xfrm>
          <a:prstGeom prst="rect">
            <a:avLst/>
          </a:prstGeom>
        </p:spPr>
        <p:txBody>
          <a:bodyPr vert="horz" lIns="0" tIns="0" rIns="0" bIns="0" rtlCol="0" anchor="t">
            <a:spAutoFit/>
          </a:bodyPr>
          <a:lstStyle>
            <a:lvl1pPr algn="l" defTabSz="457200" rtl="0" eaLnBrk="1" latinLnBrk="0" hangingPunct="1">
              <a:spcBef>
                <a:spcPct val="0"/>
              </a:spcBef>
              <a:buNone/>
              <a:defRPr sz="2000" kern="1200">
                <a:solidFill>
                  <a:srgbClr val="36C746"/>
                </a:solidFill>
                <a:latin typeface="Arial"/>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a:noFill/>
                </a:ln>
                <a:solidFill>
                  <a:srgbClr val="36C746"/>
                </a:solidFill>
                <a:effectLst/>
                <a:uLnTx/>
                <a:uFillTx/>
                <a:latin typeface="Arial"/>
                <a:ea typeface="+mj-ea"/>
                <a:cs typeface="Arial"/>
              </a:rPr>
              <a:t>How do we get there?</a:t>
            </a:r>
          </a:p>
        </p:txBody>
      </p:sp>
      <p:sp>
        <p:nvSpPr>
          <p:cNvPr id="132" name="Text Placeholder 4">
            <a:extLst>
              <a:ext uri="{FF2B5EF4-FFF2-40B4-BE49-F238E27FC236}">
                <a16:creationId xmlns:a16="http://schemas.microsoft.com/office/drawing/2014/main" id="{21691DF6-FF58-4AC6-BEAA-CC6CCF9896D6}"/>
              </a:ext>
            </a:extLst>
          </p:cNvPr>
          <p:cNvSpPr txBox="1">
            <a:spLocks/>
          </p:cNvSpPr>
          <p:nvPr/>
        </p:nvSpPr>
        <p:spPr>
          <a:xfrm>
            <a:off x="258057" y="604936"/>
            <a:ext cx="8633531" cy="169277"/>
          </a:xfrm>
          <a:prstGeom prst="rect">
            <a:avLst/>
          </a:prstGeom>
        </p:spPr>
        <p:txBody>
          <a:bodyPr vert="horz" lIns="0" tIns="0" rIns="0" bIns="0" rtlCol="0" anchor="t">
            <a:spAutoFit/>
          </a:bodyPr>
          <a:lstStyle>
            <a:lvl1pPr marL="0" indent="0" algn="l" defTabSz="457200" rtl="0" eaLnBrk="1" latinLnBrk="0" hangingPunct="1">
              <a:spcBef>
                <a:spcPts val="0"/>
              </a:spcBef>
              <a:spcAft>
                <a:spcPts val="0"/>
              </a:spcAft>
              <a:buClr>
                <a:schemeClr val="bg2"/>
              </a:buClr>
              <a:buFont typeface="Arial" panose="020B0604020202020204" pitchFamily="34" charset="0"/>
              <a:buNone/>
              <a:defRPr sz="1100" b="0" kern="1200" baseline="0">
                <a:solidFill>
                  <a:schemeClr val="accent6"/>
                </a:solidFill>
                <a:latin typeface="Arial"/>
                <a:ea typeface="+mn-ea"/>
                <a:cs typeface="Arial"/>
              </a:defRPr>
            </a:lvl1pPr>
            <a:lvl2pPr marL="457200" indent="0" algn="l" defTabSz="447675" rtl="0" eaLnBrk="1" latinLnBrk="0" hangingPunct="1">
              <a:spcBef>
                <a:spcPts val="500"/>
              </a:spcBef>
              <a:spcAft>
                <a:spcPts val="500"/>
              </a:spcAft>
              <a:buClr>
                <a:srgbClr val="36C746"/>
              </a:buClr>
              <a:buFont typeface="Arial"/>
              <a:buNone/>
              <a:defRPr sz="2000" b="1" kern="1200">
                <a:solidFill>
                  <a:schemeClr val="accent1"/>
                </a:solidFill>
                <a:latin typeface="Arial"/>
                <a:ea typeface="+mn-ea"/>
                <a:cs typeface="Arial"/>
              </a:defRPr>
            </a:lvl2pPr>
            <a:lvl3pPr marL="914400" indent="0" algn="l" defTabSz="457200" rtl="0" eaLnBrk="1" latinLnBrk="0" hangingPunct="1">
              <a:spcBef>
                <a:spcPts val="500"/>
              </a:spcBef>
              <a:spcAft>
                <a:spcPts val="500"/>
              </a:spcAft>
              <a:buClr>
                <a:srgbClr val="36C746"/>
              </a:buClr>
              <a:buFont typeface="Arial" panose="020B0604020202020204" pitchFamily="34" charset="0"/>
              <a:buNone/>
              <a:defRPr sz="1800" b="1" kern="1200">
                <a:solidFill>
                  <a:schemeClr val="accent1"/>
                </a:solidFill>
                <a:latin typeface="Arial"/>
                <a:ea typeface="+mn-ea"/>
                <a:cs typeface="Arial"/>
              </a:defRPr>
            </a:lvl3pPr>
            <a:lvl4pPr marL="1371600" indent="0" algn="l" defTabSz="457200" rtl="0" eaLnBrk="1" latinLnBrk="0" hangingPunct="1">
              <a:spcBef>
                <a:spcPts val="500"/>
              </a:spcBef>
              <a:spcAft>
                <a:spcPts val="500"/>
              </a:spcAft>
              <a:buClr>
                <a:srgbClr val="36C746"/>
              </a:buClr>
              <a:buFont typeface="Arial" panose="020B0604020202020204" pitchFamily="34" charset="0"/>
              <a:buNone/>
              <a:defRPr sz="1600" b="1" kern="1200">
                <a:solidFill>
                  <a:schemeClr val="accent1"/>
                </a:solidFill>
                <a:latin typeface="Arial"/>
                <a:ea typeface="+mn-ea"/>
                <a:cs typeface="Arial"/>
              </a:defRPr>
            </a:lvl4pPr>
            <a:lvl5pPr marL="1828800" indent="0" algn="l" defTabSz="457200" rtl="0" eaLnBrk="1" latinLnBrk="0" hangingPunct="1">
              <a:spcBef>
                <a:spcPts val="500"/>
              </a:spcBef>
              <a:spcAft>
                <a:spcPts val="500"/>
              </a:spcAft>
              <a:buClr>
                <a:srgbClr val="36C746"/>
              </a:buClr>
              <a:buFont typeface="Arial" panose="020B0604020202020204" pitchFamily="34" charset="0"/>
              <a:buNone/>
              <a:defRPr sz="1600" b="1" kern="1200">
                <a:solidFill>
                  <a:schemeClr val="accent1"/>
                </a:solidFill>
                <a:latin typeface="Arial"/>
                <a:ea typeface="+mn-ea"/>
                <a:cs typeface="Arial"/>
              </a:defRPr>
            </a:lvl5pPr>
            <a:lvl6pPr marL="2286000" indent="0" algn="l" defTabSz="457200" rtl="0" eaLnBrk="1" latinLnBrk="0" hangingPunct="1">
              <a:spcBef>
                <a:spcPts val="500"/>
              </a:spcBef>
              <a:spcAft>
                <a:spcPts val="500"/>
              </a:spcAft>
              <a:buClr>
                <a:schemeClr val="bg2"/>
              </a:buClr>
              <a:buFont typeface="Arial" panose="020B0604020202020204" pitchFamily="34" charset="0"/>
              <a:buNone/>
              <a:defRPr sz="1600" b="1" kern="1200" baseline="0">
                <a:solidFill>
                  <a:schemeClr val="accent1"/>
                </a:solidFill>
                <a:latin typeface="Arial" panose="020B0604020202020204" pitchFamily="34" charset="0"/>
                <a:ea typeface="+mn-ea"/>
                <a:cs typeface="Arial" panose="020B0604020202020204" pitchFamily="34" charset="0"/>
              </a:defRPr>
            </a:lvl6pPr>
            <a:lvl7pPr marL="2743200" indent="0" algn="l" defTabSz="457200" rtl="0" eaLnBrk="1" latinLnBrk="0" hangingPunct="1">
              <a:spcBef>
                <a:spcPts val="500"/>
              </a:spcBef>
              <a:spcAft>
                <a:spcPts val="500"/>
              </a:spcAft>
              <a:buClr>
                <a:schemeClr val="bg2"/>
              </a:buClr>
              <a:buFont typeface="Arial" panose="020B0604020202020204" pitchFamily="34" charset="0"/>
              <a:buNone/>
              <a:defRPr sz="1600" b="1" kern="1200">
                <a:solidFill>
                  <a:schemeClr val="accent1"/>
                </a:solidFill>
                <a:latin typeface="Arial" panose="020B0604020202020204" pitchFamily="34" charset="0"/>
                <a:ea typeface="+mn-ea"/>
                <a:cs typeface="Arial" panose="020B0604020202020204" pitchFamily="34" charset="0"/>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
                <a:srgbClr val="3DCD58"/>
              </a:buClr>
              <a:buSzTx/>
              <a:buFont typeface="Arial" panose="020B0604020202020204" pitchFamily="34" charset="0"/>
              <a:buNone/>
              <a:tabLst/>
              <a:defRPr/>
            </a:pPr>
            <a:r>
              <a:rPr kumimoji="0" lang="en-US" sz="1100" b="0" i="0" u="none" strike="noStrike" kern="1200" cap="none" spc="0" normalizeH="0" baseline="0" noProof="0">
                <a:ln>
                  <a:noFill/>
                </a:ln>
                <a:solidFill>
                  <a:srgbClr val="42B4E6"/>
                </a:solidFill>
                <a:effectLst/>
                <a:uLnTx/>
                <a:uFillTx/>
                <a:latin typeface="Arial"/>
                <a:ea typeface="+mn-ea"/>
                <a:cs typeface="Arial"/>
              </a:rPr>
              <a:t>The journey to reach ambitious emission reduction goals</a:t>
            </a:r>
          </a:p>
        </p:txBody>
      </p:sp>
      <p:sp>
        <p:nvSpPr>
          <p:cNvPr id="2" name="Rectangle 1">
            <a:extLst>
              <a:ext uri="{FF2B5EF4-FFF2-40B4-BE49-F238E27FC236}">
                <a16:creationId xmlns:a16="http://schemas.microsoft.com/office/drawing/2014/main" id="{3D4CB5BC-9070-45DE-A2E2-BC009180CEE9}"/>
              </a:ext>
            </a:extLst>
          </p:cNvPr>
          <p:cNvSpPr/>
          <p:nvPr/>
        </p:nvSpPr>
        <p:spPr>
          <a:xfrm>
            <a:off x="4956892" y="625823"/>
            <a:ext cx="2064989"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HK"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Management Systems</a:t>
            </a: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F546ADA5-4D4D-4628-9B60-49D706C1D39F}"/>
              </a:ext>
            </a:extLst>
          </p:cNvPr>
          <p:cNvSpPr/>
          <p:nvPr/>
        </p:nvSpPr>
        <p:spPr>
          <a:xfrm>
            <a:off x="3985547" y="604937"/>
            <a:ext cx="4186528" cy="740244"/>
          </a:xfrm>
          <a:prstGeom prst="rect">
            <a:avLst/>
          </a:prstGeom>
          <a:noFill/>
          <a:ln>
            <a:solidFill>
              <a:srgbClr val="3DCD58"/>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5839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96"/>
                                        </p:tgtEl>
                                        <p:attrNameLst>
                                          <p:attrName>style.visibility</p:attrName>
                                        </p:attrNameLst>
                                      </p:cBhvr>
                                      <p:to>
                                        <p:strVal val="visible"/>
                                      </p:to>
                                    </p:set>
                                    <p:animEffect transition="in" filter="wheel(1)">
                                      <p:cBhvr>
                                        <p:cTn id="7" dur="2000"/>
                                        <p:tgtEl>
                                          <p:spTgt spid="96"/>
                                        </p:tgtEl>
                                      </p:cBhvr>
                                    </p:animEffect>
                                  </p:childTnLst>
                                </p:cTn>
                              </p:par>
                              <p:par>
                                <p:cTn id="8" presetID="10" presetClass="entr" presetSubtype="0" fill="hold" nodeType="withEffect">
                                  <p:stCondLst>
                                    <p:cond delay="0"/>
                                  </p:stCondLst>
                                  <p:childTnLst>
                                    <p:set>
                                      <p:cBhvr>
                                        <p:cTn id="9" dur="1" fill="hold">
                                          <p:stCondLst>
                                            <p:cond delay="0"/>
                                          </p:stCondLst>
                                        </p:cTn>
                                        <p:tgtEl>
                                          <p:spTgt spid="180">
                                            <p:txEl>
                                              <p:pRg st="3" end="3"/>
                                            </p:txEl>
                                          </p:spTgt>
                                        </p:tgtEl>
                                        <p:attrNameLst>
                                          <p:attrName>style.visibility</p:attrName>
                                        </p:attrNameLst>
                                      </p:cBhvr>
                                      <p:to>
                                        <p:strVal val="visible"/>
                                      </p:to>
                                    </p:set>
                                    <p:animEffect transition="in" filter="fade">
                                      <p:cBhvr>
                                        <p:cTn id="10" dur="500"/>
                                        <p:tgtEl>
                                          <p:spTgt spid="180">
                                            <p:txEl>
                                              <p:pRg st="3" end="3"/>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180">
                                            <p:txEl>
                                              <p:pRg st="5" end="5"/>
                                            </p:txEl>
                                          </p:spTgt>
                                        </p:tgtEl>
                                        <p:attrNameLst>
                                          <p:attrName>style.visibility</p:attrName>
                                        </p:attrNameLst>
                                      </p:cBhvr>
                                      <p:to>
                                        <p:strVal val="visible"/>
                                      </p:to>
                                    </p:set>
                                    <p:animEffect transition="in" filter="fade">
                                      <p:cBhvr>
                                        <p:cTn id="13" dur="500"/>
                                        <p:tgtEl>
                                          <p:spTgt spid="180">
                                            <p:txEl>
                                              <p:pRg st="5" end="5"/>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180">
                                            <p:txEl>
                                              <p:pRg st="6" end="6"/>
                                            </p:txEl>
                                          </p:spTgt>
                                        </p:tgtEl>
                                        <p:attrNameLst>
                                          <p:attrName>style.visibility</p:attrName>
                                        </p:attrNameLst>
                                      </p:cBhvr>
                                      <p:to>
                                        <p:strVal val="visible"/>
                                      </p:to>
                                    </p:set>
                                    <p:animEffect transition="in" filter="fade">
                                      <p:cBhvr>
                                        <p:cTn id="16" dur="500"/>
                                        <p:tgtEl>
                                          <p:spTgt spid="180">
                                            <p:txEl>
                                              <p:pRg st="6" end="6"/>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180">
                                            <p:txEl>
                                              <p:pRg st="7" end="7"/>
                                            </p:txEl>
                                          </p:spTgt>
                                        </p:tgtEl>
                                        <p:attrNameLst>
                                          <p:attrName>style.visibility</p:attrName>
                                        </p:attrNameLst>
                                      </p:cBhvr>
                                      <p:to>
                                        <p:strVal val="visible"/>
                                      </p:to>
                                    </p:set>
                                    <p:animEffect transition="in" filter="fade">
                                      <p:cBhvr>
                                        <p:cTn id="19" dur="500"/>
                                        <p:tgtEl>
                                          <p:spTgt spid="180">
                                            <p:txEl>
                                              <p:pRg st="7" end="7"/>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180">
                                            <p:txEl>
                                              <p:pRg st="8" end="8"/>
                                            </p:txEl>
                                          </p:spTgt>
                                        </p:tgtEl>
                                        <p:attrNameLst>
                                          <p:attrName>style.visibility</p:attrName>
                                        </p:attrNameLst>
                                      </p:cBhvr>
                                      <p:to>
                                        <p:strVal val="visible"/>
                                      </p:to>
                                    </p:set>
                                    <p:animEffect transition="in" filter="fade">
                                      <p:cBhvr>
                                        <p:cTn id="22" dur="500"/>
                                        <p:tgtEl>
                                          <p:spTgt spid="180">
                                            <p:txEl>
                                              <p:pRg st="8" end="8"/>
                                            </p:txEl>
                                          </p:spTgt>
                                        </p:tgtEl>
                                      </p:cBhvr>
                                    </p:animEffect>
                                  </p:childTnLst>
                                </p:cTn>
                              </p:par>
                              <p:par>
                                <p:cTn id="23" presetID="22" presetClass="entr" presetSubtype="2" fill="hold" nodeType="withEffect">
                                  <p:stCondLst>
                                    <p:cond delay="500"/>
                                  </p:stCondLst>
                                  <p:childTnLst>
                                    <p:set>
                                      <p:cBhvr>
                                        <p:cTn id="24" dur="1" fill="hold">
                                          <p:stCondLst>
                                            <p:cond delay="0"/>
                                          </p:stCondLst>
                                        </p:cTn>
                                        <p:tgtEl>
                                          <p:spTgt spid="130"/>
                                        </p:tgtEl>
                                        <p:attrNameLst>
                                          <p:attrName>style.visibility</p:attrName>
                                        </p:attrNameLst>
                                      </p:cBhvr>
                                      <p:to>
                                        <p:strVal val="visible"/>
                                      </p:to>
                                    </p:set>
                                    <p:animEffect transition="in" filter="wipe(right)">
                                      <p:cBhvr>
                                        <p:cTn id="25" dur="500"/>
                                        <p:tgtEl>
                                          <p:spTgt spid="130"/>
                                        </p:tgtEl>
                                      </p:cBhvr>
                                    </p:animEffect>
                                  </p:childTnLst>
                                </p:cTn>
                              </p:par>
                              <p:par>
                                <p:cTn id="26" presetID="22" presetClass="entr" presetSubtype="8" fill="hold" nodeType="withEffect">
                                  <p:stCondLst>
                                    <p:cond delay="1500"/>
                                  </p:stCondLst>
                                  <p:childTnLst>
                                    <p:set>
                                      <p:cBhvr>
                                        <p:cTn id="27" dur="1" fill="hold">
                                          <p:stCondLst>
                                            <p:cond delay="0"/>
                                          </p:stCondLst>
                                        </p:cTn>
                                        <p:tgtEl>
                                          <p:spTgt spid="13"/>
                                        </p:tgtEl>
                                        <p:attrNameLst>
                                          <p:attrName>style.visibility</p:attrName>
                                        </p:attrNameLst>
                                      </p:cBhvr>
                                      <p:to>
                                        <p:strVal val="visible"/>
                                      </p:to>
                                    </p:set>
                                    <p:animEffect transition="in" filter="wipe(left)">
                                      <p:cBhvr>
                                        <p:cTn id="28" dur="500"/>
                                        <p:tgtEl>
                                          <p:spTgt spid="13"/>
                                        </p:tgtEl>
                                      </p:cBhvr>
                                    </p:animEffect>
                                  </p:childTnLst>
                                </p:cTn>
                              </p:par>
                              <p:par>
                                <p:cTn id="29" presetID="1" presetClass="entr" presetSubtype="0" fill="hold" grpId="0" nodeType="withEffect">
                                  <p:stCondLst>
                                    <p:cond delay="500"/>
                                  </p:stCondLst>
                                  <p:childTnLst>
                                    <p:set>
                                      <p:cBhvr>
                                        <p:cTn id="30" dur="1" fill="hold">
                                          <p:stCondLst>
                                            <p:cond delay="0"/>
                                          </p:stCondLst>
                                        </p:cTn>
                                        <p:tgtEl>
                                          <p:spTgt spid="2"/>
                                        </p:tgtEl>
                                        <p:attrNameLst>
                                          <p:attrName>style.visibility</p:attrName>
                                        </p:attrNameLst>
                                      </p:cBhvr>
                                      <p:to>
                                        <p:strVal val="visible"/>
                                      </p:to>
                                    </p:set>
                                  </p:childTnLst>
                                </p:cTn>
                              </p:par>
                              <p:par>
                                <p:cTn id="31" presetID="1" presetClass="entr" presetSubtype="0" fill="hold" grpId="0" nodeType="withEffect">
                                  <p:stCondLst>
                                    <p:cond delay="500"/>
                                  </p:stCondLst>
                                  <p:childTnLst>
                                    <p:set>
                                      <p:cBhvr>
                                        <p:cTn id="32" dur="1" fill="hold">
                                          <p:stCondLst>
                                            <p:cond delay="0"/>
                                          </p:stCondLst>
                                        </p:cTn>
                                        <p:tgtEl>
                                          <p:spTgt spid="3"/>
                                        </p:tgtEl>
                                        <p:attrNameLst>
                                          <p:attrName>style.visibility</p:attrName>
                                        </p:attrNameLst>
                                      </p:cBhvr>
                                      <p:to>
                                        <p:strVal val="visible"/>
                                      </p:to>
                                    </p:set>
                                  </p:childTnLst>
                                </p:cTn>
                              </p:par>
                            </p:childTnLst>
                          </p:cTn>
                        </p:par>
                        <p:par>
                          <p:cTn id="33" fill="hold">
                            <p:stCondLst>
                              <p:cond delay="2000"/>
                            </p:stCondLst>
                            <p:childTnLst>
                              <p:par>
                                <p:cTn id="34" presetID="10" presetClass="entr" presetSubtype="0" fill="hold" grpId="0" nodeType="afterEffect">
                                  <p:stCondLst>
                                    <p:cond delay="0"/>
                                  </p:stCondLst>
                                  <p:childTnLst>
                                    <p:set>
                                      <p:cBhvr>
                                        <p:cTn id="35" dur="1" fill="hold">
                                          <p:stCondLst>
                                            <p:cond delay="0"/>
                                          </p:stCondLst>
                                        </p:cTn>
                                        <p:tgtEl>
                                          <p:spTgt spid="97"/>
                                        </p:tgtEl>
                                        <p:attrNameLst>
                                          <p:attrName>style.visibility</p:attrName>
                                        </p:attrNameLst>
                                      </p:cBhvr>
                                      <p:to>
                                        <p:strVal val="visible"/>
                                      </p:to>
                                    </p:set>
                                    <p:animEffect transition="in" filter="fade">
                                      <p:cBhvr>
                                        <p:cTn id="36" dur="500"/>
                                        <p:tgtEl>
                                          <p:spTgt spid="97"/>
                                        </p:tgtEl>
                                      </p:cBhvr>
                                    </p:animEffect>
                                  </p:childTnLst>
                                </p:cTn>
                              </p:par>
                            </p:childTnLst>
                          </p:cTn>
                        </p:par>
                        <p:par>
                          <p:cTn id="37" fill="hold">
                            <p:stCondLst>
                              <p:cond delay="2500"/>
                            </p:stCondLst>
                            <p:childTnLst>
                              <p:par>
                                <p:cTn id="38" presetID="2" presetClass="entr" presetSubtype="2" fill="hold" grpId="0" nodeType="afterEffect">
                                  <p:stCondLst>
                                    <p:cond delay="0"/>
                                  </p:stCondLst>
                                  <p:childTnLst>
                                    <p:set>
                                      <p:cBhvr>
                                        <p:cTn id="39" dur="1" fill="hold">
                                          <p:stCondLst>
                                            <p:cond delay="0"/>
                                          </p:stCondLst>
                                        </p:cTn>
                                        <p:tgtEl>
                                          <p:spTgt spid="99"/>
                                        </p:tgtEl>
                                        <p:attrNameLst>
                                          <p:attrName>style.visibility</p:attrName>
                                        </p:attrNameLst>
                                      </p:cBhvr>
                                      <p:to>
                                        <p:strVal val="visible"/>
                                      </p:to>
                                    </p:set>
                                    <p:anim calcmode="lin" valueType="num">
                                      <p:cBhvr additive="base">
                                        <p:cTn id="40" dur="500" fill="hold"/>
                                        <p:tgtEl>
                                          <p:spTgt spid="99"/>
                                        </p:tgtEl>
                                        <p:attrNameLst>
                                          <p:attrName>ppt_x</p:attrName>
                                        </p:attrNameLst>
                                      </p:cBhvr>
                                      <p:tavLst>
                                        <p:tav tm="0">
                                          <p:val>
                                            <p:strVal val="1+#ppt_w/2"/>
                                          </p:val>
                                        </p:tav>
                                        <p:tav tm="100000">
                                          <p:val>
                                            <p:strVal val="#ppt_x"/>
                                          </p:val>
                                        </p:tav>
                                      </p:tavLst>
                                    </p:anim>
                                    <p:anim calcmode="lin" valueType="num">
                                      <p:cBhvr additive="base">
                                        <p:cTn id="41" dur="500" fill="hold"/>
                                        <p:tgtEl>
                                          <p:spTgt spid="99"/>
                                        </p:tgtEl>
                                        <p:attrNameLst>
                                          <p:attrName>ppt_y</p:attrName>
                                        </p:attrNameLst>
                                      </p:cBhvr>
                                      <p:tavLst>
                                        <p:tav tm="0">
                                          <p:val>
                                            <p:strVal val="#ppt_y"/>
                                          </p:val>
                                        </p:tav>
                                        <p:tav tm="100000">
                                          <p:val>
                                            <p:strVal val="#ppt_y"/>
                                          </p:val>
                                        </p:tav>
                                      </p:tavLst>
                                    </p:anim>
                                  </p:childTnLst>
                                </p:cTn>
                              </p:par>
                              <p:par>
                                <p:cTn id="42" presetID="2" presetClass="entr" presetSubtype="2" fill="hold" grpId="0" nodeType="withEffect">
                                  <p:stCondLst>
                                    <p:cond delay="500"/>
                                  </p:stCondLst>
                                  <p:childTnLst>
                                    <p:set>
                                      <p:cBhvr>
                                        <p:cTn id="43" dur="1" fill="hold">
                                          <p:stCondLst>
                                            <p:cond delay="0"/>
                                          </p:stCondLst>
                                        </p:cTn>
                                        <p:tgtEl>
                                          <p:spTgt spid="102"/>
                                        </p:tgtEl>
                                        <p:attrNameLst>
                                          <p:attrName>style.visibility</p:attrName>
                                        </p:attrNameLst>
                                      </p:cBhvr>
                                      <p:to>
                                        <p:strVal val="visible"/>
                                      </p:to>
                                    </p:set>
                                    <p:anim calcmode="lin" valueType="num">
                                      <p:cBhvr additive="base">
                                        <p:cTn id="44" dur="500" fill="hold"/>
                                        <p:tgtEl>
                                          <p:spTgt spid="102"/>
                                        </p:tgtEl>
                                        <p:attrNameLst>
                                          <p:attrName>ppt_x</p:attrName>
                                        </p:attrNameLst>
                                      </p:cBhvr>
                                      <p:tavLst>
                                        <p:tav tm="0">
                                          <p:val>
                                            <p:strVal val="1+#ppt_w/2"/>
                                          </p:val>
                                        </p:tav>
                                        <p:tav tm="100000">
                                          <p:val>
                                            <p:strVal val="#ppt_x"/>
                                          </p:val>
                                        </p:tav>
                                      </p:tavLst>
                                    </p:anim>
                                    <p:anim calcmode="lin" valueType="num">
                                      <p:cBhvr additive="base">
                                        <p:cTn id="45" dur="500" fill="hold"/>
                                        <p:tgtEl>
                                          <p:spTgt spid="102"/>
                                        </p:tgtEl>
                                        <p:attrNameLst>
                                          <p:attrName>ppt_y</p:attrName>
                                        </p:attrNameLst>
                                      </p:cBhvr>
                                      <p:tavLst>
                                        <p:tav tm="0">
                                          <p:val>
                                            <p:strVal val="#ppt_y"/>
                                          </p:val>
                                        </p:tav>
                                        <p:tav tm="100000">
                                          <p:val>
                                            <p:strVal val="#ppt_y"/>
                                          </p:val>
                                        </p:tav>
                                      </p:tavLst>
                                    </p:anim>
                                  </p:childTnLst>
                                </p:cTn>
                              </p:par>
                              <p:par>
                                <p:cTn id="46" presetID="2" presetClass="entr" presetSubtype="2" fill="hold" grpId="0" nodeType="withEffect">
                                  <p:stCondLst>
                                    <p:cond delay="1000"/>
                                  </p:stCondLst>
                                  <p:childTnLst>
                                    <p:set>
                                      <p:cBhvr>
                                        <p:cTn id="47" dur="1" fill="hold">
                                          <p:stCondLst>
                                            <p:cond delay="0"/>
                                          </p:stCondLst>
                                        </p:cTn>
                                        <p:tgtEl>
                                          <p:spTgt spid="104"/>
                                        </p:tgtEl>
                                        <p:attrNameLst>
                                          <p:attrName>style.visibility</p:attrName>
                                        </p:attrNameLst>
                                      </p:cBhvr>
                                      <p:to>
                                        <p:strVal val="visible"/>
                                      </p:to>
                                    </p:set>
                                    <p:anim calcmode="lin" valueType="num">
                                      <p:cBhvr additive="base">
                                        <p:cTn id="48" dur="500" fill="hold"/>
                                        <p:tgtEl>
                                          <p:spTgt spid="104"/>
                                        </p:tgtEl>
                                        <p:attrNameLst>
                                          <p:attrName>ppt_x</p:attrName>
                                        </p:attrNameLst>
                                      </p:cBhvr>
                                      <p:tavLst>
                                        <p:tav tm="0">
                                          <p:val>
                                            <p:strVal val="1+#ppt_w/2"/>
                                          </p:val>
                                        </p:tav>
                                        <p:tav tm="100000">
                                          <p:val>
                                            <p:strVal val="#ppt_x"/>
                                          </p:val>
                                        </p:tav>
                                      </p:tavLst>
                                    </p:anim>
                                    <p:anim calcmode="lin" valueType="num">
                                      <p:cBhvr additive="base">
                                        <p:cTn id="49" dur="500" fill="hold"/>
                                        <p:tgtEl>
                                          <p:spTgt spid="104"/>
                                        </p:tgtEl>
                                        <p:attrNameLst>
                                          <p:attrName>ppt_y</p:attrName>
                                        </p:attrNameLst>
                                      </p:cBhvr>
                                      <p:tavLst>
                                        <p:tav tm="0">
                                          <p:val>
                                            <p:strVal val="#ppt_y"/>
                                          </p:val>
                                        </p:tav>
                                        <p:tav tm="100000">
                                          <p:val>
                                            <p:strVal val="#ppt_y"/>
                                          </p:val>
                                        </p:tav>
                                      </p:tavLst>
                                    </p:anim>
                                  </p:childTnLst>
                                </p:cTn>
                              </p:par>
                              <p:par>
                                <p:cTn id="50" presetID="2" presetClass="entr" presetSubtype="2" fill="hold" grpId="0" nodeType="withEffect">
                                  <p:stCondLst>
                                    <p:cond delay="1500"/>
                                  </p:stCondLst>
                                  <p:childTnLst>
                                    <p:set>
                                      <p:cBhvr>
                                        <p:cTn id="51" dur="1" fill="hold">
                                          <p:stCondLst>
                                            <p:cond delay="0"/>
                                          </p:stCondLst>
                                        </p:cTn>
                                        <p:tgtEl>
                                          <p:spTgt spid="112"/>
                                        </p:tgtEl>
                                        <p:attrNameLst>
                                          <p:attrName>style.visibility</p:attrName>
                                        </p:attrNameLst>
                                      </p:cBhvr>
                                      <p:to>
                                        <p:strVal val="visible"/>
                                      </p:to>
                                    </p:set>
                                    <p:anim calcmode="lin" valueType="num">
                                      <p:cBhvr additive="base">
                                        <p:cTn id="52" dur="500" fill="hold"/>
                                        <p:tgtEl>
                                          <p:spTgt spid="112"/>
                                        </p:tgtEl>
                                        <p:attrNameLst>
                                          <p:attrName>ppt_x</p:attrName>
                                        </p:attrNameLst>
                                      </p:cBhvr>
                                      <p:tavLst>
                                        <p:tav tm="0">
                                          <p:val>
                                            <p:strVal val="1+#ppt_w/2"/>
                                          </p:val>
                                        </p:tav>
                                        <p:tav tm="100000">
                                          <p:val>
                                            <p:strVal val="#ppt_x"/>
                                          </p:val>
                                        </p:tav>
                                      </p:tavLst>
                                    </p:anim>
                                    <p:anim calcmode="lin" valueType="num">
                                      <p:cBhvr additive="base">
                                        <p:cTn id="53" dur="500" fill="hold"/>
                                        <p:tgtEl>
                                          <p:spTgt spid="112"/>
                                        </p:tgtEl>
                                        <p:attrNameLst>
                                          <p:attrName>ppt_y</p:attrName>
                                        </p:attrNameLst>
                                      </p:cBhvr>
                                      <p:tavLst>
                                        <p:tav tm="0">
                                          <p:val>
                                            <p:strVal val="#ppt_y"/>
                                          </p:val>
                                        </p:tav>
                                        <p:tav tm="100000">
                                          <p:val>
                                            <p:strVal val="#ppt_y"/>
                                          </p:val>
                                        </p:tav>
                                      </p:tavLst>
                                    </p:anim>
                                  </p:childTnLst>
                                </p:cTn>
                              </p:par>
                              <p:par>
                                <p:cTn id="54" presetID="2" presetClass="entr" presetSubtype="2" fill="hold" grpId="0" nodeType="withEffect">
                                  <p:stCondLst>
                                    <p:cond delay="2000"/>
                                  </p:stCondLst>
                                  <p:childTnLst>
                                    <p:set>
                                      <p:cBhvr>
                                        <p:cTn id="55" dur="1" fill="hold">
                                          <p:stCondLst>
                                            <p:cond delay="0"/>
                                          </p:stCondLst>
                                        </p:cTn>
                                        <p:tgtEl>
                                          <p:spTgt spid="113"/>
                                        </p:tgtEl>
                                        <p:attrNameLst>
                                          <p:attrName>style.visibility</p:attrName>
                                        </p:attrNameLst>
                                      </p:cBhvr>
                                      <p:to>
                                        <p:strVal val="visible"/>
                                      </p:to>
                                    </p:set>
                                    <p:anim calcmode="lin" valueType="num">
                                      <p:cBhvr additive="base">
                                        <p:cTn id="56" dur="500" fill="hold"/>
                                        <p:tgtEl>
                                          <p:spTgt spid="113"/>
                                        </p:tgtEl>
                                        <p:attrNameLst>
                                          <p:attrName>ppt_x</p:attrName>
                                        </p:attrNameLst>
                                      </p:cBhvr>
                                      <p:tavLst>
                                        <p:tav tm="0">
                                          <p:val>
                                            <p:strVal val="1+#ppt_w/2"/>
                                          </p:val>
                                        </p:tav>
                                        <p:tav tm="100000">
                                          <p:val>
                                            <p:strVal val="#ppt_x"/>
                                          </p:val>
                                        </p:tav>
                                      </p:tavLst>
                                    </p:anim>
                                    <p:anim calcmode="lin" valueType="num">
                                      <p:cBhvr additive="base">
                                        <p:cTn id="57" dur="500" fill="hold"/>
                                        <p:tgtEl>
                                          <p:spTgt spid="1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animBg="1"/>
      <p:bldP spid="97" grpId="0"/>
      <p:bldP spid="99" grpId="0"/>
      <p:bldP spid="102" grpId="0"/>
      <p:bldP spid="104" grpId="0"/>
      <p:bldP spid="112" grpId="0"/>
      <p:bldP spid="113" grpId="0"/>
      <p:bldP spid="2" grpId="0"/>
      <p:bldP spid="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0B5E429-0AAC-4C8B-BFFB-037C899C823C}"/>
              </a:ext>
            </a:extLst>
          </p:cNvPr>
          <p:cNvPicPr>
            <a:picLocks noChangeAspect="1"/>
          </p:cNvPicPr>
          <p:nvPr/>
        </p:nvPicPr>
        <p:blipFill rotWithShape="1">
          <a:blip r:embed="rId3">
            <a:alphaModFix amt="20000"/>
            <a:extLst>
              <a:ext uri="{28A0092B-C50C-407E-A947-70E740481C1C}">
                <a14:useLocalDpi xmlns:a14="http://schemas.microsoft.com/office/drawing/2010/main" val="0"/>
              </a:ext>
            </a:extLst>
          </a:blip>
          <a:srcRect/>
          <a:stretch/>
        </p:blipFill>
        <p:spPr>
          <a:xfrm>
            <a:off x="0" y="2412"/>
            <a:ext cx="12192000" cy="6858000"/>
          </a:xfrm>
          <a:prstGeom prst="rect">
            <a:avLst/>
          </a:prstGeom>
        </p:spPr>
      </p:pic>
      <p:sp>
        <p:nvSpPr>
          <p:cNvPr id="10" name="Footer Placeholder 1">
            <a:extLst>
              <a:ext uri="{FF2B5EF4-FFF2-40B4-BE49-F238E27FC236}">
                <a16:creationId xmlns:a16="http://schemas.microsoft.com/office/drawing/2014/main" id="{AC327DD7-CA1E-4CF8-9F4B-7F0BB11BD1FE}"/>
              </a:ext>
            </a:extLst>
          </p:cNvPr>
          <p:cNvSpPr txBox="1">
            <a:spLocks/>
          </p:cNvSpPr>
          <p:nvPr/>
        </p:nvSpPr>
        <p:spPr>
          <a:xfrm>
            <a:off x="0" y="6491818"/>
            <a:ext cx="4114800" cy="366183"/>
          </a:xfrm>
          <a:prstGeom prst="rect">
            <a:avLst/>
          </a:prstGeom>
        </p:spPr>
        <p:txBody>
          <a:bodyPr lIns="324000"/>
          <a:lst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Arial" panose="020B0604020202020204" pitchFamily="34" charset="0"/>
                <a:ea typeface="Microsoft YaHei" panose="020B0503020204020204" pitchFamily="34" charset="-122"/>
                <a:cs typeface="Arial" panose="020B0604020202020204" pitchFamily="34" charset="0"/>
              </a:rPr>
              <a:t>© 2020 Schneider Electric, All Rights Reserved </a:t>
            </a:r>
            <a:r>
              <a:rPr kumimoji="0" lang="en-US" sz="800" b="0" i="0" u="none" strike="noStrike" kern="1200" cap="none" spc="0" normalizeH="0" baseline="0" noProof="0">
                <a:ln>
                  <a:noFill/>
                </a:ln>
                <a:solidFill>
                  <a:prstClr val="white"/>
                </a:solidFill>
                <a:effectLst/>
                <a:uLnTx/>
                <a:uFillTx/>
                <a:latin typeface="Arial"/>
                <a:ea typeface="Microsoft YaHei" panose="020B0503020204020204" pitchFamily="34" charset="-122"/>
                <a:cs typeface="Arial"/>
              </a:rPr>
              <a:t>| </a:t>
            </a:r>
            <a:r>
              <a:rPr kumimoji="0" lang="en-US" sz="800" b="0" i="0" u="none" strike="noStrike" kern="1200" cap="none" spc="0" normalizeH="0" baseline="0" noProof="0">
                <a:ln>
                  <a:noFill/>
                </a:ln>
                <a:solidFill>
                  <a:srgbClr val="3DCD58"/>
                </a:solidFill>
                <a:effectLst/>
                <a:uLnTx/>
                <a:uFillTx/>
                <a:latin typeface="Arial"/>
                <a:ea typeface="Microsoft YaHei" panose="020B0503020204020204" pitchFamily="34" charset="-122"/>
                <a:cs typeface="Arial"/>
              </a:rPr>
              <a:t>Page </a:t>
            </a:r>
            <a:fld id="{5A9C12DC-491F-9444-86A2-13AC5C62A2FC}" type="slidenum">
              <a:rPr kumimoji="0" lang="en-US" sz="800" b="0" i="0" u="none" strike="noStrike" kern="1200" cap="none" spc="0" normalizeH="0" baseline="0" noProof="0">
                <a:ln>
                  <a:noFill/>
                </a:ln>
                <a:solidFill>
                  <a:srgbClr val="3DCD58"/>
                </a:solidFill>
                <a:effectLst/>
                <a:uLnTx/>
                <a:uFillTx/>
                <a:latin typeface="Arial"/>
                <a:ea typeface="Microsoft YaHei" panose="020B0503020204020204" pitchFamily="34" charset="-122"/>
                <a:cs typeface="Arial"/>
              </a:rPr>
              <a:pPr marL="0" marR="0" lvl="0" indent="0" algn="l" defTabSz="914354"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a:ln>
                <a:noFill/>
              </a:ln>
              <a:solidFill>
                <a:srgbClr val="3DCD58"/>
              </a:solidFill>
              <a:effectLst/>
              <a:uLnTx/>
              <a:uFillTx/>
              <a:latin typeface="Arial"/>
              <a:ea typeface="Microsoft YaHei" panose="020B0503020204020204" pitchFamily="34" charset="-122"/>
              <a:cs typeface="Arial"/>
            </a:endParaRPr>
          </a:p>
        </p:txBody>
      </p:sp>
      <p:sp>
        <p:nvSpPr>
          <p:cNvPr id="39" name="Freeform 17">
            <a:extLst>
              <a:ext uri="{FF2B5EF4-FFF2-40B4-BE49-F238E27FC236}">
                <a16:creationId xmlns:a16="http://schemas.microsoft.com/office/drawing/2014/main" id="{8CECFCA6-4D73-44EE-A284-8788F2268F66}"/>
              </a:ext>
            </a:extLst>
          </p:cNvPr>
          <p:cNvSpPr/>
          <p:nvPr/>
        </p:nvSpPr>
        <p:spPr>
          <a:xfrm>
            <a:off x="1094001" y="2785047"/>
            <a:ext cx="4583710" cy="1737220"/>
          </a:xfrm>
          <a:custGeom>
            <a:avLst/>
            <a:gdLst>
              <a:gd name="connsiteX0" fmla="*/ 0 w 4333009"/>
              <a:gd name="connsiteY0" fmla="*/ 0 h 1340428"/>
              <a:gd name="connsiteX1" fmla="*/ 1652154 w 4333009"/>
              <a:gd name="connsiteY1" fmla="*/ 716973 h 1340428"/>
              <a:gd name="connsiteX2" fmla="*/ 4333009 w 4333009"/>
              <a:gd name="connsiteY2" fmla="*/ 1340428 h 1340428"/>
              <a:gd name="connsiteX3" fmla="*/ 4333009 w 4333009"/>
              <a:gd name="connsiteY3" fmla="*/ 207819 h 1340428"/>
              <a:gd name="connsiteX4" fmla="*/ 0 w 4333009"/>
              <a:gd name="connsiteY4" fmla="*/ 0 h 1340428"/>
              <a:gd name="connsiteX0" fmla="*/ 0 w 4333009"/>
              <a:gd name="connsiteY0" fmla="*/ 0 h 990606"/>
              <a:gd name="connsiteX1" fmla="*/ 1652154 w 4333009"/>
              <a:gd name="connsiteY1" fmla="*/ 716973 h 990606"/>
              <a:gd name="connsiteX2" fmla="*/ 4325296 w 4333009"/>
              <a:gd name="connsiteY2" fmla="*/ 990606 h 990606"/>
              <a:gd name="connsiteX3" fmla="*/ 4333009 w 4333009"/>
              <a:gd name="connsiteY3" fmla="*/ 207819 h 990606"/>
              <a:gd name="connsiteX4" fmla="*/ 0 w 4333009"/>
              <a:gd name="connsiteY4" fmla="*/ 0 h 990606"/>
              <a:gd name="connsiteX0" fmla="*/ 0 w 4333009"/>
              <a:gd name="connsiteY0" fmla="*/ 0 h 990606"/>
              <a:gd name="connsiteX1" fmla="*/ 1601369 w 4333009"/>
              <a:gd name="connsiteY1" fmla="*/ 600639 h 990606"/>
              <a:gd name="connsiteX2" fmla="*/ 4325296 w 4333009"/>
              <a:gd name="connsiteY2" fmla="*/ 990606 h 990606"/>
              <a:gd name="connsiteX3" fmla="*/ 4333009 w 4333009"/>
              <a:gd name="connsiteY3" fmla="*/ 207819 h 990606"/>
              <a:gd name="connsiteX4" fmla="*/ 0 w 4333009"/>
              <a:gd name="connsiteY4" fmla="*/ 0 h 990606"/>
              <a:gd name="connsiteX0" fmla="*/ 0 w 4333009"/>
              <a:gd name="connsiteY0" fmla="*/ 0 h 990606"/>
              <a:gd name="connsiteX1" fmla="*/ 1601369 w 4333009"/>
              <a:gd name="connsiteY1" fmla="*/ 600639 h 990606"/>
              <a:gd name="connsiteX2" fmla="*/ 4325296 w 4333009"/>
              <a:gd name="connsiteY2" fmla="*/ 990606 h 990606"/>
              <a:gd name="connsiteX3" fmla="*/ 4333009 w 4333009"/>
              <a:gd name="connsiteY3" fmla="*/ 207819 h 990606"/>
              <a:gd name="connsiteX4" fmla="*/ 0 w 4333009"/>
              <a:gd name="connsiteY4" fmla="*/ 0 h 990606"/>
              <a:gd name="connsiteX0" fmla="*/ 0 w 4605980"/>
              <a:gd name="connsiteY0" fmla="*/ 0 h 985953"/>
              <a:gd name="connsiteX1" fmla="*/ 1874340 w 4605980"/>
              <a:gd name="connsiteY1" fmla="*/ 595986 h 985953"/>
              <a:gd name="connsiteX2" fmla="*/ 4598267 w 4605980"/>
              <a:gd name="connsiteY2" fmla="*/ 985953 h 985953"/>
              <a:gd name="connsiteX3" fmla="*/ 4605980 w 4605980"/>
              <a:gd name="connsiteY3" fmla="*/ 203166 h 985953"/>
              <a:gd name="connsiteX4" fmla="*/ 0 w 4605980"/>
              <a:gd name="connsiteY4" fmla="*/ 0 h 985953"/>
              <a:gd name="connsiteX0" fmla="*/ 0 w 4605980"/>
              <a:gd name="connsiteY0" fmla="*/ 0 h 985953"/>
              <a:gd name="connsiteX1" fmla="*/ 1874340 w 4605980"/>
              <a:gd name="connsiteY1" fmla="*/ 595986 h 985953"/>
              <a:gd name="connsiteX2" fmla="*/ 4598267 w 4605980"/>
              <a:gd name="connsiteY2" fmla="*/ 985953 h 985953"/>
              <a:gd name="connsiteX3" fmla="*/ 4605980 w 4605980"/>
              <a:gd name="connsiteY3" fmla="*/ 203166 h 985953"/>
              <a:gd name="connsiteX4" fmla="*/ 0 w 4605980"/>
              <a:gd name="connsiteY4" fmla="*/ 0 h 985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05980" h="985953">
                <a:moveTo>
                  <a:pt x="0" y="0"/>
                </a:moveTo>
                <a:cubicBezTo>
                  <a:pt x="997204" y="418921"/>
                  <a:pt x="1080277" y="405080"/>
                  <a:pt x="1874340" y="595986"/>
                </a:cubicBezTo>
                <a:lnTo>
                  <a:pt x="4598267" y="985953"/>
                </a:lnTo>
                <a:lnTo>
                  <a:pt x="4605980" y="203166"/>
                </a:lnTo>
                <a:lnTo>
                  <a:pt x="0" y="0"/>
                </a:lnTo>
                <a:close/>
              </a:path>
            </a:pathLst>
          </a:custGeom>
          <a:solidFill>
            <a:srgbClr val="64656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40" name="Freeform 13">
            <a:extLst>
              <a:ext uri="{FF2B5EF4-FFF2-40B4-BE49-F238E27FC236}">
                <a16:creationId xmlns:a16="http://schemas.microsoft.com/office/drawing/2014/main" id="{F27E8593-A416-438F-902C-02F2F011DC58}"/>
              </a:ext>
            </a:extLst>
          </p:cNvPr>
          <p:cNvSpPr/>
          <p:nvPr/>
        </p:nvSpPr>
        <p:spPr>
          <a:xfrm>
            <a:off x="659937" y="2584606"/>
            <a:ext cx="5013011" cy="1649976"/>
          </a:xfrm>
          <a:custGeom>
            <a:avLst/>
            <a:gdLst>
              <a:gd name="connsiteX0" fmla="*/ 0 w 4343400"/>
              <a:gd name="connsiteY0" fmla="*/ 0 h 945573"/>
              <a:gd name="connsiteX1" fmla="*/ 1652154 w 4343400"/>
              <a:gd name="connsiteY1" fmla="*/ 353291 h 945573"/>
              <a:gd name="connsiteX2" fmla="*/ 4343400 w 4343400"/>
              <a:gd name="connsiteY2" fmla="*/ 945573 h 945573"/>
              <a:gd name="connsiteX3" fmla="*/ 4343400 w 4343400"/>
              <a:gd name="connsiteY3" fmla="*/ 145473 h 945573"/>
              <a:gd name="connsiteX4" fmla="*/ 0 w 4343400"/>
              <a:gd name="connsiteY4" fmla="*/ 0 h 945573"/>
              <a:gd name="connsiteX0" fmla="*/ 0 w 4343400"/>
              <a:gd name="connsiteY0" fmla="*/ 0 h 945573"/>
              <a:gd name="connsiteX1" fmla="*/ 1308990 w 4343400"/>
              <a:gd name="connsiteY1" fmla="*/ 485300 h 945573"/>
              <a:gd name="connsiteX2" fmla="*/ 4343400 w 4343400"/>
              <a:gd name="connsiteY2" fmla="*/ 945573 h 945573"/>
              <a:gd name="connsiteX3" fmla="*/ 4343400 w 4343400"/>
              <a:gd name="connsiteY3" fmla="*/ 145473 h 945573"/>
              <a:gd name="connsiteX4" fmla="*/ 0 w 4343400"/>
              <a:gd name="connsiteY4" fmla="*/ 0 h 945573"/>
              <a:gd name="connsiteX0" fmla="*/ 0 w 4343400"/>
              <a:gd name="connsiteY0" fmla="*/ 0 h 754161"/>
              <a:gd name="connsiteX1" fmla="*/ 1308990 w 4343400"/>
              <a:gd name="connsiteY1" fmla="*/ 485300 h 754161"/>
              <a:gd name="connsiteX2" fmla="*/ 4343400 w 4343400"/>
              <a:gd name="connsiteY2" fmla="*/ 754161 h 754161"/>
              <a:gd name="connsiteX3" fmla="*/ 4343400 w 4343400"/>
              <a:gd name="connsiteY3" fmla="*/ 145473 h 754161"/>
              <a:gd name="connsiteX4" fmla="*/ 0 w 4343400"/>
              <a:gd name="connsiteY4" fmla="*/ 0 h 754161"/>
              <a:gd name="connsiteX0" fmla="*/ 0 w 4352313"/>
              <a:gd name="connsiteY0" fmla="*/ 0 h 604111"/>
              <a:gd name="connsiteX1" fmla="*/ 1308990 w 4352313"/>
              <a:gd name="connsiteY1" fmla="*/ 485300 h 604111"/>
              <a:gd name="connsiteX2" fmla="*/ 4352313 w 4352313"/>
              <a:gd name="connsiteY2" fmla="*/ 604111 h 604111"/>
              <a:gd name="connsiteX3" fmla="*/ 4343400 w 4352313"/>
              <a:gd name="connsiteY3" fmla="*/ 145473 h 604111"/>
              <a:gd name="connsiteX4" fmla="*/ 0 w 4352313"/>
              <a:gd name="connsiteY4" fmla="*/ 0 h 604111"/>
              <a:gd name="connsiteX0" fmla="*/ 0 w 4352313"/>
              <a:gd name="connsiteY0" fmla="*/ 0 h 604111"/>
              <a:gd name="connsiteX1" fmla="*/ 1335730 w 4352313"/>
              <a:gd name="connsiteY1" fmla="*/ 423916 h 604111"/>
              <a:gd name="connsiteX2" fmla="*/ 4352313 w 4352313"/>
              <a:gd name="connsiteY2" fmla="*/ 604111 h 604111"/>
              <a:gd name="connsiteX3" fmla="*/ 4343400 w 4352313"/>
              <a:gd name="connsiteY3" fmla="*/ 145473 h 604111"/>
              <a:gd name="connsiteX4" fmla="*/ 0 w 4352313"/>
              <a:gd name="connsiteY4" fmla="*/ 0 h 604111"/>
              <a:gd name="connsiteX0" fmla="*/ 0 w 4343400"/>
              <a:gd name="connsiteY0" fmla="*/ 0 h 597291"/>
              <a:gd name="connsiteX1" fmla="*/ 1335730 w 4343400"/>
              <a:gd name="connsiteY1" fmla="*/ 423916 h 597291"/>
              <a:gd name="connsiteX2" fmla="*/ 4343400 w 4343400"/>
              <a:gd name="connsiteY2" fmla="*/ 597291 h 597291"/>
              <a:gd name="connsiteX3" fmla="*/ 4343400 w 4343400"/>
              <a:gd name="connsiteY3" fmla="*/ 145473 h 597291"/>
              <a:gd name="connsiteX4" fmla="*/ 0 w 4343400"/>
              <a:gd name="connsiteY4" fmla="*/ 0 h 597291"/>
              <a:gd name="connsiteX0" fmla="*/ 0 w 4343400"/>
              <a:gd name="connsiteY0" fmla="*/ 0 h 661232"/>
              <a:gd name="connsiteX1" fmla="*/ 1335730 w 4343400"/>
              <a:gd name="connsiteY1" fmla="*/ 423916 h 661232"/>
              <a:gd name="connsiteX2" fmla="*/ 4343400 w 4343400"/>
              <a:gd name="connsiteY2" fmla="*/ 661232 h 661232"/>
              <a:gd name="connsiteX3" fmla="*/ 4343400 w 4343400"/>
              <a:gd name="connsiteY3" fmla="*/ 145473 h 661232"/>
              <a:gd name="connsiteX4" fmla="*/ 0 w 4343400"/>
              <a:gd name="connsiteY4" fmla="*/ 0 h 661232"/>
              <a:gd name="connsiteX0" fmla="*/ 0 w 4343400"/>
              <a:gd name="connsiteY0" fmla="*/ 0 h 661232"/>
              <a:gd name="connsiteX1" fmla="*/ 1385247 w 4343400"/>
              <a:gd name="connsiteY1" fmla="*/ 385552 h 661232"/>
              <a:gd name="connsiteX2" fmla="*/ 4343400 w 4343400"/>
              <a:gd name="connsiteY2" fmla="*/ 661232 h 661232"/>
              <a:gd name="connsiteX3" fmla="*/ 4343400 w 4343400"/>
              <a:gd name="connsiteY3" fmla="*/ 145473 h 661232"/>
              <a:gd name="connsiteX4" fmla="*/ 0 w 4343400"/>
              <a:gd name="connsiteY4" fmla="*/ 0 h 661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3400" h="661232">
                <a:moveTo>
                  <a:pt x="0" y="0"/>
                </a:moveTo>
                <a:lnTo>
                  <a:pt x="1385247" y="385552"/>
                </a:lnTo>
                <a:lnTo>
                  <a:pt x="4343400" y="661232"/>
                </a:lnTo>
                <a:lnTo>
                  <a:pt x="4343400" y="145473"/>
                </a:lnTo>
                <a:lnTo>
                  <a:pt x="0" y="0"/>
                </a:lnTo>
                <a:close/>
              </a:path>
            </a:pathLst>
          </a:custGeom>
          <a:solidFill>
            <a:srgbClr val="A26BC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44" name="TextBox 36">
            <a:extLst>
              <a:ext uri="{FF2B5EF4-FFF2-40B4-BE49-F238E27FC236}">
                <a16:creationId xmlns:a16="http://schemas.microsoft.com/office/drawing/2014/main" id="{92DA2DA0-C538-434C-BD59-FEC8D27E21D1}"/>
              </a:ext>
            </a:extLst>
          </p:cNvPr>
          <p:cNvSpPr txBox="1"/>
          <p:nvPr/>
        </p:nvSpPr>
        <p:spPr>
          <a:xfrm>
            <a:off x="306954" y="2165468"/>
            <a:ext cx="648000" cy="246221"/>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a:ea typeface="+mn-ea"/>
                <a:cs typeface="+mn-cs"/>
              </a:rPr>
              <a:t>TODAY</a:t>
            </a:r>
          </a:p>
        </p:txBody>
      </p:sp>
      <p:sp>
        <p:nvSpPr>
          <p:cNvPr id="45" name="TextBox 38">
            <a:extLst>
              <a:ext uri="{FF2B5EF4-FFF2-40B4-BE49-F238E27FC236}">
                <a16:creationId xmlns:a16="http://schemas.microsoft.com/office/drawing/2014/main" id="{E5B4ECCF-86DF-4A0F-80E6-5BD1B159F2B3}"/>
              </a:ext>
            </a:extLst>
          </p:cNvPr>
          <p:cNvSpPr txBox="1"/>
          <p:nvPr/>
        </p:nvSpPr>
        <p:spPr>
          <a:xfrm>
            <a:off x="5247664" y="2114700"/>
            <a:ext cx="816829" cy="400110"/>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a:ea typeface="+mn-ea"/>
                <a:cs typeface="+mn-cs"/>
              </a:rPr>
              <a:t>TARGET YEAR</a:t>
            </a:r>
          </a:p>
        </p:txBody>
      </p:sp>
      <p:sp>
        <p:nvSpPr>
          <p:cNvPr id="47" name="TextBox 41">
            <a:extLst>
              <a:ext uri="{FF2B5EF4-FFF2-40B4-BE49-F238E27FC236}">
                <a16:creationId xmlns:a16="http://schemas.microsoft.com/office/drawing/2014/main" id="{B695F301-7B13-4B15-8AE9-1C69E5BF73CD}"/>
              </a:ext>
            </a:extLst>
          </p:cNvPr>
          <p:cNvSpPr txBox="1"/>
          <p:nvPr/>
        </p:nvSpPr>
        <p:spPr>
          <a:xfrm>
            <a:off x="672447" y="4320153"/>
            <a:ext cx="2828272" cy="369332"/>
          </a:xfrm>
          <a:prstGeom prst="rect">
            <a:avLst/>
          </a:prstGeom>
          <a:noFill/>
        </p:spPr>
        <p:txBody>
          <a:bodyPr wrap="square"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Arial"/>
                <a:ea typeface="+mn-ea"/>
                <a:cs typeface="+mn-cs"/>
              </a:rPr>
              <a:t>CARBON INTENSITY</a:t>
            </a:r>
          </a:p>
          <a:p>
            <a:pPr marL="0" marR="0" lvl="0" indent="0" algn="l" defTabSz="60957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Arial"/>
                <a:ea typeface="+mn-ea"/>
                <a:cs typeface="+mn-cs"/>
              </a:rPr>
              <a:t>REDUCTION TARGET</a:t>
            </a:r>
          </a:p>
        </p:txBody>
      </p:sp>
      <p:sp>
        <p:nvSpPr>
          <p:cNvPr id="52" name="Freeform: Shape 51">
            <a:extLst>
              <a:ext uri="{FF2B5EF4-FFF2-40B4-BE49-F238E27FC236}">
                <a16:creationId xmlns:a16="http://schemas.microsoft.com/office/drawing/2014/main" id="{F8E9673D-8F0A-4797-B4BA-087D3770A79D}"/>
              </a:ext>
            </a:extLst>
          </p:cNvPr>
          <p:cNvSpPr/>
          <p:nvPr/>
        </p:nvSpPr>
        <p:spPr>
          <a:xfrm>
            <a:off x="1094001" y="2737777"/>
            <a:ext cx="4578248" cy="1023678"/>
          </a:xfrm>
          <a:custGeom>
            <a:avLst/>
            <a:gdLst>
              <a:gd name="connsiteX0" fmla="*/ 0 w 3776663"/>
              <a:gd name="connsiteY0" fmla="*/ 0 h 390525"/>
              <a:gd name="connsiteX1" fmla="*/ 842963 w 3776663"/>
              <a:gd name="connsiteY1" fmla="*/ 157163 h 390525"/>
              <a:gd name="connsiteX2" fmla="*/ 1747838 w 3776663"/>
              <a:gd name="connsiteY2" fmla="*/ 228600 h 390525"/>
              <a:gd name="connsiteX3" fmla="*/ 3776663 w 3776663"/>
              <a:gd name="connsiteY3" fmla="*/ 276225 h 390525"/>
              <a:gd name="connsiteX4" fmla="*/ 3776663 w 3776663"/>
              <a:gd name="connsiteY4" fmla="*/ 390525 h 390525"/>
              <a:gd name="connsiteX5" fmla="*/ 1738313 w 3776663"/>
              <a:gd name="connsiteY5" fmla="*/ 323850 h 390525"/>
              <a:gd name="connsiteX6" fmla="*/ 900113 w 3776663"/>
              <a:gd name="connsiteY6" fmla="*/ 233363 h 390525"/>
              <a:gd name="connsiteX7" fmla="*/ 0 w 3776663"/>
              <a:gd name="connsiteY7" fmla="*/ 0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76663" h="390525">
                <a:moveTo>
                  <a:pt x="0" y="0"/>
                </a:moveTo>
                <a:lnTo>
                  <a:pt x="842963" y="157163"/>
                </a:lnTo>
                <a:lnTo>
                  <a:pt x="1747838" y="228600"/>
                </a:lnTo>
                <a:lnTo>
                  <a:pt x="3776663" y="276225"/>
                </a:lnTo>
                <a:lnTo>
                  <a:pt x="3776663" y="390525"/>
                </a:lnTo>
                <a:lnTo>
                  <a:pt x="1738313" y="323850"/>
                </a:lnTo>
                <a:lnTo>
                  <a:pt x="900113" y="233363"/>
                </a:lnTo>
                <a:lnTo>
                  <a:pt x="0" y="0"/>
                </a:lnTo>
                <a:close/>
              </a:path>
            </a:pathLst>
          </a:custGeom>
          <a:solidFill>
            <a:srgbClr val="2D8B4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63"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53" name="TextBox 52">
            <a:extLst>
              <a:ext uri="{FF2B5EF4-FFF2-40B4-BE49-F238E27FC236}">
                <a16:creationId xmlns:a16="http://schemas.microsoft.com/office/drawing/2014/main" id="{208F4830-99E3-46A6-9F3E-F84E7A9E9B30}"/>
              </a:ext>
            </a:extLst>
          </p:cNvPr>
          <p:cNvSpPr txBox="1"/>
          <p:nvPr/>
        </p:nvSpPr>
        <p:spPr>
          <a:xfrm>
            <a:off x="5712381" y="3861097"/>
            <a:ext cx="2100069" cy="500137"/>
          </a:xfrm>
          <a:prstGeom prst="rect">
            <a:avLst/>
          </a:prstGeom>
          <a:noFill/>
        </p:spPr>
        <p:txBody>
          <a:bodyPr wrap="square" rtlCol="0">
            <a:spAutoFit/>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A26BCB"/>
                </a:solidFill>
                <a:effectLst/>
                <a:uLnTx/>
                <a:uFillTx/>
                <a:latin typeface="Arial"/>
                <a:ea typeface="+mn-ea"/>
                <a:cs typeface="+mn-cs"/>
              </a:rPr>
              <a:t>ENGAGE</a:t>
            </a:r>
          </a:p>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a:ea typeface="+mn-ea"/>
                <a:cs typeface="+mn-cs"/>
              </a:rPr>
              <a:t>With Value/Supply Chain to drive transition to low-carbon Economy</a:t>
            </a:r>
          </a:p>
        </p:txBody>
      </p:sp>
      <p:sp>
        <p:nvSpPr>
          <p:cNvPr id="54" name="TextBox 53">
            <a:extLst>
              <a:ext uri="{FF2B5EF4-FFF2-40B4-BE49-F238E27FC236}">
                <a16:creationId xmlns:a16="http://schemas.microsoft.com/office/drawing/2014/main" id="{092B6CD1-A346-42C4-99BD-5D1710AC1850}"/>
              </a:ext>
            </a:extLst>
          </p:cNvPr>
          <p:cNvSpPr txBox="1"/>
          <p:nvPr/>
        </p:nvSpPr>
        <p:spPr>
          <a:xfrm>
            <a:off x="6207021" y="4614178"/>
            <a:ext cx="1110788" cy="377026"/>
          </a:xfrm>
          <a:prstGeom prst="rect">
            <a:avLst/>
          </a:prstGeom>
          <a:noFill/>
        </p:spPr>
        <p:txBody>
          <a:bodyPr wrap="square" rtlCol="0">
            <a:spAutoFit/>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Arial"/>
                <a:ea typeface="+mn-ea"/>
                <a:cs typeface="+mn-cs"/>
              </a:rPr>
              <a:t>REDEFINE</a:t>
            </a:r>
          </a:p>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a:ea typeface="+mn-ea"/>
                <a:cs typeface="+mn-cs"/>
              </a:rPr>
              <a:t>Corporate Mobility</a:t>
            </a:r>
          </a:p>
        </p:txBody>
      </p:sp>
      <p:sp>
        <p:nvSpPr>
          <p:cNvPr id="55" name="TextBox 54">
            <a:extLst>
              <a:ext uri="{FF2B5EF4-FFF2-40B4-BE49-F238E27FC236}">
                <a16:creationId xmlns:a16="http://schemas.microsoft.com/office/drawing/2014/main" id="{98BE9ACA-896D-4E58-B23F-443C2D984341}"/>
              </a:ext>
            </a:extLst>
          </p:cNvPr>
          <p:cNvSpPr txBox="1"/>
          <p:nvPr/>
        </p:nvSpPr>
        <p:spPr>
          <a:xfrm>
            <a:off x="6125970" y="1811114"/>
            <a:ext cx="1278607" cy="500137"/>
          </a:xfrm>
          <a:prstGeom prst="rect">
            <a:avLst/>
          </a:prstGeom>
          <a:noFill/>
        </p:spPr>
        <p:txBody>
          <a:bodyPr wrap="square" rtlCol="0">
            <a:spAutoFit/>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42B4E6"/>
                </a:solidFill>
                <a:effectLst/>
                <a:uLnTx/>
                <a:uFillTx/>
                <a:latin typeface="Arial"/>
                <a:ea typeface="+mn-ea"/>
                <a:cs typeface="+mn-cs"/>
              </a:rPr>
              <a:t>REDUCE</a:t>
            </a:r>
          </a:p>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a:ea typeface="+mn-ea"/>
                <a:cs typeface="+mn-cs"/>
              </a:rPr>
              <a:t>Conduct operations more efficiently</a:t>
            </a:r>
          </a:p>
        </p:txBody>
      </p:sp>
      <p:sp>
        <p:nvSpPr>
          <p:cNvPr id="56" name="TextBox 55">
            <a:extLst>
              <a:ext uri="{FF2B5EF4-FFF2-40B4-BE49-F238E27FC236}">
                <a16:creationId xmlns:a16="http://schemas.microsoft.com/office/drawing/2014/main" id="{AF81EC38-BC19-467B-B8EF-A9434C64BBAA}"/>
              </a:ext>
            </a:extLst>
          </p:cNvPr>
          <p:cNvSpPr txBox="1"/>
          <p:nvPr/>
        </p:nvSpPr>
        <p:spPr>
          <a:xfrm>
            <a:off x="5940860" y="2499669"/>
            <a:ext cx="1643113" cy="500137"/>
          </a:xfrm>
          <a:prstGeom prst="rect">
            <a:avLst/>
          </a:prstGeom>
          <a:noFill/>
        </p:spPr>
        <p:txBody>
          <a:bodyPr wrap="square" rtlCol="0">
            <a:spAutoFit/>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3DCD58"/>
                </a:solidFill>
                <a:effectLst/>
                <a:uLnTx/>
                <a:uFillTx/>
                <a:latin typeface="Arial"/>
                <a:ea typeface="+mn-ea"/>
                <a:cs typeface="+mn-cs"/>
              </a:rPr>
              <a:t>REPLACE</a:t>
            </a:r>
          </a:p>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a:ea typeface="+mn-ea"/>
                <a:cs typeface="+mn-cs"/>
              </a:rPr>
              <a:t>Switch from carbon-intensive energy to low-carbon sources</a:t>
            </a:r>
          </a:p>
        </p:txBody>
      </p:sp>
      <p:sp>
        <p:nvSpPr>
          <p:cNvPr id="57" name="TextBox 56">
            <a:extLst>
              <a:ext uri="{FF2B5EF4-FFF2-40B4-BE49-F238E27FC236}">
                <a16:creationId xmlns:a16="http://schemas.microsoft.com/office/drawing/2014/main" id="{A60A12CE-B495-4BA0-A7E9-25603CD7029C}"/>
              </a:ext>
            </a:extLst>
          </p:cNvPr>
          <p:cNvSpPr txBox="1"/>
          <p:nvPr/>
        </p:nvSpPr>
        <p:spPr>
          <a:xfrm>
            <a:off x="5919200" y="3133663"/>
            <a:ext cx="1686432" cy="500137"/>
          </a:xfrm>
          <a:prstGeom prst="rect">
            <a:avLst/>
          </a:prstGeom>
          <a:noFill/>
        </p:spPr>
        <p:txBody>
          <a:bodyPr wrap="square" rtlCol="0">
            <a:spAutoFit/>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2D8B49"/>
                </a:solidFill>
                <a:effectLst/>
                <a:uLnTx/>
                <a:uFillTx/>
                <a:latin typeface="Arial"/>
                <a:ea typeface="+mn-ea"/>
                <a:cs typeface="+mn-cs"/>
              </a:rPr>
              <a:t>OFFSET</a:t>
            </a:r>
          </a:p>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a:ea typeface="+mn-ea"/>
                <a:cs typeface="+mn-cs"/>
              </a:rPr>
              <a:t>Offset emissions that cannot otherwise be reduced</a:t>
            </a:r>
          </a:p>
        </p:txBody>
      </p:sp>
      <p:cxnSp>
        <p:nvCxnSpPr>
          <p:cNvPr id="3" name="Straight Connector 2">
            <a:extLst>
              <a:ext uri="{FF2B5EF4-FFF2-40B4-BE49-F238E27FC236}">
                <a16:creationId xmlns:a16="http://schemas.microsoft.com/office/drawing/2014/main" id="{0F97179B-FDAC-422C-A1BC-C0AEA14F894B}"/>
              </a:ext>
            </a:extLst>
          </p:cNvPr>
          <p:cNvCxnSpPr>
            <a:cxnSpLocks/>
          </p:cNvCxnSpPr>
          <p:nvPr/>
        </p:nvCxnSpPr>
        <p:spPr>
          <a:xfrm flipV="1">
            <a:off x="526408" y="4504819"/>
            <a:ext cx="5190291" cy="1"/>
          </a:xfrm>
          <a:prstGeom prst="line">
            <a:avLst/>
          </a:prstGeom>
          <a:ln w="190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D4D82C64-FCDB-4F69-86FB-7B5CA727BF65}"/>
              </a:ext>
            </a:extLst>
          </p:cNvPr>
          <p:cNvCxnSpPr/>
          <p:nvPr/>
        </p:nvCxnSpPr>
        <p:spPr>
          <a:xfrm>
            <a:off x="621928" y="2583835"/>
            <a:ext cx="0" cy="185362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424EF44C-253E-4EA0-B6C0-18D8E010D2F4}"/>
              </a:ext>
            </a:extLst>
          </p:cNvPr>
          <p:cNvCxnSpPr>
            <a:cxnSpLocks/>
          </p:cNvCxnSpPr>
          <p:nvPr/>
        </p:nvCxnSpPr>
        <p:spPr>
          <a:xfrm>
            <a:off x="618096" y="2583991"/>
            <a:ext cx="5273979" cy="9687"/>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47">
            <a:extLst>
              <a:ext uri="{FF2B5EF4-FFF2-40B4-BE49-F238E27FC236}">
                <a16:creationId xmlns:a16="http://schemas.microsoft.com/office/drawing/2014/main" id="{5AE11B40-8CEB-4771-9EAB-91D8CFF9BEE4}"/>
              </a:ext>
            </a:extLst>
          </p:cNvPr>
          <p:cNvSpPr txBox="1"/>
          <p:nvPr/>
        </p:nvSpPr>
        <p:spPr>
          <a:xfrm>
            <a:off x="8286792" y="752359"/>
            <a:ext cx="700833" cy="253916"/>
          </a:xfrm>
          <a:prstGeom prst="rect">
            <a:avLst/>
          </a:prstGeom>
          <a:noFill/>
        </p:spPr>
        <p:txBody>
          <a:bodyPr wrap="none"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Arial"/>
                <a:ea typeface="+mn-ea"/>
                <a:cs typeface="+mn-cs"/>
              </a:rPr>
              <a:t>WAVE 1</a:t>
            </a:r>
          </a:p>
        </p:txBody>
      </p:sp>
      <p:sp>
        <p:nvSpPr>
          <p:cNvPr id="73" name="Rectangle 72">
            <a:extLst>
              <a:ext uri="{FF2B5EF4-FFF2-40B4-BE49-F238E27FC236}">
                <a16:creationId xmlns:a16="http://schemas.microsoft.com/office/drawing/2014/main" id="{729F10BC-5994-4FED-9A9C-96E58FA0046D}"/>
              </a:ext>
            </a:extLst>
          </p:cNvPr>
          <p:cNvSpPr/>
          <p:nvPr/>
        </p:nvSpPr>
        <p:spPr>
          <a:xfrm>
            <a:off x="7649607" y="1772295"/>
            <a:ext cx="1968803" cy="565431"/>
          </a:xfrm>
          <a:prstGeom prst="rect">
            <a:avLst/>
          </a:prstGeom>
          <a:solidFill>
            <a:srgbClr val="42B4E6"/>
          </a:solidFill>
          <a:ln w="9525" cap="flat" cmpd="sng" algn="ctr">
            <a:noFill/>
            <a:prstDash val="solid"/>
          </a:ln>
          <a:effectLst/>
        </p:spPr>
        <p:txBody>
          <a:bodyPr rtlCol="0" anchor="ctr"/>
          <a:lstStyle/>
          <a:p>
            <a:pPr marL="118530" marR="0" lvl="0" indent="-118530" algn="l" defTabSz="609570" rtl="0" eaLnBrk="1" fontAlgn="auto" latinLnBrk="0" hangingPunct="1">
              <a:lnSpc>
                <a:spcPct val="100000"/>
              </a:lnSpc>
              <a:spcBef>
                <a:spcPts val="133"/>
              </a:spcBef>
              <a:spcAft>
                <a:spcPts val="0"/>
              </a:spcAft>
              <a:buClrTx/>
              <a:buSzTx/>
              <a:buFont typeface="Wingdings" panose="05000000000000000000" pitchFamily="2" charset="2"/>
              <a:buChar char="ü"/>
              <a:tabLst/>
              <a:defRPr/>
            </a:pPr>
            <a:r>
              <a:rPr kumimoji="0" lang="fr-FR" sz="800" b="0" i="0" u="none" strike="noStrike" kern="0" cap="none" spc="0" normalizeH="0" baseline="0" noProof="0" err="1">
                <a:ln>
                  <a:noFill/>
                </a:ln>
                <a:solidFill>
                  <a:prstClr val="white"/>
                </a:solidFill>
                <a:effectLst/>
                <a:uLnTx/>
                <a:uFillTx/>
                <a:latin typeface="Arial"/>
                <a:ea typeface="+mn-ea"/>
                <a:cs typeface="+mn-cs"/>
              </a:rPr>
              <a:t>Savings</a:t>
            </a:r>
            <a:r>
              <a:rPr kumimoji="0" lang="fr-FR" sz="800" b="0" i="0" u="none" strike="noStrike" kern="0" cap="none" spc="0" normalizeH="0" baseline="0" noProof="0">
                <a:ln>
                  <a:noFill/>
                </a:ln>
                <a:solidFill>
                  <a:prstClr val="white"/>
                </a:solidFill>
                <a:effectLst/>
                <a:uLnTx/>
                <a:uFillTx/>
                <a:latin typeface="Arial"/>
                <a:ea typeface="+mn-ea"/>
                <a:cs typeface="+mn-cs"/>
              </a:rPr>
              <a:t>: 		15 M$</a:t>
            </a:r>
            <a:endParaRPr kumimoji="0" lang="fr-FR" sz="300" b="0" i="0" u="none" strike="noStrike" kern="0" cap="none" spc="0" normalizeH="0" baseline="0" noProof="0">
              <a:ln>
                <a:noFill/>
              </a:ln>
              <a:solidFill>
                <a:prstClr val="white"/>
              </a:solidFill>
              <a:effectLst/>
              <a:uLnTx/>
              <a:uFillTx/>
              <a:latin typeface="Arial"/>
              <a:ea typeface="+mn-ea"/>
              <a:cs typeface="+mn-cs"/>
            </a:endParaRPr>
          </a:p>
          <a:p>
            <a:pPr marL="118530" marR="0" lvl="0" indent="-118530" algn="l" defTabSz="609570" rtl="0" eaLnBrk="1" fontAlgn="auto" latinLnBrk="0" hangingPunct="1">
              <a:lnSpc>
                <a:spcPct val="100000"/>
              </a:lnSpc>
              <a:spcBef>
                <a:spcPts val="133"/>
              </a:spcBef>
              <a:spcAft>
                <a:spcPts val="0"/>
              </a:spcAft>
              <a:buClrTx/>
              <a:buSzTx/>
              <a:buFont typeface="Wingdings" panose="05000000000000000000" pitchFamily="2" charset="2"/>
              <a:buChar char="ü"/>
              <a:tabLst/>
              <a:defRPr/>
            </a:pPr>
            <a:r>
              <a:rPr kumimoji="0" lang="fr-FR" sz="800" b="0" i="0" u="none" strike="noStrike" kern="0" cap="none" spc="0" normalizeH="0" baseline="0" noProof="0" err="1">
                <a:ln>
                  <a:noFill/>
                </a:ln>
                <a:solidFill>
                  <a:prstClr val="white"/>
                </a:solidFill>
                <a:effectLst/>
                <a:uLnTx/>
                <a:uFillTx/>
                <a:latin typeface="Arial"/>
                <a:ea typeface="+mn-ea"/>
                <a:cs typeface="+mn-cs"/>
              </a:rPr>
              <a:t>Payback</a:t>
            </a:r>
            <a:r>
              <a:rPr kumimoji="0" lang="fr-FR" sz="800" b="0" i="0" u="none" strike="noStrike" kern="0" cap="none" spc="0" normalizeH="0" baseline="0" noProof="0">
                <a:ln>
                  <a:noFill/>
                </a:ln>
                <a:solidFill>
                  <a:prstClr val="white"/>
                </a:solidFill>
                <a:effectLst/>
                <a:uLnTx/>
                <a:uFillTx/>
                <a:latin typeface="Arial"/>
                <a:ea typeface="+mn-ea"/>
                <a:cs typeface="+mn-cs"/>
              </a:rPr>
              <a:t>: 		2.5 </a:t>
            </a:r>
            <a:r>
              <a:rPr kumimoji="0" lang="fr-FR" sz="800" b="0" i="0" u="none" strike="noStrike" kern="0" cap="none" spc="0" normalizeH="0" baseline="0" noProof="0" err="1">
                <a:ln>
                  <a:noFill/>
                </a:ln>
                <a:solidFill>
                  <a:prstClr val="white"/>
                </a:solidFill>
                <a:effectLst/>
                <a:uLnTx/>
                <a:uFillTx/>
                <a:latin typeface="Arial"/>
                <a:ea typeface="+mn-ea"/>
                <a:cs typeface="+mn-cs"/>
              </a:rPr>
              <a:t>years</a:t>
            </a:r>
            <a:endParaRPr kumimoji="0" lang="fr-FR" sz="800" b="0" i="0" u="none" strike="noStrike" kern="0" cap="none" spc="0" normalizeH="0" baseline="0" noProof="0">
              <a:ln>
                <a:noFill/>
              </a:ln>
              <a:solidFill>
                <a:prstClr val="white"/>
              </a:solidFill>
              <a:effectLst/>
              <a:uLnTx/>
              <a:uFillTx/>
              <a:latin typeface="Arial"/>
              <a:ea typeface="+mn-ea"/>
              <a:cs typeface="+mn-cs"/>
            </a:endParaRPr>
          </a:p>
          <a:p>
            <a:pPr marL="118530" marR="0" lvl="0" indent="-118530" algn="l" defTabSz="609570" rtl="0" eaLnBrk="1" fontAlgn="auto" latinLnBrk="0" hangingPunct="1">
              <a:lnSpc>
                <a:spcPct val="100000"/>
              </a:lnSpc>
              <a:spcBef>
                <a:spcPts val="133"/>
              </a:spcBef>
              <a:spcAft>
                <a:spcPts val="0"/>
              </a:spcAft>
              <a:buClrTx/>
              <a:buSzTx/>
              <a:buFont typeface="Wingdings" panose="05000000000000000000" pitchFamily="2" charset="2"/>
              <a:buChar char="ü"/>
              <a:tabLst/>
              <a:defRPr/>
            </a:pPr>
            <a:r>
              <a:rPr kumimoji="0" lang="fr-FR" sz="800" b="0" i="0" u="none" strike="noStrike" kern="0" cap="none" spc="0" normalizeH="0" baseline="0" noProof="0">
                <a:ln>
                  <a:noFill/>
                </a:ln>
                <a:solidFill>
                  <a:prstClr val="white"/>
                </a:solidFill>
                <a:effectLst/>
                <a:uLnTx/>
                <a:uFillTx/>
                <a:latin typeface="Arial"/>
                <a:ea typeface="+mn-ea"/>
                <a:cs typeface="+mn-cs"/>
              </a:rPr>
              <a:t>GHG </a:t>
            </a:r>
            <a:r>
              <a:rPr kumimoji="0" lang="fr-FR" sz="800" b="0" i="0" u="none" strike="noStrike" kern="0" cap="none" spc="0" normalizeH="0" baseline="0" noProof="0" err="1">
                <a:ln>
                  <a:noFill/>
                </a:ln>
                <a:solidFill>
                  <a:prstClr val="white"/>
                </a:solidFill>
                <a:effectLst/>
                <a:uLnTx/>
                <a:uFillTx/>
                <a:latin typeface="Arial"/>
                <a:ea typeface="+mn-ea"/>
                <a:cs typeface="+mn-cs"/>
              </a:rPr>
              <a:t>reduction</a:t>
            </a:r>
            <a:r>
              <a:rPr kumimoji="0" lang="fr-FR" sz="800" b="0" i="0" u="none" strike="noStrike" kern="0" cap="none" spc="0" normalizeH="0" baseline="0" noProof="0">
                <a:ln>
                  <a:noFill/>
                </a:ln>
                <a:solidFill>
                  <a:prstClr val="white"/>
                </a:solidFill>
                <a:effectLst/>
                <a:uLnTx/>
                <a:uFillTx/>
                <a:latin typeface="Arial"/>
                <a:ea typeface="+mn-ea"/>
                <a:cs typeface="+mn-cs"/>
              </a:rPr>
              <a:t>: 	15 %</a:t>
            </a:r>
          </a:p>
        </p:txBody>
      </p:sp>
      <p:sp>
        <p:nvSpPr>
          <p:cNvPr id="76" name="Rectangle 75">
            <a:extLst>
              <a:ext uri="{FF2B5EF4-FFF2-40B4-BE49-F238E27FC236}">
                <a16:creationId xmlns:a16="http://schemas.microsoft.com/office/drawing/2014/main" id="{AC3A90C5-5C3A-4322-8E1C-4C9DBAF7E59D}"/>
              </a:ext>
            </a:extLst>
          </p:cNvPr>
          <p:cNvSpPr/>
          <p:nvPr/>
        </p:nvSpPr>
        <p:spPr>
          <a:xfrm>
            <a:off x="9749670" y="1772295"/>
            <a:ext cx="1968803" cy="565431"/>
          </a:xfrm>
          <a:prstGeom prst="rect">
            <a:avLst/>
          </a:prstGeom>
          <a:solidFill>
            <a:srgbClr val="42B4E6"/>
          </a:solidFill>
          <a:ln w="9525" cap="flat" cmpd="sng" algn="ctr">
            <a:noFill/>
            <a:prstDash val="solid"/>
          </a:ln>
          <a:effectLst/>
        </p:spPr>
        <p:txBody>
          <a:bodyPr rtlCol="0" anchor="ctr"/>
          <a:lstStyle/>
          <a:p>
            <a:pPr marL="118530" marR="0" lvl="0" indent="-118530" algn="l" defTabSz="609570" rtl="0" eaLnBrk="1" fontAlgn="auto" latinLnBrk="0" hangingPunct="1">
              <a:lnSpc>
                <a:spcPct val="100000"/>
              </a:lnSpc>
              <a:spcBef>
                <a:spcPts val="133"/>
              </a:spcBef>
              <a:spcAft>
                <a:spcPts val="0"/>
              </a:spcAft>
              <a:buClrTx/>
              <a:buSzTx/>
              <a:buFont typeface="Wingdings" panose="05000000000000000000" pitchFamily="2" charset="2"/>
              <a:buChar char="ü"/>
              <a:tabLst/>
              <a:defRPr/>
            </a:pPr>
            <a:r>
              <a:rPr kumimoji="0" lang="fr-FR" sz="800" b="0" i="0" u="none" strike="noStrike" kern="0" cap="none" spc="0" normalizeH="0" baseline="0" noProof="0" err="1">
                <a:ln>
                  <a:noFill/>
                </a:ln>
                <a:solidFill>
                  <a:prstClr val="white"/>
                </a:solidFill>
                <a:effectLst/>
                <a:uLnTx/>
                <a:uFillTx/>
                <a:latin typeface="Arial"/>
                <a:ea typeface="+mn-ea"/>
                <a:cs typeface="+mn-cs"/>
              </a:rPr>
              <a:t>Savings</a:t>
            </a:r>
            <a:r>
              <a:rPr kumimoji="0" lang="fr-FR" sz="800" b="0" i="0" u="none" strike="noStrike" kern="0" cap="none" spc="0" normalizeH="0" baseline="0" noProof="0">
                <a:ln>
                  <a:noFill/>
                </a:ln>
                <a:solidFill>
                  <a:prstClr val="white"/>
                </a:solidFill>
                <a:effectLst/>
                <a:uLnTx/>
                <a:uFillTx/>
                <a:latin typeface="Arial"/>
                <a:ea typeface="+mn-ea"/>
                <a:cs typeface="+mn-cs"/>
              </a:rPr>
              <a:t>: 		30 M$</a:t>
            </a:r>
            <a:endParaRPr kumimoji="0" lang="fr-FR" sz="300" b="0" i="0" u="none" strike="noStrike" kern="0" cap="none" spc="0" normalizeH="0" baseline="0" noProof="0">
              <a:ln>
                <a:noFill/>
              </a:ln>
              <a:solidFill>
                <a:prstClr val="white"/>
              </a:solidFill>
              <a:effectLst/>
              <a:uLnTx/>
              <a:uFillTx/>
              <a:latin typeface="Arial"/>
              <a:ea typeface="+mn-ea"/>
              <a:cs typeface="+mn-cs"/>
            </a:endParaRPr>
          </a:p>
          <a:p>
            <a:pPr marL="118530" marR="0" lvl="0" indent="-118530" algn="l" defTabSz="609570" rtl="0" eaLnBrk="1" fontAlgn="auto" latinLnBrk="0" hangingPunct="1">
              <a:lnSpc>
                <a:spcPct val="100000"/>
              </a:lnSpc>
              <a:spcBef>
                <a:spcPts val="133"/>
              </a:spcBef>
              <a:spcAft>
                <a:spcPts val="0"/>
              </a:spcAft>
              <a:buClrTx/>
              <a:buSzTx/>
              <a:buFont typeface="Wingdings" panose="05000000000000000000" pitchFamily="2" charset="2"/>
              <a:buChar char="ü"/>
              <a:tabLst/>
              <a:defRPr/>
            </a:pPr>
            <a:r>
              <a:rPr kumimoji="0" lang="fr-FR" sz="800" b="0" i="0" u="none" strike="noStrike" kern="0" cap="none" spc="0" normalizeH="0" baseline="0" noProof="0" err="1">
                <a:ln>
                  <a:noFill/>
                </a:ln>
                <a:solidFill>
                  <a:prstClr val="white"/>
                </a:solidFill>
                <a:effectLst/>
                <a:uLnTx/>
                <a:uFillTx/>
                <a:latin typeface="Arial"/>
                <a:ea typeface="+mn-ea"/>
                <a:cs typeface="+mn-cs"/>
              </a:rPr>
              <a:t>Payback</a:t>
            </a:r>
            <a:r>
              <a:rPr kumimoji="0" lang="fr-FR" sz="800" b="0" i="0" u="none" strike="noStrike" kern="0" cap="none" spc="0" normalizeH="0" baseline="0" noProof="0">
                <a:ln>
                  <a:noFill/>
                </a:ln>
                <a:solidFill>
                  <a:prstClr val="white"/>
                </a:solidFill>
                <a:effectLst/>
                <a:uLnTx/>
                <a:uFillTx/>
                <a:latin typeface="Arial"/>
                <a:ea typeface="+mn-ea"/>
                <a:cs typeface="+mn-cs"/>
              </a:rPr>
              <a:t>: 		4 </a:t>
            </a:r>
            <a:r>
              <a:rPr kumimoji="0" lang="fr-FR" sz="800" b="0" i="0" u="none" strike="noStrike" kern="0" cap="none" spc="0" normalizeH="0" baseline="0" noProof="0" err="1">
                <a:ln>
                  <a:noFill/>
                </a:ln>
                <a:solidFill>
                  <a:prstClr val="white"/>
                </a:solidFill>
                <a:effectLst/>
                <a:uLnTx/>
                <a:uFillTx/>
                <a:latin typeface="Arial"/>
                <a:ea typeface="+mn-ea"/>
                <a:cs typeface="+mn-cs"/>
              </a:rPr>
              <a:t>years</a:t>
            </a:r>
            <a:endParaRPr kumimoji="0" lang="fr-FR" sz="800" b="0" i="0" u="none" strike="noStrike" kern="0" cap="none" spc="0" normalizeH="0" baseline="0" noProof="0">
              <a:ln>
                <a:noFill/>
              </a:ln>
              <a:solidFill>
                <a:prstClr val="white"/>
              </a:solidFill>
              <a:effectLst/>
              <a:uLnTx/>
              <a:uFillTx/>
              <a:latin typeface="Arial"/>
              <a:ea typeface="+mn-ea"/>
              <a:cs typeface="+mn-cs"/>
            </a:endParaRPr>
          </a:p>
          <a:p>
            <a:pPr marL="118530" marR="0" lvl="0" indent="-118530" algn="l" defTabSz="609570" rtl="0" eaLnBrk="1" fontAlgn="auto" latinLnBrk="0" hangingPunct="1">
              <a:lnSpc>
                <a:spcPct val="100000"/>
              </a:lnSpc>
              <a:spcBef>
                <a:spcPts val="133"/>
              </a:spcBef>
              <a:spcAft>
                <a:spcPts val="0"/>
              </a:spcAft>
              <a:buClrTx/>
              <a:buSzTx/>
              <a:buFont typeface="Wingdings" panose="05000000000000000000" pitchFamily="2" charset="2"/>
              <a:buChar char="ü"/>
              <a:tabLst/>
              <a:defRPr/>
            </a:pPr>
            <a:r>
              <a:rPr kumimoji="0" lang="fr-FR" sz="800" b="0" i="0" u="none" strike="noStrike" kern="0" cap="none" spc="0" normalizeH="0" baseline="0" noProof="0">
                <a:ln>
                  <a:noFill/>
                </a:ln>
                <a:solidFill>
                  <a:prstClr val="white"/>
                </a:solidFill>
                <a:effectLst/>
                <a:uLnTx/>
                <a:uFillTx/>
                <a:latin typeface="Arial"/>
                <a:ea typeface="+mn-ea"/>
                <a:cs typeface="+mn-cs"/>
              </a:rPr>
              <a:t>GHG </a:t>
            </a:r>
            <a:r>
              <a:rPr kumimoji="0" lang="fr-FR" sz="800" b="0" i="0" u="none" strike="noStrike" kern="0" cap="none" spc="0" normalizeH="0" baseline="0" noProof="0" err="1">
                <a:ln>
                  <a:noFill/>
                </a:ln>
                <a:solidFill>
                  <a:prstClr val="white"/>
                </a:solidFill>
                <a:effectLst/>
                <a:uLnTx/>
                <a:uFillTx/>
                <a:latin typeface="Arial"/>
                <a:ea typeface="+mn-ea"/>
                <a:cs typeface="+mn-cs"/>
              </a:rPr>
              <a:t>reduction</a:t>
            </a:r>
            <a:r>
              <a:rPr kumimoji="0" lang="fr-FR" sz="800" b="0" i="0" u="none" strike="noStrike" kern="0" cap="none" spc="0" normalizeH="0" baseline="0" noProof="0">
                <a:ln>
                  <a:noFill/>
                </a:ln>
                <a:solidFill>
                  <a:prstClr val="white"/>
                </a:solidFill>
                <a:effectLst/>
                <a:uLnTx/>
                <a:uFillTx/>
                <a:latin typeface="Arial"/>
                <a:ea typeface="+mn-ea"/>
                <a:cs typeface="+mn-cs"/>
              </a:rPr>
              <a:t>: 	29 %</a:t>
            </a:r>
          </a:p>
        </p:txBody>
      </p:sp>
      <p:sp>
        <p:nvSpPr>
          <p:cNvPr id="77" name="TextBox 47">
            <a:extLst>
              <a:ext uri="{FF2B5EF4-FFF2-40B4-BE49-F238E27FC236}">
                <a16:creationId xmlns:a16="http://schemas.microsoft.com/office/drawing/2014/main" id="{96E4FF90-C8CF-4D90-83AC-1E92C2957A84}"/>
              </a:ext>
            </a:extLst>
          </p:cNvPr>
          <p:cNvSpPr txBox="1"/>
          <p:nvPr/>
        </p:nvSpPr>
        <p:spPr>
          <a:xfrm>
            <a:off x="10386860" y="752359"/>
            <a:ext cx="700833" cy="253916"/>
          </a:xfrm>
          <a:prstGeom prst="rect">
            <a:avLst/>
          </a:prstGeom>
          <a:noFill/>
        </p:spPr>
        <p:txBody>
          <a:bodyPr wrap="none" rtlCol="0">
            <a:spAutoFit/>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Arial"/>
                <a:ea typeface="+mn-ea"/>
                <a:cs typeface="+mn-cs"/>
              </a:rPr>
              <a:t>WAVE 2</a:t>
            </a:r>
          </a:p>
        </p:txBody>
      </p:sp>
      <p:sp>
        <p:nvSpPr>
          <p:cNvPr id="78" name="Rectangle 77">
            <a:extLst>
              <a:ext uri="{FF2B5EF4-FFF2-40B4-BE49-F238E27FC236}">
                <a16:creationId xmlns:a16="http://schemas.microsoft.com/office/drawing/2014/main" id="{A9E9E36D-296F-4310-A457-0AAD2B1ED006}"/>
              </a:ext>
            </a:extLst>
          </p:cNvPr>
          <p:cNvSpPr/>
          <p:nvPr/>
        </p:nvSpPr>
        <p:spPr>
          <a:xfrm>
            <a:off x="7649605" y="2458368"/>
            <a:ext cx="1968803" cy="565431"/>
          </a:xfrm>
          <a:prstGeom prst="rect">
            <a:avLst/>
          </a:prstGeom>
          <a:solidFill>
            <a:srgbClr val="3DCD59"/>
          </a:solidFill>
          <a:ln w="9525" cap="flat" cmpd="sng" algn="ctr">
            <a:noFill/>
            <a:prstDash val="solid"/>
          </a:ln>
          <a:effectLst/>
        </p:spPr>
        <p:txBody>
          <a:bodyPr rtlCol="0" anchor="ctr"/>
          <a:lstStyle/>
          <a:p>
            <a:pPr marL="118530" marR="0" lvl="0" indent="-118530" algn="l" defTabSz="609570" rtl="0" eaLnBrk="1" fontAlgn="auto" latinLnBrk="0" hangingPunct="1">
              <a:lnSpc>
                <a:spcPct val="100000"/>
              </a:lnSpc>
              <a:spcBef>
                <a:spcPts val="133"/>
              </a:spcBef>
              <a:spcAft>
                <a:spcPts val="0"/>
              </a:spcAft>
              <a:buClrTx/>
              <a:buSzTx/>
              <a:buFont typeface="Wingdings" panose="05000000000000000000" pitchFamily="2" charset="2"/>
              <a:buChar char="ü"/>
              <a:tabLst/>
              <a:defRPr/>
            </a:pPr>
            <a:r>
              <a:rPr kumimoji="0" lang="fr-FR" sz="800" b="0" i="0" u="none" strike="noStrike" kern="0" cap="none" spc="0" normalizeH="0" baseline="0" noProof="0" err="1">
                <a:ln>
                  <a:noFill/>
                </a:ln>
                <a:solidFill>
                  <a:prstClr val="white"/>
                </a:solidFill>
                <a:effectLst/>
                <a:uLnTx/>
                <a:uFillTx/>
                <a:latin typeface="Arial"/>
                <a:ea typeface="+mn-ea"/>
                <a:cs typeface="+mn-cs"/>
              </a:rPr>
              <a:t>Savings</a:t>
            </a:r>
            <a:r>
              <a:rPr kumimoji="0" lang="fr-FR" sz="800" b="0" i="0" u="none" strike="noStrike" kern="0" cap="none" spc="0" normalizeH="0" baseline="0" noProof="0">
                <a:ln>
                  <a:noFill/>
                </a:ln>
                <a:solidFill>
                  <a:prstClr val="white"/>
                </a:solidFill>
                <a:effectLst/>
                <a:uLnTx/>
                <a:uFillTx/>
                <a:latin typeface="Arial"/>
                <a:ea typeface="+mn-ea"/>
                <a:cs typeface="+mn-cs"/>
              </a:rPr>
              <a:t>: 		1 M$</a:t>
            </a:r>
            <a:endParaRPr kumimoji="0" lang="fr-FR" sz="300" b="0" i="0" u="none" strike="noStrike" kern="0" cap="none" spc="0" normalizeH="0" baseline="0" noProof="0">
              <a:ln>
                <a:noFill/>
              </a:ln>
              <a:solidFill>
                <a:prstClr val="white"/>
              </a:solidFill>
              <a:effectLst/>
              <a:uLnTx/>
              <a:uFillTx/>
              <a:latin typeface="Arial"/>
              <a:ea typeface="+mn-ea"/>
              <a:cs typeface="+mn-cs"/>
            </a:endParaRPr>
          </a:p>
          <a:p>
            <a:pPr marL="118530" marR="0" lvl="0" indent="-118530" algn="l" defTabSz="609570" rtl="0" eaLnBrk="1" fontAlgn="auto" latinLnBrk="0" hangingPunct="1">
              <a:lnSpc>
                <a:spcPct val="100000"/>
              </a:lnSpc>
              <a:spcBef>
                <a:spcPts val="133"/>
              </a:spcBef>
              <a:spcAft>
                <a:spcPts val="0"/>
              </a:spcAft>
              <a:buClrTx/>
              <a:buSzTx/>
              <a:buFont typeface="Wingdings" panose="05000000000000000000" pitchFamily="2" charset="2"/>
              <a:buChar char="ü"/>
              <a:tabLst/>
              <a:defRPr/>
            </a:pPr>
            <a:r>
              <a:rPr kumimoji="0" lang="fr-FR" sz="800" b="0" i="0" u="none" strike="noStrike" kern="0" cap="none" spc="0" normalizeH="0" baseline="0" noProof="0">
                <a:ln>
                  <a:noFill/>
                </a:ln>
                <a:solidFill>
                  <a:prstClr val="white"/>
                </a:solidFill>
                <a:effectLst/>
                <a:uLnTx/>
                <a:uFillTx/>
                <a:latin typeface="Arial"/>
                <a:ea typeface="+mn-ea"/>
                <a:cs typeface="+mn-cs"/>
              </a:rPr>
              <a:t>RE </a:t>
            </a:r>
            <a:r>
              <a:rPr kumimoji="0" lang="fr-FR" sz="800" b="0" i="0" u="none" strike="noStrike" kern="0" cap="none" spc="0" normalizeH="0" baseline="0" noProof="0" err="1">
                <a:ln>
                  <a:noFill/>
                </a:ln>
                <a:solidFill>
                  <a:prstClr val="white"/>
                </a:solidFill>
                <a:effectLst/>
                <a:uLnTx/>
                <a:uFillTx/>
                <a:latin typeface="Arial"/>
                <a:ea typeface="+mn-ea"/>
                <a:cs typeface="+mn-cs"/>
              </a:rPr>
              <a:t>Procured</a:t>
            </a:r>
            <a:r>
              <a:rPr kumimoji="0" lang="fr-FR" sz="800" b="0" i="0" u="none" strike="noStrike" kern="0" cap="none" spc="0" normalizeH="0" baseline="0" noProof="0">
                <a:ln>
                  <a:noFill/>
                </a:ln>
                <a:solidFill>
                  <a:prstClr val="white"/>
                </a:solidFill>
                <a:effectLst/>
                <a:uLnTx/>
                <a:uFillTx/>
                <a:latin typeface="Arial"/>
                <a:ea typeface="+mn-ea"/>
                <a:cs typeface="+mn-cs"/>
              </a:rPr>
              <a:t>:	100 GWh/</a:t>
            </a:r>
            <a:r>
              <a:rPr kumimoji="0" lang="fr-FR" sz="800" b="0" i="0" u="none" strike="noStrike" kern="0" cap="none" spc="0" normalizeH="0" baseline="0" noProof="0" err="1">
                <a:ln>
                  <a:noFill/>
                </a:ln>
                <a:solidFill>
                  <a:prstClr val="white"/>
                </a:solidFill>
                <a:effectLst/>
                <a:uLnTx/>
                <a:uFillTx/>
                <a:latin typeface="Arial"/>
                <a:ea typeface="+mn-ea"/>
                <a:cs typeface="+mn-cs"/>
              </a:rPr>
              <a:t>yr</a:t>
            </a:r>
            <a:endParaRPr kumimoji="0" lang="fr-FR" sz="800" b="0" i="0" u="none" strike="noStrike" kern="0" cap="none" spc="0" normalizeH="0" baseline="0" noProof="0">
              <a:ln>
                <a:noFill/>
              </a:ln>
              <a:solidFill>
                <a:prstClr val="white"/>
              </a:solidFill>
              <a:effectLst/>
              <a:uLnTx/>
              <a:uFillTx/>
              <a:latin typeface="Arial"/>
              <a:ea typeface="+mn-ea"/>
              <a:cs typeface="+mn-cs"/>
            </a:endParaRPr>
          </a:p>
          <a:p>
            <a:pPr marL="118530" marR="0" lvl="0" indent="-118530" algn="l" defTabSz="609570" rtl="0" eaLnBrk="1" fontAlgn="auto" latinLnBrk="0" hangingPunct="1">
              <a:lnSpc>
                <a:spcPct val="100000"/>
              </a:lnSpc>
              <a:spcBef>
                <a:spcPts val="133"/>
              </a:spcBef>
              <a:spcAft>
                <a:spcPts val="0"/>
              </a:spcAft>
              <a:buClrTx/>
              <a:buSzTx/>
              <a:buFont typeface="Wingdings" panose="05000000000000000000" pitchFamily="2" charset="2"/>
              <a:buChar char="ü"/>
              <a:tabLst/>
              <a:defRPr/>
            </a:pPr>
            <a:r>
              <a:rPr kumimoji="0" lang="fr-FR" sz="800" b="0" i="0" u="none" strike="noStrike" kern="0" cap="none" spc="0" normalizeH="0" baseline="0" noProof="0">
                <a:ln>
                  <a:noFill/>
                </a:ln>
                <a:solidFill>
                  <a:prstClr val="white"/>
                </a:solidFill>
                <a:effectLst/>
                <a:uLnTx/>
                <a:uFillTx/>
                <a:latin typeface="Arial"/>
                <a:ea typeface="+mn-ea"/>
                <a:cs typeface="+mn-cs"/>
              </a:rPr>
              <a:t>GHG </a:t>
            </a:r>
            <a:r>
              <a:rPr kumimoji="0" lang="fr-FR" sz="800" b="0" i="0" u="none" strike="noStrike" kern="0" cap="none" spc="0" normalizeH="0" baseline="0" noProof="0" err="1">
                <a:ln>
                  <a:noFill/>
                </a:ln>
                <a:solidFill>
                  <a:prstClr val="white"/>
                </a:solidFill>
                <a:effectLst/>
                <a:uLnTx/>
                <a:uFillTx/>
                <a:latin typeface="Arial"/>
                <a:ea typeface="+mn-ea"/>
                <a:cs typeface="+mn-cs"/>
              </a:rPr>
              <a:t>reduction</a:t>
            </a:r>
            <a:r>
              <a:rPr kumimoji="0" lang="fr-FR" sz="800" b="0" i="0" u="none" strike="noStrike" kern="0" cap="none" spc="0" normalizeH="0" baseline="0" noProof="0">
                <a:ln>
                  <a:noFill/>
                </a:ln>
                <a:solidFill>
                  <a:prstClr val="white"/>
                </a:solidFill>
                <a:effectLst/>
                <a:uLnTx/>
                <a:uFillTx/>
                <a:latin typeface="Arial"/>
                <a:ea typeface="+mn-ea"/>
                <a:cs typeface="+mn-cs"/>
              </a:rPr>
              <a:t>: 	22 %</a:t>
            </a:r>
          </a:p>
        </p:txBody>
      </p:sp>
      <p:sp>
        <p:nvSpPr>
          <p:cNvPr id="79" name="Rectangle 78">
            <a:extLst>
              <a:ext uri="{FF2B5EF4-FFF2-40B4-BE49-F238E27FC236}">
                <a16:creationId xmlns:a16="http://schemas.microsoft.com/office/drawing/2014/main" id="{E0BD10F6-CA7F-423B-B828-20D4939CF597}"/>
              </a:ext>
            </a:extLst>
          </p:cNvPr>
          <p:cNvSpPr/>
          <p:nvPr/>
        </p:nvSpPr>
        <p:spPr>
          <a:xfrm>
            <a:off x="9749671" y="2458367"/>
            <a:ext cx="1968803" cy="565431"/>
          </a:xfrm>
          <a:prstGeom prst="rect">
            <a:avLst/>
          </a:prstGeom>
          <a:solidFill>
            <a:srgbClr val="3DCD59"/>
          </a:solidFill>
          <a:ln w="9525" cap="flat" cmpd="sng" algn="ctr">
            <a:noFill/>
            <a:prstDash val="solid"/>
          </a:ln>
          <a:effectLst/>
        </p:spPr>
        <p:txBody>
          <a:bodyPr rtlCol="0" anchor="ctr"/>
          <a:lstStyle/>
          <a:p>
            <a:pPr marL="118530" marR="0" lvl="0" indent="-118530" algn="l" defTabSz="609570" rtl="0" eaLnBrk="1" fontAlgn="auto" latinLnBrk="0" hangingPunct="1">
              <a:lnSpc>
                <a:spcPct val="100000"/>
              </a:lnSpc>
              <a:spcBef>
                <a:spcPts val="133"/>
              </a:spcBef>
              <a:spcAft>
                <a:spcPts val="0"/>
              </a:spcAft>
              <a:buClrTx/>
              <a:buSzTx/>
              <a:buFont typeface="Wingdings" panose="05000000000000000000" pitchFamily="2" charset="2"/>
              <a:buChar char="ü"/>
              <a:tabLst/>
              <a:defRPr/>
            </a:pPr>
            <a:r>
              <a:rPr kumimoji="0" lang="fr-FR" sz="800" b="0" i="0" u="none" strike="noStrike" kern="0" cap="none" spc="0" normalizeH="0" baseline="0" noProof="0" err="1">
                <a:ln>
                  <a:noFill/>
                </a:ln>
                <a:solidFill>
                  <a:prstClr val="white"/>
                </a:solidFill>
                <a:effectLst/>
                <a:uLnTx/>
                <a:uFillTx/>
                <a:latin typeface="Arial"/>
                <a:ea typeface="+mn-ea"/>
                <a:cs typeface="+mn-cs"/>
              </a:rPr>
              <a:t>Savings</a:t>
            </a:r>
            <a:r>
              <a:rPr kumimoji="0" lang="fr-FR" sz="800" b="0" i="0" u="none" strike="noStrike" kern="0" cap="none" spc="0" normalizeH="0" baseline="0" noProof="0">
                <a:ln>
                  <a:noFill/>
                </a:ln>
                <a:solidFill>
                  <a:prstClr val="white"/>
                </a:solidFill>
                <a:effectLst/>
                <a:uLnTx/>
                <a:uFillTx/>
                <a:latin typeface="Arial"/>
                <a:ea typeface="+mn-ea"/>
                <a:cs typeface="+mn-cs"/>
              </a:rPr>
              <a:t>: 		2 M$</a:t>
            </a:r>
            <a:endParaRPr kumimoji="0" lang="fr-FR" sz="300" b="0" i="0" u="none" strike="noStrike" kern="0" cap="none" spc="0" normalizeH="0" baseline="0" noProof="0">
              <a:ln>
                <a:noFill/>
              </a:ln>
              <a:solidFill>
                <a:prstClr val="white"/>
              </a:solidFill>
              <a:effectLst/>
              <a:uLnTx/>
              <a:uFillTx/>
              <a:latin typeface="Arial"/>
              <a:ea typeface="+mn-ea"/>
              <a:cs typeface="+mn-cs"/>
            </a:endParaRPr>
          </a:p>
          <a:p>
            <a:pPr marL="118530" marR="0" lvl="0" indent="-118530" algn="l" defTabSz="609570" rtl="0" eaLnBrk="1" fontAlgn="auto" latinLnBrk="0" hangingPunct="1">
              <a:lnSpc>
                <a:spcPct val="100000"/>
              </a:lnSpc>
              <a:spcBef>
                <a:spcPts val="133"/>
              </a:spcBef>
              <a:spcAft>
                <a:spcPts val="0"/>
              </a:spcAft>
              <a:buClrTx/>
              <a:buSzTx/>
              <a:buFont typeface="Wingdings" panose="05000000000000000000" pitchFamily="2" charset="2"/>
              <a:buChar char="ü"/>
              <a:tabLst/>
              <a:defRPr/>
            </a:pPr>
            <a:r>
              <a:rPr kumimoji="0" lang="fr-FR" sz="800" b="0" i="0" u="none" strike="noStrike" kern="0" cap="none" spc="0" normalizeH="0" baseline="0" noProof="0">
                <a:ln>
                  <a:noFill/>
                </a:ln>
                <a:solidFill>
                  <a:prstClr val="white"/>
                </a:solidFill>
                <a:effectLst/>
                <a:uLnTx/>
                <a:uFillTx/>
                <a:latin typeface="Arial"/>
                <a:ea typeface="+mn-ea"/>
                <a:cs typeface="+mn-cs"/>
              </a:rPr>
              <a:t>RE </a:t>
            </a:r>
            <a:r>
              <a:rPr kumimoji="0" lang="fr-FR" sz="800" b="0" i="0" u="none" strike="noStrike" kern="0" cap="none" spc="0" normalizeH="0" baseline="0" noProof="0" err="1">
                <a:ln>
                  <a:noFill/>
                </a:ln>
                <a:solidFill>
                  <a:prstClr val="white"/>
                </a:solidFill>
                <a:effectLst/>
                <a:uLnTx/>
                <a:uFillTx/>
                <a:latin typeface="Arial"/>
                <a:ea typeface="+mn-ea"/>
                <a:cs typeface="+mn-cs"/>
              </a:rPr>
              <a:t>Procured</a:t>
            </a:r>
            <a:r>
              <a:rPr kumimoji="0" lang="fr-FR" sz="800" b="0" i="0" u="none" strike="noStrike" kern="0" cap="none" spc="0" normalizeH="0" baseline="0" noProof="0">
                <a:ln>
                  <a:noFill/>
                </a:ln>
                <a:solidFill>
                  <a:prstClr val="white"/>
                </a:solidFill>
                <a:effectLst/>
                <a:uLnTx/>
                <a:uFillTx/>
                <a:latin typeface="Arial"/>
                <a:ea typeface="+mn-ea"/>
                <a:cs typeface="+mn-cs"/>
              </a:rPr>
              <a:t>:	200 GWh/</a:t>
            </a:r>
            <a:r>
              <a:rPr kumimoji="0" lang="fr-FR" sz="800" b="0" i="0" u="none" strike="noStrike" kern="0" cap="none" spc="0" normalizeH="0" baseline="0" noProof="0" err="1">
                <a:ln>
                  <a:noFill/>
                </a:ln>
                <a:solidFill>
                  <a:prstClr val="white"/>
                </a:solidFill>
                <a:effectLst/>
                <a:uLnTx/>
                <a:uFillTx/>
                <a:latin typeface="Arial"/>
                <a:ea typeface="+mn-ea"/>
                <a:cs typeface="+mn-cs"/>
              </a:rPr>
              <a:t>yr</a:t>
            </a:r>
            <a:endParaRPr kumimoji="0" lang="fr-FR" sz="800" b="0" i="0" u="none" strike="noStrike" kern="0" cap="none" spc="0" normalizeH="0" baseline="0" noProof="0">
              <a:ln>
                <a:noFill/>
              </a:ln>
              <a:solidFill>
                <a:prstClr val="white"/>
              </a:solidFill>
              <a:effectLst/>
              <a:uLnTx/>
              <a:uFillTx/>
              <a:latin typeface="Arial"/>
              <a:ea typeface="+mn-ea"/>
              <a:cs typeface="+mn-cs"/>
            </a:endParaRPr>
          </a:p>
          <a:p>
            <a:pPr marL="118530" marR="0" lvl="0" indent="-118530" algn="l" defTabSz="609570" rtl="0" eaLnBrk="1" fontAlgn="auto" latinLnBrk="0" hangingPunct="1">
              <a:lnSpc>
                <a:spcPct val="100000"/>
              </a:lnSpc>
              <a:spcBef>
                <a:spcPts val="133"/>
              </a:spcBef>
              <a:spcAft>
                <a:spcPts val="0"/>
              </a:spcAft>
              <a:buClrTx/>
              <a:buSzTx/>
              <a:buFont typeface="Wingdings" panose="05000000000000000000" pitchFamily="2" charset="2"/>
              <a:buChar char="ü"/>
              <a:tabLst/>
              <a:defRPr/>
            </a:pPr>
            <a:r>
              <a:rPr kumimoji="0" lang="fr-FR" sz="800" b="0" i="0" u="none" strike="noStrike" kern="0" cap="none" spc="0" normalizeH="0" baseline="0" noProof="0">
                <a:ln>
                  <a:noFill/>
                </a:ln>
                <a:solidFill>
                  <a:prstClr val="white"/>
                </a:solidFill>
                <a:effectLst/>
                <a:uLnTx/>
                <a:uFillTx/>
                <a:latin typeface="Arial"/>
                <a:ea typeface="+mn-ea"/>
                <a:cs typeface="+mn-cs"/>
              </a:rPr>
              <a:t>GHG </a:t>
            </a:r>
            <a:r>
              <a:rPr kumimoji="0" lang="fr-FR" sz="800" b="0" i="0" u="none" strike="noStrike" kern="0" cap="none" spc="0" normalizeH="0" baseline="0" noProof="0" err="1">
                <a:ln>
                  <a:noFill/>
                </a:ln>
                <a:solidFill>
                  <a:prstClr val="white"/>
                </a:solidFill>
                <a:effectLst/>
                <a:uLnTx/>
                <a:uFillTx/>
                <a:latin typeface="Arial"/>
                <a:ea typeface="+mn-ea"/>
                <a:cs typeface="+mn-cs"/>
              </a:rPr>
              <a:t>reduction</a:t>
            </a:r>
            <a:r>
              <a:rPr kumimoji="0" lang="fr-FR" sz="800" b="0" i="0" u="none" strike="noStrike" kern="0" cap="none" spc="0" normalizeH="0" baseline="0" noProof="0">
                <a:ln>
                  <a:noFill/>
                </a:ln>
                <a:solidFill>
                  <a:prstClr val="white"/>
                </a:solidFill>
                <a:effectLst/>
                <a:uLnTx/>
                <a:uFillTx/>
                <a:latin typeface="Arial"/>
                <a:ea typeface="+mn-ea"/>
                <a:cs typeface="+mn-cs"/>
              </a:rPr>
              <a:t>: 	44 %</a:t>
            </a:r>
          </a:p>
        </p:txBody>
      </p:sp>
      <p:sp>
        <p:nvSpPr>
          <p:cNvPr id="80" name="Rectangle 79">
            <a:extLst>
              <a:ext uri="{FF2B5EF4-FFF2-40B4-BE49-F238E27FC236}">
                <a16:creationId xmlns:a16="http://schemas.microsoft.com/office/drawing/2014/main" id="{41C5FBD9-526D-4DC5-B5C6-E9869A0D520C}"/>
              </a:ext>
            </a:extLst>
          </p:cNvPr>
          <p:cNvSpPr/>
          <p:nvPr/>
        </p:nvSpPr>
        <p:spPr>
          <a:xfrm>
            <a:off x="7649604" y="3148697"/>
            <a:ext cx="1968803" cy="565431"/>
          </a:xfrm>
          <a:prstGeom prst="rect">
            <a:avLst/>
          </a:prstGeom>
          <a:solidFill>
            <a:srgbClr val="2D8B49"/>
          </a:solidFill>
          <a:ln w="9525" cap="flat" cmpd="sng" algn="ctr">
            <a:noFill/>
            <a:prstDash val="solid"/>
          </a:ln>
          <a:effectLst/>
        </p:spPr>
        <p:txBody>
          <a:bodyPr rtlCol="0" anchor="ctr"/>
          <a:lstStyle/>
          <a:p>
            <a:pPr marL="118530" marR="0" lvl="0" indent="-118530" algn="l" defTabSz="609570" rtl="0" eaLnBrk="1" fontAlgn="auto" latinLnBrk="0" hangingPunct="1">
              <a:lnSpc>
                <a:spcPct val="100000"/>
              </a:lnSpc>
              <a:spcBef>
                <a:spcPts val="133"/>
              </a:spcBef>
              <a:spcAft>
                <a:spcPts val="0"/>
              </a:spcAft>
              <a:buClrTx/>
              <a:buSzTx/>
              <a:buFont typeface="Wingdings" panose="05000000000000000000" pitchFamily="2" charset="2"/>
              <a:buChar char="ü"/>
              <a:tabLst/>
              <a:defRPr/>
            </a:pPr>
            <a:r>
              <a:rPr kumimoji="0" lang="fr-FR" sz="800" b="0" i="0" u="none" strike="noStrike" kern="0" cap="none" spc="0" normalizeH="0" baseline="0" noProof="0" err="1">
                <a:ln>
                  <a:noFill/>
                </a:ln>
                <a:solidFill>
                  <a:prstClr val="white"/>
                </a:solidFill>
                <a:effectLst/>
                <a:uLnTx/>
                <a:uFillTx/>
                <a:latin typeface="Arial"/>
                <a:ea typeface="+mn-ea"/>
                <a:cs typeface="+mn-cs"/>
              </a:rPr>
              <a:t>GOs</a:t>
            </a:r>
            <a:r>
              <a:rPr kumimoji="0" lang="fr-FR" sz="800" b="0" i="0" u="none" strike="noStrike" kern="0" cap="none" spc="0" normalizeH="0" baseline="0" noProof="0">
                <a:ln>
                  <a:noFill/>
                </a:ln>
                <a:solidFill>
                  <a:prstClr val="white"/>
                </a:solidFill>
                <a:effectLst/>
                <a:uLnTx/>
                <a:uFillTx/>
                <a:latin typeface="Arial"/>
                <a:ea typeface="+mn-ea"/>
                <a:cs typeface="+mn-cs"/>
              </a:rPr>
              <a:t>/</a:t>
            </a:r>
            <a:r>
              <a:rPr kumimoji="0" lang="fr-FR" sz="800" b="0" i="0" u="none" strike="noStrike" kern="0" cap="none" spc="0" normalizeH="0" baseline="0" noProof="0" err="1">
                <a:ln>
                  <a:noFill/>
                </a:ln>
                <a:solidFill>
                  <a:prstClr val="white"/>
                </a:solidFill>
                <a:effectLst/>
                <a:uLnTx/>
                <a:uFillTx/>
                <a:latin typeface="Arial"/>
                <a:ea typeface="+mn-ea"/>
                <a:cs typeface="+mn-cs"/>
              </a:rPr>
              <a:t>EACs</a:t>
            </a:r>
            <a:r>
              <a:rPr kumimoji="0" lang="fr-FR" sz="800" b="0" i="0" u="none" strike="noStrike" kern="0" cap="none" spc="0" normalizeH="0" baseline="0" noProof="0">
                <a:ln>
                  <a:noFill/>
                </a:ln>
                <a:solidFill>
                  <a:prstClr val="white"/>
                </a:solidFill>
                <a:effectLst/>
                <a:uLnTx/>
                <a:uFillTx/>
                <a:latin typeface="Arial"/>
                <a:ea typeface="+mn-ea"/>
                <a:cs typeface="+mn-cs"/>
              </a:rPr>
              <a:t> volume:	60k </a:t>
            </a:r>
            <a:r>
              <a:rPr kumimoji="0" lang="fr-FR" sz="800" b="0" i="0" u="none" strike="noStrike" kern="0" cap="none" spc="0" normalizeH="0" baseline="0" noProof="0" err="1">
                <a:ln>
                  <a:noFill/>
                </a:ln>
                <a:solidFill>
                  <a:prstClr val="white"/>
                </a:solidFill>
                <a:effectLst/>
                <a:uLnTx/>
                <a:uFillTx/>
                <a:latin typeface="Arial"/>
                <a:ea typeface="+mn-ea"/>
                <a:cs typeface="+mn-cs"/>
              </a:rPr>
              <a:t>MTons</a:t>
            </a:r>
            <a:endParaRPr kumimoji="0" lang="fr-FR" sz="300" b="0" i="0" u="none" strike="noStrike" kern="0" cap="none" spc="0" normalizeH="0" baseline="0" noProof="0">
              <a:ln>
                <a:noFill/>
              </a:ln>
              <a:solidFill>
                <a:prstClr val="white"/>
              </a:solidFill>
              <a:effectLst/>
              <a:uLnTx/>
              <a:uFillTx/>
              <a:latin typeface="Arial"/>
              <a:ea typeface="+mn-ea"/>
              <a:cs typeface="+mn-cs"/>
            </a:endParaRPr>
          </a:p>
          <a:p>
            <a:pPr marL="118530" marR="0" lvl="0" indent="-118530" algn="l" defTabSz="609570" rtl="0" eaLnBrk="1" fontAlgn="auto" latinLnBrk="0" hangingPunct="1">
              <a:lnSpc>
                <a:spcPct val="100000"/>
              </a:lnSpc>
              <a:spcBef>
                <a:spcPts val="133"/>
              </a:spcBef>
              <a:spcAft>
                <a:spcPts val="0"/>
              </a:spcAft>
              <a:buClrTx/>
              <a:buSzTx/>
              <a:buFont typeface="Wingdings" panose="05000000000000000000" pitchFamily="2" charset="2"/>
              <a:buChar char="ü"/>
              <a:tabLst/>
              <a:defRPr/>
            </a:pPr>
            <a:r>
              <a:rPr kumimoji="0" lang="fr-FR" sz="800" b="0" i="0" u="none" strike="noStrike" kern="0" cap="none" spc="0" normalizeH="0" baseline="0" noProof="0">
                <a:ln>
                  <a:noFill/>
                </a:ln>
                <a:solidFill>
                  <a:prstClr val="white"/>
                </a:solidFill>
                <a:effectLst/>
                <a:uLnTx/>
                <a:uFillTx/>
                <a:latin typeface="Arial"/>
                <a:ea typeface="+mn-ea"/>
                <a:cs typeface="+mn-cs"/>
              </a:rPr>
              <a:t>AVG Price:	4 $/TCO2e</a:t>
            </a:r>
          </a:p>
          <a:p>
            <a:pPr marL="118530" marR="0" lvl="0" indent="-118530" algn="l" defTabSz="609570" rtl="0" eaLnBrk="1" fontAlgn="auto" latinLnBrk="0" hangingPunct="1">
              <a:lnSpc>
                <a:spcPct val="100000"/>
              </a:lnSpc>
              <a:spcBef>
                <a:spcPts val="133"/>
              </a:spcBef>
              <a:spcAft>
                <a:spcPts val="0"/>
              </a:spcAft>
              <a:buClrTx/>
              <a:buSzTx/>
              <a:buFont typeface="Wingdings" panose="05000000000000000000" pitchFamily="2" charset="2"/>
              <a:buChar char="ü"/>
              <a:tabLst/>
              <a:defRPr/>
            </a:pPr>
            <a:r>
              <a:rPr kumimoji="0" lang="fr-FR" sz="800" b="0" i="0" u="none" strike="noStrike" kern="0" cap="none" spc="0" normalizeH="0" baseline="0" noProof="0">
                <a:ln>
                  <a:noFill/>
                </a:ln>
                <a:solidFill>
                  <a:prstClr val="white"/>
                </a:solidFill>
                <a:effectLst/>
                <a:uLnTx/>
                <a:uFillTx/>
                <a:latin typeface="Arial"/>
                <a:ea typeface="+mn-ea"/>
                <a:cs typeface="+mn-cs"/>
              </a:rPr>
              <a:t>GHG offset: 	5 %</a:t>
            </a:r>
          </a:p>
        </p:txBody>
      </p:sp>
      <p:sp>
        <p:nvSpPr>
          <p:cNvPr id="81" name="Rectangle 80">
            <a:extLst>
              <a:ext uri="{FF2B5EF4-FFF2-40B4-BE49-F238E27FC236}">
                <a16:creationId xmlns:a16="http://schemas.microsoft.com/office/drawing/2014/main" id="{36F6F0FC-C43D-47D0-B5BC-E761CCFC492D}"/>
              </a:ext>
            </a:extLst>
          </p:cNvPr>
          <p:cNvSpPr/>
          <p:nvPr/>
        </p:nvSpPr>
        <p:spPr>
          <a:xfrm>
            <a:off x="9749671" y="3140168"/>
            <a:ext cx="1968803" cy="565431"/>
          </a:xfrm>
          <a:prstGeom prst="rect">
            <a:avLst/>
          </a:prstGeom>
          <a:solidFill>
            <a:srgbClr val="2D8B49"/>
          </a:solidFill>
          <a:ln w="9525" cap="flat" cmpd="sng" algn="ctr">
            <a:noFill/>
            <a:prstDash val="solid"/>
          </a:ln>
          <a:effectLst/>
        </p:spPr>
        <p:txBody>
          <a:bodyPr rtlCol="0" anchor="ctr"/>
          <a:lstStyle/>
          <a:p>
            <a:pPr marL="118530" marR="0" lvl="0" indent="-118530" algn="l" defTabSz="609570" rtl="0" eaLnBrk="1" fontAlgn="auto" latinLnBrk="0" hangingPunct="1">
              <a:lnSpc>
                <a:spcPct val="100000"/>
              </a:lnSpc>
              <a:spcBef>
                <a:spcPts val="133"/>
              </a:spcBef>
              <a:spcAft>
                <a:spcPts val="0"/>
              </a:spcAft>
              <a:buClrTx/>
              <a:buSzTx/>
              <a:buFont typeface="Wingdings" panose="05000000000000000000" pitchFamily="2" charset="2"/>
              <a:buChar char="ü"/>
              <a:tabLst/>
              <a:defRPr/>
            </a:pPr>
            <a:r>
              <a:rPr kumimoji="0" lang="fr-FR" sz="800" b="0" i="0" u="none" strike="noStrike" kern="0" cap="none" spc="0" normalizeH="0" baseline="0" noProof="0" err="1">
                <a:ln>
                  <a:noFill/>
                </a:ln>
                <a:solidFill>
                  <a:prstClr val="white"/>
                </a:solidFill>
                <a:effectLst/>
                <a:uLnTx/>
                <a:uFillTx/>
                <a:latin typeface="Arial"/>
                <a:ea typeface="+mn-ea"/>
                <a:cs typeface="+mn-cs"/>
              </a:rPr>
              <a:t>GOs</a:t>
            </a:r>
            <a:r>
              <a:rPr kumimoji="0" lang="fr-FR" sz="800" b="0" i="0" u="none" strike="noStrike" kern="0" cap="none" spc="0" normalizeH="0" baseline="0" noProof="0">
                <a:ln>
                  <a:noFill/>
                </a:ln>
                <a:solidFill>
                  <a:prstClr val="white"/>
                </a:solidFill>
                <a:effectLst/>
                <a:uLnTx/>
                <a:uFillTx/>
                <a:latin typeface="Arial"/>
                <a:ea typeface="+mn-ea"/>
                <a:cs typeface="+mn-cs"/>
              </a:rPr>
              <a:t>/</a:t>
            </a:r>
            <a:r>
              <a:rPr kumimoji="0" lang="fr-FR" sz="800" b="0" i="0" u="none" strike="noStrike" kern="0" cap="none" spc="0" normalizeH="0" baseline="0" noProof="0" err="1">
                <a:ln>
                  <a:noFill/>
                </a:ln>
                <a:solidFill>
                  <a:prstClr val="white"/>
                </a:solidFill>
                <a:effectLst/>
                <a:uLnTx/>
                <a:uFillTx/>
                <a:latin typeface="Arial"/>
                <a:ea typeface="+mn-ea"/>
                <a:cs typeface="+mn-cs"/>
              </a:rPr>
              <a:t>EACs</a:t>
            </a:r>
            <a:r>
              <a:rPr kumimoji="0" lang="fr-FR" sz="800" b="0" i="0" u="none" strike="noStrike" kern="0" cap="none" spc="0" normalizeH="0" baseline="0" noProof="0">
                <a:ln>
                  <a:noFill/>
                </a:ln>
                <a:solidFill>
                  <a:prstClr val="white"/>
                </a:solidFill>
                <a:effectLst/>
                <a:uLnTx/>
                <a:uFillTx/>
                <a:latin typeface="Arial"/>
                <a:ea typeface="+mn-ea"/>
                <a:cs typeface="+mn-cs"/>
              </a:rPr>
              <a:t> volume:	120k </a:t>
            </a:r>
            <a:r>
              <a:rPr kumimoji="0" lang="fr-FR" sz="700" b="0" i="0" u="none" strike="noStrike" kern="0" cap="none" spc="0" normalizeH="0" baseline="0" noProof="0" err="1">
                <a:ln>
                  <a:noFill/>
                </a:ln>
                <a:solidFill>
                  <a:prstClr val="white"/>
                </a:solidFill>
                <a:effectLst/>
                <a:uLnTx/>
                <a:uFillTx/>
                <a:latin typeface="Arial"/>
                <a:ea typeface="+mn-ea"/>
                <a:cs typeface="+mn-cs"/>
              </a:rPr>
              <a:t>MTons</a:t>
            </a:r>
            <a:endParaRPr kumimoji="0" lang="fr-FR" sz="300" b="0" i="0" u="none" strike="noStrike" kern="0" cap="none" spc="0" normalizeH="0" baseline="0" noProof="0">
              <a:ln>
                <a:noFill/>
              </a:ln>
              <a:solidFill>
                <a:prstClr val="white"/>
              </a:solidFill>
              <a:effectLst/>
              <a:uLnTx/>
              <a:uFillTx/>
              <a:latin typeface="Arial"/>
              <a:ea typeface="+mn-ea"/>
              <a:cs typeface="+mn-cs"/>
            </a:endParaRPr>
          </a:p>
          <a:p>
            <a:pPr marL="118530" marR="0" lvl="0" indent="-118530" algn="l" defTabSz="609570" rtl="0" eaLnBrk="1" fontAlgn="auto" latinLnBrk="0" hangingPunct="1">
              <a:lnSpc>
                <a:spcPct val="100000"/>
              </a:lnSpc>
              <a:spcBef>
                <a:spcPts val="133"/>
              </a:spcBef>
              <a:spcAft>
                <a:spcPts val="0"/>
              </a:spcAft>
              <a:buClrTx/>
              <a:buSzTx/>
              <a:buFont typeface="Wingdings" panose="05000000000000000000" pitchFamily="2" charset="2"/>
              <a:buChar char="ü"/>
              <a:tabLst/>
              <a:defRPr/>
            </a:pPr>
            <a:r>
              <a:rPr kumimoji="0" lang="fr-FR" sz="800" b="0" i="0" u="none" strike="noStrike" kern="0" cap="none" spc="0" normalizeH="0" baseline="0" noProof="0">
                <a:ln>
                  <a:noFill/>
                </a:ln>
                <a:solidFill>
                  <a:prstClr val="white"/>
                </a:solidFill>
                <a:effectLst/>
                <a:uLnTx/>
                <a:uFillTx/>
                <a:latin typeface="Arial"/>
                <a:ea typeface="+mn-ea"/>
                <a:cs typeface="+mn-cs"/>
              </a:rPr>
              <a:t>AVG Price:	5 $/TCO2e</a:t>
            </a:r>
          </a:p>
          <a:p>
            <a:pPr marL="118530" marR="0" lvl="0" indent="-118530" algn="l" defTabSz="609570" rtl="0" eaLnBrk="1" fontAlgn="auto" latinLnBrk="0" hangingPunct="1">
              <a:lnSpc>
                <a:spcPct val="100000"/>
              </a:lnSpc>
              <a:spcBef>
                <a:spcPts val="133"/>
              </a:spcBef>
              <a:spcAft>
                <a:spcPts val="0"/>
              </a:spcAft>
              <a:buClrTx/>
              <a:buSzTx/>
              <a:buFont typeface="Wingdings" panose="05000000000000000000" pitchFamily="2" charset="2"/>
              <a:buChar char="ü"/>
              <a:tabLst/>
              <a:defRPr/>
            </a:pPr>
            <a:r>
              <a:rPr kumimoji="0" lang="fr-FR" sz="800" b="0" i="0" u="none" strike="noStrike" kern="0" cap="none" spc="0" normalizeH="0" baseline="0" noProof="0">
                <a:ln>
                  <a:noFill/>
                </a:ln>
                <a:solidFill>
                  <a:prstClr val="white"/>
                </a:solidFill>
                <a:effectLst/>
                <a:uLnTx/>
                <a:uFillTx/>
                <a:latin typeface="Arial"/>
                <a:ea typeface="+mn-ea"/>
                <a:cs typeface="+mn-cs"/>
              </a:rPr>
              <a:t>GHG offset : 	12 %</a:t>
            </a:r>
          </a:p>
        </p:txBody>
      </p:sp>
      <p:sp>
        <p:nvSpPr>
          <p:cNvPr id="82" name="Rectangle 81">
            <a:extLst>
              <a:ext uri="{FF2B5EF4-FFF2-40B4-BE49-F238E27FC236}">
                <a16:creationId xmlns:a16="http://schemas.microsoft.com/office/drawing/2014/main" id="{E788A3CE-96A2-460A-B095-89D361A43271}"/>
              </a:ext>
            </a:extLst>
          </p:cNvPr>
          <p:cNvSpPr/>
          <p:nvPr/>
        </p:nvSpPr>
        <p:spPr>
          <a:xfrm>
            <a:off x="7649603" y="3839026"/>
            <a:ext cx="1968803" cy="565431"/>
          </a:xfrm>
          <a:prstGeom prst="rect">
            <a:avLst/>
          </a:prstGeom>
          <a:solidFill>
            <a:srgbClr val="A26BCB"/>
          </a:solidFill>
          <a:ln w="9525" cap="flat" cmpd="sng" algn="ctr">
            <a:noFill/>
            <a:prstDash val="solid"/>
          </a:ln>
          <a:effectLst/>
        </p:spPr>
        <p:txBody>
          <a:bodyPr rtlCol="0" anchor="ctr"/>
          <a:lstStyle/>
          <a:p>
            <a:pPr marL="118530" marR="0" lvl="0" indent="-118530" algn="l" defTabSz="609570" rtl="0" eaLnBrk="1" fontAlgn="auto" latinLnBrk="0" hangingPunct="1">
              <a:lnSpc>
                <a:spcPct val="100000"/>
              </a:lnSpc>
              <a:spcBef>
                <a:spcPts val="133"/>
              </a:spcBef>
              <a:spcAft>
                <a:spcPts val="0"/>
              </a:spcAft>
              <a:buClrTx/>
              <a:buSzTx/>
              <a:buFont typeface="Wingdings" panose="05000000000000000000" pitchFamily="2" charset="2"/>
              <a:buChar char="ü"/>
              <a:tabLst/>
              <a:defRPr/>
            </a:pPr>
            <a:r>
              <a:rPr kumimoji="0" lang="fr-FR" sz="800" b="0" i="0" u="none" strike="noStrike" kern="0" cap="none" spc="0" normalizeH="0" baseline="0" noProof="0">
                <a:ln>
                  <a:noFill/>
                </a:ln>
                <a:solidFill>
                  <a:prstClr val="white"/>
                </a:solidFill>
                <a:effectLst/>
                <a:uLnTx/>
                <a:uFillTx/>
                <a:latin typeface="Arial"/>
                <a:ea typeface="+mn-ea"/>
                <a:cs typeface="+mn-cs"/>
              </a:rPr>
              <a:t>Budget:  		2 M$</a:t>
            </a:r>
          </a:p>
          <a:p>
            <a:pPr marL="118530" marR="0" lvl="0" indent="-118530" algn="l" defTabSz="609570" rtl="0" eaLnBrk="1" fontAlgn="auto" latinLnBrk="0" hangingPunct="1">
              <a:lnSpc>
                <a:spcPct val="100000"/>
              </a:lnSpc>
              <a:spcBef>
                <a:spcPts val="133"/>
              </a:spcBef>
              <a:spcAft>
                <a:spcPts val="0"/>
              </a:spcAft>
              <a:buClrTx/>
              <a:buSzTx/>
              <a:buFont typeface="Wingdings" panose="05000000000000000000" pitchFamily="2" charset="2"/>
              <a:buChar char="ü"/>
              <a:tabLst/>
              <a:defRPr/>
            </a:pPr>
            <a:r>
              <a:rPr kumimoji="0" lang="fr-FR" sz="800" b="0" i="0" u="none" strike="noStrike" kern="0" cap="none" spc="0" normalizeH="0" baseline="0" noProof="0">
                <a:ln>
                  <a:noFill/>
                </a:ln>
                <a:solidFill>
                  <a:prstClr val="white"/>
                </a:solidFill>
                <a:effectLst/>
                <a:uLnTx/>
                <a:uFillTx/>
                <a:latin typeface="Arial"/>
                <a:ea typeface="+mn-ea"/>
                <a:cs typeface="+mn-cs"/>
              </a:rPr>
              <a:t>ROI:		18%</a:t>
            </a:r>
          </a:p>
          <a:p>
            <a:pPr marL="118530" marR="0" lvl="0" indent="-118530" algn="l" defTabSz="609570" rtl="0" eaLnBrk="1" fontAlgn="auto" latinLnBrk="0" hangingPunct="1">
              <a:lnSpc>
                <a:spcPct val="100000"/>
              </a:lnSpc>
              <a:spcBef>
                <a:spcPts val="133"/>
              </a:spcBef>
              <a:spcAft>
                <a:spcPts val="0"/>
              </a:spcAft>
              <a:buClrTx/>
              <a:buSzTx/>
              <a:buFont typeface="Wingdings" panose="05000000000000000000" pitchFamily="2" charset="2"/>
              <a:buChar char="ü"/>
              <a:tabLst/>
              <a:defRPr/>
            </a:pPr>
            <a:r>
              <a:rPr kumimoji="0" lang="fr-FR" sz="800" b="0" i="0" u="none" strike="noStrike" kern="0" cap="none" spc="0" normalizeH="0" baseline="0" noProof="0">
                <a:ln>
                  <a:noFill/>
                </a:ln>
                <a:solidFill>
                  <a:prstClr val="white"/>
                </a:solidFill>
                <a:effectLst/>
                <a:uLnTx/>
                <a:uFillTx/>
                <a:latin typeface="Arial"/>
                <a:ea typeface="+mn-ea"/>
                <a:cs typeface="+mn-cs"/>
              </a:rPr>
              <a:t>GHG </a:t>
            </a:r>
            <a:r>
              <a:rPr kumimoji="0" lang="fr-FR" sz="800" b="0" i="0" u="none" strike="noStrike" kern="0" cap="none" spc="0" normalizeH="0" baseline="0" noProof="0" err="1">
                <a:ln>
                  <a:noFill/>
                </a:ln>
                <a:solidFill>
                  <a:prstClr val="white"/>
                </a:solidFill>
                <a:effectLst/>
                <a:uLnTx/>
                <a:uFillTx/>
                <a:latin typeface="Arial"/>
                <a:ea typeface="+mn-ea"/>
                <a:cs typeface="+mn-cs"/>
              </a:rPr>
              <a:t>reduction</a:t>
            </a:r>
            <a:r>
              <a:rPr kumimoji="0" lang="fr-FR" sz="800" b="0" i="0" u="none" strike="noStrike" kern="0" cap="none" spc="0" normalizeH="0" baseline="0" noProof="0">
                <a:ln>
                  <a:noFill/>
                </a:ln>
                <a:solidFill>
                  <a:prstClr val="white"/>
                </a:solidFill>
                <a:effectLst/>
                <a:uLnTx/>
                <a:uFillTx/>
                <a:latin typeface="Arial"/>
                <a:ea typeface="+mn-ea"/>
                <a:cs typeface="+mn-cs"/>
              </a:rPr>
              <a:t>: 	5 %</a:t>
            </a:r>
          </a:p>
        </p:txBody>
      </p:sp>
      <p:sp>
        <p:nvSpPr>
          <p:cNvPr id="83" name="Rectangle 82">
            <a:extLst>
              <a:ext uri="{FF2B5EF4-FFF2-40B4-BE49-F238E27FC236}">
                <a16:creationId xmlns:a16="http://schemas.microsoft.com/office/drawing/2014/main" id="{B280142B-3686-4AF0-879E-041E2348735C}"/>
              </a:ext>
            </a:extLst>
          </p:cNvPr>
          <p:cNvSpPr/>
          <p:nvPr/>
        </p:nvSpPr>
        <p:spPr>
          <a:xfrm>
            <a:off x="9749672" y="3834286"/>
            <a:ext cx="1968803" cy="565431"/>
          </a:xfrm>
          <a:prstGeom prst="rect">
            <a:avLst/>
          </a:prstGeom>
          <a:solidFill>
            <a:srgbClr val="A26BCB"/>
          </a:solidFill>
          <a:ln w="9525" cap="flat" cmpd="sng" algn="ctr">
            <a:noFill/>
            <a:prstDash val="solid"/>
          </a:ln>
          <a:effectLst/>
        </p:spPr>
        <p:txBody>
          <a:bodyPr rtlCol="0" anchor="ctr"/>
          <a:lstStyle/>
          <a:p>
            <a:pPr marL="118530" marR="0" lvl="0" indent="-118530" algn="l" defTabSz="609570" rtl="0" eaLnBrk="1" fontAlgn="auto" latinLnBrk="0" hangingPunct="1">
              <a:lnSpc>
                <a:spcPct val="100000"/>
              </a:lnSpc>
              <a:spcBef>
                <a:spcPts val="133"/>
              </a:spcBef>
              <a:spcAft>
                <a:spcPts val="0"/>
              </a:spcAft>
              <a:buClrTx/>
              <a:buSzTx/>
              <a:buFont typeface="Wingdings" panose="05000000000000000000" pitchFamily="2" charset="2"/>
              <a:buChar char="ü"/>
              <a:tabLst/>
              <a:defRPr/>
            </a:pPr>
            <a:r>
              <a:rPr kumimoji="0" lang="fr-FR" sz="800" b="0" i="0" u="none" strike="noStrike" kern="0" cap="none" spc="0" normalizeH="0" baseline="0" noProof="0">
                <a:ln>
                  <a:noFill/>
                </a:ln>
                <a:solidFill>
                  <a:prstClr val="white"/>
                </a:solidFill>
                <a:effectLst/>
                <a:uLnTx/>
                <a:uFillTx/>
                <a:latin typeface="Arial"/>
                <a:ea typeface="+mn-ea"/>
                <a:cs typeface="+mn-cs"/>
              </a:rPr>
              <a:t>Budget:  		4 M$</a:t>
            </a:r>
          </a:p>
          <a:p>
            <a:pPr marL="118530" marR="0" lvl="0" indent="-118530" algn="l" defTabSz="609570" rtl="0" eaLnBrk="1" fontAlgn="auto" latinLnBrk="0" hangingPunct="1">
              <a:lnSpc>
                <a:spcPct val="100000"/>
              </a:lnSpc>
              <a:spcBef>
                <a:spcPts val="133"/>
              </a:spcBef>
              <a:spcAft>
                <a:spcPts val="0"/>
              </a:spcAft>
              <a:buClrTx/>
              <a:buSzTx/>
              <a:buFont typeface="Wingdings" panose="05000000000000000000" pitchFamily="2" charset="2"/>
              <a:buChar char="ü"/>
              <a:tabLst/>
              <a:defRPr/>
            </a:pPr>
            <a:r>
              <a:rPr kumimoji="0" lang="fr-FR" sz="800" b="0" i="0" u="none" strike="noStrike" kern="0" cap="none" spc="0" normalizeH="0" baseline="0" noProof="0">
                <a:ln>
                  <a:noFill/>
                </a:ln>
                <a:solidFill>
                  <a:prstClr val="white"/>
                </a:solidFill>
                <a:effectLst/>
                <a:uLnTx/>
                <a:uFillTx/>
                <a:latin typeface="Arial"/>
                <a:ea typeface="+mn-ea"/>
                <a:cs typeface="+mn-cs"/>
              </a:rPr>
              <a:t>ROI:		15%</a:t>
            </a:r>
          </a:p>
          <a:p>
            <a:pPr marL="118530" marR="0" lvl="0" indent="-118530" algn="l" defTabSz="609570" rtl="0" eaLnBrk="1" fontAlgn="auto" latinLnBrk="0" hangingPunct="1">
              <a:lnSpc>
                <a:spcPct val="100000"/>
              </a:lnSpc>
              <a:spcBef>
                <a:spcPts val="133"/>
              </a:spcBef>
              <a:spcAft>
                <a:spcPts val="0"/>
              </a:spcAft>
              <a:buClrTx/>
              <a:buSzTx/>
              <a:buFont typeface="Wingdings" panose="05000000000000000000" pitchFamily="2" charset="2"/>
              <a:buChar char="ü"/>
              <a:tabLst/>
              <a:defRPr/>
            </a:pPr>
            <a:r>
              <a:rPr kumimoji="0" lang="fr-FR" sz="800" b="0" i="0" u="none" strike="noStrike" kern="0" cap="none" spc="0" normalizeH="0" baseline="0" noProof="0">
                <a:ln>
                  <a:noFill/>
                </a:ln>
                <a:solidFill>
                  <a:prstClr val="white"/>
                </a:solidFill>
                <a:effectLst/>
                <a:uLnTx/>
                <a:uFillTx/>
                <a:latin typeface="Arial"/>
                <a:ea typeface="+mn-ea"/>
                <a:cs typeface="+mn-cs"/>
              </a:rPr>
              <a:t>GHG </a:t>
            </a:r>
            <a:r>
              <a:rPr kumimoji="0" lang="fr-FR" sz="800" b="0" i="0" u="none" strike="noStrike" kern="0" cap="none" spc="0" normalizeH="0" baseline="0" noProof="0" err="1">
                <a:ln>
                  <a:noFill/>
                </a:ln>
                <a:solidFill>
                  <a:prstClr val="white"/>
                </a:solidFill>
                <a:effectLst/>
                <a:uLnTx/>
                <a:uFillTx/>
                <a:latin typeface="Arial"/>
                <a:ea typeface="+mn-ea"/>
                <a:cs typeface="+mn-cs"/>
              </a:rPr>
              <a:t>reduction</a:t>
            </a:r>
            <a:r>
              <a:rPr kumimoji="0" lang="fr-FR" sz="800" b="0" i="0" u="none" strike="noStrike" kern="0" cap="none" spc="0" normalizeH="0" baseline="0" noProof="0">
                <a:ln>
                  <a:noFill/>
                </a:ln>
                <a:solidFill>
                  <a:prstClr val="white"/>
                </a:solidFill>
                <a:effectLst/>
                <a:uLnTx/>
                <a:uFillTx/>
                <a:latin typeface="Arial"/>
                <a:ea typeface="+mn-ea"/>
                <a:cs typeface="+mn-cs"/>
              </a:rPr>
              <a:t>: 	10 %</a:t>
            </a:r>
          </a:p>
        </p:txBody>
      </p:sp>
      <p:sp>
        <p:nvSpPr>
          <p:cNvPr id="85" name="Rectangle 84">
            <a:extLst>
              <a:ext uri="{FF2B5EF4-FFF2-40B4-BE49-F238E27FC236}">
                <a16:creationId xmlns:a16="http://schemas.microsoft.com/office/drawing/2014/main" id="{E03088F3-9B04-41B1-AD49-4B50A701524F}"/>
              </a:ext>
            </a:extLst>
          </p:cNvPr>
          <p:cNvSpPr/>
          <p:nvPr/>
        </p:nvSpPr>
        <p:spPr>
          <a:xfrm>
            <a:off x="7649602" y="4524606"/>
            <a:ext cx="1968803" cy="565431"/>
          </a:xfrm>
          <a:prstGeom prst="rect">
            <a:avLst/>
          </a:prstGeom>
          <a:solidFill>
            <a:srgbClr val="646565"/>
          </a:solidFill>
          <a:ln w="9525" cap="flat" cmpd="sng" algn="ctr">
            <a:noFill/>
            <a:prstDash val="solid"/>
          </a:ln>
          <a:effectLst/>
        </p:spPr>
        <p:txBody>
          <a:bodyPr rtlCol="0" anchor="ctr"/>
          <a:lstStyle/>
          <a:p>
            <a:pPr marL="118530" marR="0" lvl="0" indent="-118530" algn="l" defTabSz="609570" rtl="0" eaLnBrk="1" fontAlgn="auto" latinLnBrk="0" hangingPunct="1">
              <a:lnSpc>
                <a:spcPct val="100000"/>
              </a:lnSpc>
              <a:spcBef>
                <a:spcPts val="133"/>
              </a:spcBef>
              <a:spcAft>
                <a:spcPts val="0"/>
              </a:spcAft>
              <a:buClrTx/>
              <a:buSzTx/>
              <a:buFont typeface="Wingdings" panose="05000000000000000000" pitchFamily="2" charset="2"/>
              <a:buChar char="ü"/>
              <a:tabLst/>
              <a:defRPr/>
            </a:pPr>
            <a:r>
              <a:rPr kumimoji="0" lang="fr-FR" sz="800" b="0" i="0" u="none" strike="noStrike" kern="0" cap="none" spc="0" normalizeH="0" baseline="0" noProof="0">
                <a:ln>
                  <a:noFill/>
                </a:ln>
                <a:solidFill>
                  <a:prstClr val="white"/>
                </a:solidFill>
                <a:effectLst/>
                <a:uLnTx/>
                <a:uFillTx/>
                <a:latin typeface="Arial"/>
                <a:ea typeface="+mn-ea"/>
                <a:cs typeface="+mn-cs"/>
              </a:rPr>
              <a:t>Fleet %: 		40%</a:t>
            </a:r>
            <a:endParaRPr kumimoji="0" lang="fr-FR" sz="300" b="0" i="0" u="none" strike="noStrike" kern="0" cap="none" spc="0" normalizeH="0" baseline="0" noProof="0">
              <a:ln>
                <a:noFill/>
              </a:ln>
              <a:solidFill>
                <a:prstClr val="white"/>
              </a:solidFill>
              <a:effectLst/>
              <a:uLnTx/>
              <a:uFillTx/>
              <a:latin typeface="Arial"/>
              <a:ea typeface="+mn-ea"/>
              <a:cs typeface="+mn-cs"/>
            </a:endParaRPr>
          </a:p>
          <a:p>
            <a:pPr marL="118530" marR="0" lvl="0" indent="-118530" algn="l" defTabSz="609570" rtl="0" eaLnBrk="1" fontAlgn="auto" latinLnBrk="0" hangingPunct="1">
              <a:lnSpc>
                <a:spcPct val="100000"/>
              </a:lnSpc>
              <a:spcBef>
                <a:spcPts val="133"/>
              </a:spcBef>
              <a:spcAft>
                <a:spcPts val="0"/>
              </a:spcAft>
              <a:buClrTx/>
              <a:buSzTx/>
              <a:buFont typeface="Wingdings" panose="05000000000000000000" pitchFamily="2" charset="2"/>
              <a:buChar char="ü"/>
              <a:tabLst/>
              <a:defRPr/>
            </a:pPr>
            <a:r>
              <a:rPr kumimoji="0" lang="fr-FR" sz="800" b="0" i="0" u="none" strike="noStrike" kern="0" cap="none" spc="0" normalizeH="0" baseline="0" noProof="0">
                <a:ln>
                  <a:noFill/>
                </a:ln>
                <a:solidFill>
                  <a:prstClr val="white"/>
                </a:solidFill>
                <a:effectLst/>
                <a:uLnTx/>
                <a:uFillTx/>
                <a:latin typeface="Arial"/>
                <a:ea typeface="+mn-ea"/>
                <a:cs typeface="+mn-cs"/>
              </a:rPr>
              <a:t>Budget:  		5 M$</a:t>
            </a:r>
          </a:p>
          <a:p>
            <a:pPr marL="118530" marR="0" lvl="0" indent="-118530" algn="l" defTabSz="609570" rtl="0" eaLnBrk="1" fontAlgn="auto" latinLnBrk="0" hangingPunct="1">
              <a:lnSpc>
                <a:spcPct val="100000"/>
              </a:lnSpc>
              <a:spcBef>
                <a:spcPts val="133"/>
              </a:spcBef>
              <a:spcAft>
                <a:spcPts val="0"/>
              </a:spcAft>
              <a:buClrTx/>
              <a:buSzTx/>
              <a:buFont typeface="Wingdings" panose="05000000000000000000" pitchFamily="2" charset="2"/>
              <a:buChar char="ü"/>
              <a:tabLst/>
              <a:defRPr/>
            </a:pPr>
            <a:r>
              <a:rPr kumimoji="0" lang="fr-FR" sz="800" b="0" i="0" u="none" strike="noStrike" kern="0" cap="none" spc="0" normalizeH="0" baseline="0" noProof="0">
                <a:ln>
                  <a:noFill/>
                </a:ln>
                <a:solidFill>
                  <a:prstClr val="white"/>
                </a:solidFill>
                <a:effectLst/>
                <a:uLnTx/>
                <a:uFillTx/>
                <a:latin typeface="Arial"/>
                <a:ea typeface="+mn-ea"/>
                <a:cs typeface="+mn-cs"/>
              </a:rPr>
              <a:t>GHG </a:t>
            </a:r>
            <a:r>
              <a:rPr kumimoji="0" lang="fr-FR" sz="800" b="0" i="0" u="none" strike="noStrike" kern="0" cap="none" spc="0" normalizeH="0" baseline="0" noProof="0" err="1">
                <a:ln>
                  <a:noFill/>
                </a:ln>
                <a:solidFill>
                  <a:prstClr val="white"/>
                </a:solidFill>
                <a:effectLst/>
                <a:uLnTx/>
                <a:uFillTx/>
                <a:latin typeface="Arial"/>
                <a:ea typeface="+mn-ea"/>
                <a:cs typeface="+mn-cs"/>
              </a:rPr>
              <a:t>reduction</a:t>
            </a:r>
            <a:r>
              <a:rPr kumimoji="0" lang="fr-FR" sz="800" b="0" i="0" u="none" strike="noStrike" kern="0" cap="none" spc="0" normalizeH="0" baseline="0" noProof="0">
                <a:ln>
                  <a:noFill/>
                </a:ln>
                <a:solidFill>
                  <a:prstClr val="white"/>
                </a:solidFill>
                <a:effectLst/>
                <a:uLnTx/>
                <a:uFillTx/>
                <a:latin typeface="Arial"/>
                <a:ea typeface="+mn-ea"/>
                <a:cs typeface="+mn-cs"/>
              </a:rPr>
              <a:t>: 	2 %</a:t>
            </a:r>
          </a:p>
        </p:txBody>
      </p:sp>
      <p:sp>
        <p:nvSpPr>
          <p:cNvPr id="87" name="Rectangle 86">
            <a:extLst>
              <a:ext uri="{FF2B5EF4-FFF2-40B4-BE49-F238E27FC236}">
                <a16:creationId xmlns:a16="http://schemas.microsoft.com/office/drawing/2014/main" id="{A75DE3BC-D290-4D83-832E-1216B1ACC458}"/>
              </a:ext>
            </a:extLst>
          </p:cNvPr>
          <p:cNvSpPr/>
          <p:nvPr/>
        </p:nvSpPr>
        <p:spPr>
          <a:xfrm>
            <a:off x="9749670" y="4524606"/>
            <a:ext cx="1968803" cy="565431"/>
          </a:xfrm>
          <a:prstGeom prst="rect">
            <a:avLst/>
          </a:prstGeom>
          <a:solidFill>
            <a:srgbClr val="646565"/>
          </a:solidFill>
          <a:ln w="9525" cap="flat" cmpd="sng" algn="ctr">
            <a:noFill/>
            <a:prstDash val="solid"/>
          </a:ln>
          <a:effectLst/>
        </p:spPr>
        <p:txBody>
          <a:bodyPr rtlCol="0" anchor="ctr"/>
          <a:lstStyle/>
          <a:p>
            <a:pPr marL="118530" marR="0" lvl="0" indent="-118530" algn="l" defTabSz="609570" rtl="0" eaLnBrk="1" fontAlgn="auto" latinLnBrk="0" hangingPunct="1">
              <a:lnSpc>
                <a:spcPct val="100000"/>
              </a:lnSpc>
              <a:spcBef>
                <a:spcPts val="133"/>
              </a:spcBef>
              <a:spcAft>
                <a:spcPts val="0"/>
              </a:spcAft>
              <a:buClrTx/>
              <a:buSzTx/>
              <a:buFont typeface="Wingdings" panose="05000000000000000000" pitchFamily="2" charset="2"/>
              <a:buChar char="ü"/>
              <a:tabLst/>
              <a:defRPr/>
            </a:pPr>
            <a:r>
              <a:rPr kumimoji="0" lang="fr-FR" sz="800" b="0" i="0" u="none" strike="noStrike" kern="0" cap="none" spc="0" normalizeH="0" baseline="0" noProof="0">
                <a:ln>
                  <a:noFill/>
                </a:ln>
                <a:solidFill>
                  <a:prstClr val="white"/>
                </a:solidFill>
                <a:effectLst/>
                <a:uLnTx/>
                <a:uFillTx/>
                <a:latin typeface="Arial"/>
                <a:ea typeface="+mn-ea"/>
                <a:cs typeface="+mn-cs"/>
              </a:rPr>
              <a:t>Fleet %: 		100%</a:t>
            </a:r>
            <a:endParaRPr kumimoji="0" lang="fr-FR" sz="300" b="0" i="0" u="none" strike="noStrike" kern="0" cap="none" spc="0" normalizeH="0" baseline="0" noProof="0">
              <a:ln>
                <a:noFill/>
              </a:ln>
              <a:solidFill>
                <a:prstClr val="white"/>
              </a:solidFill>
              <a:effectLst/>
              <a:uLnTx/>
              <a:uFillTx/>
              <a:latin typeface="Arial"/>
              <a:ea typeface="+mn-ea"/>
              <a:cs typeface="+mn-cs"/>
            </a:endParaRPr>
          </a:p>
          <a:p>
            <a:pPr marL="118530" marR="0" lvl="0" indent="-118530" algn="l" defTabSz="609570" rtl="0" eaLnBrk="1" fontAlgn="auto" latinLnBrk="0" hangingPunct="1">
              <a:lnSpc>
                <a:spcPct val="100000"/>
              </a:lnSpc>
              <a:spcBef>
                <a:spcPts val="133"/>
              </a:spcBef>
              <a:spcAft>
                <a:spcPts val="0"/>
              </a:spcAft>
              <a:buClrTx/>
              <a:buSzTx/>
              <a:buFont typeface="Wingdings" panose="05000000000000000000" pitchFamily="2" charset="2"/>
              <a:buChar char="ü"/>
              <a:tabLst/>
              <a:defRPr/>
            </a:pPr>
            <a:r>
              <a:rPr kumimoji="0" lang="fr-FR" sz="800" b="0" i="0" u="none" strike="noStrike" kern="0" cap="none" spc="0" normalizeH="0" baseline="0" noProof="0">
                <a:ln>
                  <a:noFill/>
                </a:ln>
                <a:solidFill>
                  <a:prstClr val="white"/>
                </a:solidFill>
                <a:effectLst/>
                <a:uLnTx/>
                <a:uFillTx/>
                <a:latin typeface="Arial"/>
                <a:ea typeface="+mn-ea"/>
                <a:cs typeface="+mn-cs"/>
              </a:rPr>
              <a:t>Budget:  		12 M$</a:t>
            </a:r>
          </a:p>
          <a:p>
            <a:pPr marL="118530" marR="0" lvl="0" indent="-118530" algn="l" defTabSz="609570" rtl="0" eaLnBrk="1" fontAlgn="auto" latinLnBrk="0" hangingPunct="1">
              <a:lnSpc>
                <a:spcPct val="100000"/>
              </a:lnSpc>
              <a:spcBef>
                <a:spcPts val="133"/>
              </a:spcBef>
              <a:spcAft>
                <a:spcPts val="0"/>
              </a:spcAft>
              <a:buClrTx/>
              <a:buSzTx/>
              <a:buFont typeface="Wingdings" panose="05000000000000000000" pitchFamily="2" charset="2"/>
              <a:buChar char="ü"/>
              <a:tabLst/>
              <a:defRPr/>
            </a:pPr>
            <a:r>
              <a:rPr kumimoji="0" lang="fr-FR" sz="800" b="0" i="0" u="none" strike="noStrike" kern="0" cap="none" spc="0" normalizeH="0" baseline="0" noProof="0">
                <a:ln>
                  <a:noFill/>
                </a:ln>
                <a:solidFill>
                  <a:prstClr val="white"/>
                </a:solidFill>
                <a:effectLst/>
                <a:uLnTx/>
                <a:uFillTx/>
                <a:latin typeface="Arial"/>
                <a:ea typeface="+mn-ea"/>
                <a:cs typeface="+mn-cs"/>
              </a:rPr>
              <a:t>GHG </a:t>
            </a:r>
            <a:r>
              <a:rPr kumimoji="0" lang="fr-FR" sz="800" b="0" i="0" u="none" strike="noStrike" kern="0" cap="none" spc="0" normalizeH="0" baseline="0" noProof="0" err="1">
                <a:ln>
                  <a:noFill/>
                </a:ln>
                <a:solidFill>
                  <a:prstClr val="white"/>
                </a:solidFill>
                <a:effectLst/>
                <a:uLnTx/>
                <a:uFillTx/>
                <a:latin typeface="Arial"/>
                <a:ea typeface="+mn-ea"/>
                <a:cs typeface="+mn-cs"/>
              </a:rPr>
              <a:t>reduction</a:t>
            </a:r>
            <a:r>
              <a:rPr kumimoji="0" lang="fr-FR" sz="800" b="0" i="0" u="none" strike="noStrike" kern="0" cap="none" spc="0" normalizeH="0" baseline="0" noProof="0">
                <a:ln>
                  <a:noFill/>
                </a:ln>
                <a:solidFill>
                  <a:prstClr val="white"/>
                </a:solidFill>
                <a:effectLst/>
                <a:uLnTx/>
                <a:uFillTx/>
                <a:latin typeface="Arial"/>
                <a:ea typeface="+mn-ea"/>
                <a:cs typeface="+mn-cs"/>
              </a:rPr>
              <a:t>: 	5 %</a:t>
            </a:r>
          </a:p>
        </p:txBody>
      </p:sp>
      <p:sp>
        <p:nvSpPr>
          <p:cNvPr id="89" name="TextBox 36">
            <a:extLst>
              <a:ext uri="{FF2B5EF4-FFF2-40B4-BE49-F238E27FC236}">
                <a16:creationId xmlns:a16="http://schemas.microsoft.com/office/drawing/2014/main" id="{44DA3A7D-B93F-4440-AAE1-8ADFA1F3ED26}"/>
              </a:ext>
            </a:extLst>
          </p:cNvPr>
          <p:cNvSpPr txBox="1"/>
          <p:nvPr/>
        </p:nvSpPr>
        <p:spPr>
          <a:xfrm rot="16200000">
            <a:off x="-378783" y="3428479"/>
            <a:ext cx="1676886" cy="246221"/>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a:ea typeface="+mn-ea"/>
                <a:cs typeface="+mn-cs"/>
              </a:rPr>
              <a:t>GHG Emissions</a:t>
            </a:r>
          </a:p>
        </p:txBody>
      </p:sp>
      <p:sp>
        <p:nvSpPr>
          <p:cNvPr id="41" name="Freeform 4">
            <a:extLst>
              <a:ext uri="{FF2B5EF4-FFF2-40B4-BE49-F238E27FC236}">
                <a16:creationId xmlns:a16="http://schemas.microsoft.com/office/drawing/2014/main" id="{0EBCC577-99B3-4427-8D47-8536792A0692}"/>
              </a:ext>
            </a:extLst>
          </p:cNvPr>
          <p:cNvSpPr/>
          <p:nvPr/>
        </p:nvSpPr>
        <p:spPr>
          <a:xfrm>
            <a:off x="614785" y="2585175"/>
            <a:ext cx="5057464" cy="943639"/>
          </a:xfrm>
          <a:custGeom>
            <a:avLst/>
            <a:gdLst>
              <a:gd name="connsiteX0" fmla="*/ 0 w 4343400"/>
              <a:gd name="connsiteY0" fmla="*/ 0 h 498764"/>
              <a:gd name="connsiteX1" fmla="*/ 1672936 w 4343400"/>
              <a:gd name="connsiteY1" fmla="*/ 249382 h 498764"/>
              <a:gd name="connsiteX2" fmla="*/ 2961409 w 4343400"/>
              <a:gd name="connsiteY2" fmla="*/ 249382 h 498764"/>
              <a:gd name="connsiteX3" fmla="*/ 4343400 w 4343400"/>
              <a:gd name="connsiteY3" fmla="*/ 498764 h 498764"/>
              <a:gd name="connsiteX4" fmla="*/ 4343400 w 4343400"/>
              <a:gd name="connsiteY4" fmla="*/ 10391 h 498764"/>
              <a:gd name="connsiteX5" fmla="*/ 0 w 4343400"/>
              <a:gd name="connsiteY5" fmla="*/ 0 h 498764"/>
              <a:gd name="connsiteX0" fmla="*/ 0 w 4343400"/>
              <a:gd name="connsiteY0" fmla="*/ 0 h 307353"/>
              <a:gd name="connsiteX1" fmla="*/ 1672936 w 4343400"/>
              <a:gd name="connsiteY1" fmla="*/ 249382 h 307353"/>
              <a:gd name="connsiteX2" fmla="*/ 2961409 w 4343400"/>
              <a:gd name="connsiteY2" fmla="*/ 249382 h 307353"/>
              <a:gd name="connsiteX3" fmla="*/ 4335689 w 4343400"/>
              <a:gd name="connsiteY3" fmla="*/ 307353 h 307353"/>
              <a:gd name="connsiteX4" fmla="*/ 4343400 w 4343400"/>
              <a:gd name="connsiteY4" fmla="*/ 10391 h 307353"/>
              <a:gd name="connsiteX5" fmla="*/ 0 w 4343400"/>
              <a:gd name="connsiteY5" fmla="*/ 0 h 307353"/>
              <a:gd name="connsiteX0" fmla="*/ 0 w 4343400"/>
              <a:gd name="connsiteY0" fmla="*/ 0 h 333019"/>
              <a:gd name="connsiteX1" fmla="*/ 1672936 w 4343400"/>
              <a:gd name="connsiteY1" fmla="*/ 249382 h 333019"/>
              <a:gd name="connsiteX2" fmla="*/ 4328390 w 4343400"/>
              <a:gd name="connsiteY2" fmla="*/ 333019 h 333019"/>
              <a:gd name="connsiteX3" fmla="*/ 4335689 w 4343400"/>
              <a:gd name="connsiteY3" fmla="*/ 307353 h 333019"/>
              <a:gd name="connsiteX4" fmla="*/ 4343400 w 4343400"/>
              <a:gd name="connsiteY4" fmla="*/ 10391 h 333019"/>
              <a:gd name="connsiteX5" fmla="*/ 0 w 4343400"/>
              <a:gd name="connsiteY5" fmla="*/ 0 h 333019"/>
              <a:gd name="connsiteX0" fmla="*/ 0 w 4343400"/>
              <a:gd name="connsiteY0" fmla="*/ 0 h 333019"/>
              <a:gd name="connsiteX1" fmla="*/ 1993680 w 4343400"/>
              <a:gd name="connsiteY1" fmla="*/ 261330 h 333019"/>
              <a:gd name="connsiteX2" fmla="*/ 4328390 w 4343400"/>
              <a:gd name="connsiteY2" fmla="*/ 333019 h 333019"/>
              <a:gd name="connsiteX3" fmla="*/ 4335689 w 4343400"/>
              <a:gd name="connsiteY3" fmla="*/ 307353 h 333019"/>
              <a:gd name="connsiteX4" fmla="*/ 4343400 w 4343400"/>
              <a:gd name="connsiteY4" fmla="*/ 10391 h 333019"/>
              <a:gd name="connsiteX5" fmla="*/ 0 w 4343400"/>
              <a:gd name="connsiteY5" fmla="*/ 0 h 333019"/>
              <a:gd name="connsiteX0" fmla="*/ 0 w 4343400"/>
              <a:gd name="connsiteY0" fmla="*/ 0 h 333019"/>
              <a:gd name="connsiteX1" fmla="*/ 1993680 w 4343400"/>
              <a:gd name="connsiteY1" fmla="*/ 261330 h 333019"/>
              <a:gd name="connsiteX2" fmla="*/ 4328390 w 4343400"/>
              <a:gd name="connsiteY2" fmla="*/ 333019 h 333019"/>
              <a:gd name="connsiteX3" fmla="*/ 4335689 w 4343400"/>
              <a:gd name="connsiteY3" fmla="*/ 307353 h 333019"/>
              <a:gd name="connsiteX4" fmla="*/ 4343400 w 4343400"/>
              <a:gd name="connsiteY4" fmla="*/ 10391 h 333019"/>
              <a:gd name="connsiteX5" fmla="*/ 0 w 4343400"/>
              <a:gd name="connsiteY5" fmla="*/ 0 h 333019"/>
              <a:gd name="connsiteX0" fmla="*/ 0 w 4343400"/>
              <a:gd name="connsiteY0" fmla="*/ 0 h 512242"/>
              <a:gd name="connsiteX1" fmla="*/ 1084906 w 4343400"/>
              <a:gd name="connsiteY1" fmla="*/ 512242 h 512242"/>
              <a:gd name="connsiteX2" fmla="*/ 4328390 w 4343400"/>
              <a:gd name="connsiteY2" fmla="*/ 333019 h 512242"/>
              <a:gd name="connsiteX3" fmla="*/ 4335689 w 4343400"/>
              <a:gd name="connsiteY3" fmla="*/ 307353 h 512242"/>
              <a:gd name="connsiteX4" fmla="*/ 4343400 w 4343400"/>
              <a:gd name="connsiteY4" fmla="*/ 10391 h 512242"/>
              <a:gd name="connsiteX5" fmla="*/ 0 w 4343400"/>
              <a:gd name="connsiteY5" fmla="*/ 0 h 512242"/>
              <a:gd name="connsiteX0" fmla="*/ 0 w 4343400"/>
              <a:gd name="connsiteY0" fmla="*/ 0 h 512242"/>
              <a:gd name="connsiteX1" fmla="*/ 1084906 w 4343400"/>
              <a:gd name="connsiteY1" fmla="*/ 512242 h 512242"/>
              <a:gd name="connsiteX2" fmla="*/ 4328390 w 4343400"/>
              <a:gd name="connsiteY2" fmla="*/ 333019 h 512242"/>
              <a:gd name="connsiteX3" fmla="*/ 4335689 w 4343400"/>
              <a:gd name="connsiteY3" fmla="*/ 307353 h 512242"/>
              <a:gd name="connsiteX4" fmla="*/ 4343400 w 4343400"/>
              <a:gd name="connsiteY4" fmla="*/ 10391 h 512242"/>
              <a:gd name="connsiteX5" fmla="*/ 0 w 4343400"/>
              <a:gd name="connsiteY5" fmla="*/ 0 h 512242"/>
              <a:gd name="connsiteX0" fmla="*/ 0 w 4343400"/>
              <a:gd name="connsiteY0" fmla="*/ 0 h 333019"/>
              <a:gd name="connsiteX1" fmla="*/ 1000902 w 4343400"/>
              <a:gd name="connsiteY1" fmla="*/ 195615 h 333019"/>
              <a:gd name="connsiteX2" fmla="*/ 4328390 w 4343400"/>
              <a:gd name="connsiteY2" fmla="*/ 333019 h 333019"/>
              <a:gd name="connsiteX3" fmla="*/ 4335689 w 4343400"/>
              <a:gd name="connsiteY3" fmla="*/ 307353 h 333019"/>
              <a:gd name="connsiteX4" fmla="*/ 4343400 w 4343400"/>
              <a:gd name="connsiteY4" fmla="*/ 10391 h 333019"/>
              <a:gd name="connsiteX5" fmla="*/ 0 w 4343400"/>
              <a:gd name="connsiteY5" fmla="*/ 0 h 333019"/>
              <a:gd name="connsiteX0" fmla="*/ 0 w 4343400"/>
              <a:gd name="connsiteY0" fmla="*/ 0 h 333019"/>
              <a:gd name="connsiteX1" fmla="*/ 1000902 w 4343400"/>
              <a:gd name="connsiteY1" fmla="*/ 195615 h 333019"/>
              <a:gd name="connsiteX2" fmla="*/ 4328390 w 4343400"/>
              <a:gd name="connsiteY2" fmla="*/ 333019 h 333019"/>
              <a:gd name="connsiteX3" fmla="*/ 4335689 w 4343400"/>
              <a:gd name="connsiteY3" fmla="*/ 307353 h 333019"/>
              <a:gd name="connsiteX4" fmla="*/ 4343400 w 4343400"/>
              <a:gd name="connsiteY4" fmla="*/ 10391 h 333019"/>
              <a:gd name="connsiteX5" fmla="*/ 0 w 4343400"/>
              <a:gd name="connsiteY5" fmla="*/ 0 h 333019"/>
              <a:gd name="connsiteX0" fmla="*/ 0 w 4343400"/>
              <a:gd name="connsiteY0" fmla="*/ 0 h 333019"/>
              <a:gd name="connsiteX1" fmla="*/ 1000902 w 4343400"/>
              <a:gd name="connsiteY1" fmla="*/ 195615 h 333019"/>
              <a:gd name="connsiteX2" fmla="*/ 4328390 w 4343400"/>
              <a:gd name="connsiteY2" fmla="*/ 333019 h 333019"/>
              <a:gd name="connsiteX3" fmla="*/ 4335689 w 4343400"/>
              <a:gd name="connsiteY3" fmla="*/ 307353 h 333019"/>
              <a:gd name="connsiteX4" fmla="*/ 4343400 w 4343400"/>
              <a:gd name="connsiteY4" fmla="*/ 10391 h 333019"/>
              <a:gd name="connsiteX5" fmla="*/ 0 w 4343400"/>
              <a:gd name="connsiteY5" fmla="*/ 0 h 333019"/>
              <a:gd name="connsiteX0" fmla="*/ 0 w 4343400"/>
              <a:gd name="connsiteY0" fmla="*/ 0 h 333019"/>
              <a:gd name="connsiteX1" fmla="*/ 1000902 w 4343400"/>
              <a:gd name="connsiteY1" fmla="*/ 195615 h 333019"/>
              <a:gd name="connsiteX2" fmla="*/ 4328390 w 4343400"/>
              <a:gd name="connsiteY2" fmla="*/ 333019 h 333019"/>
              <a:gd name="connsiteX3" fmla="*/ 4343326 w 4343400"/>
              <a:gd name="connsiteY3" fmla="*/ 152026 h 333019"/>
              <a:gd name="connsiteX4" fmla="*/ 4343400 w 4343400"/>
              <a:gd name="connsiteY4" fmla="*/ 10391 h 333019"/>
              <a:gd name="connsiteX5" fmla="*/ 0 w 4343400"/>
              <a:gd name="connsiteY5" fmla="*/ 0 h 333019"/>
              <a:gd name="connsiteX0" fmla="*/ 0 w 4343400"/>
              <a:gd name="connsiteY0" fmla="*/ 0 h 261329"/>
              <a:gd name="connsiteX1" fmla="*/ 1000902 w 4343400"/>
              <a:gd name="connsiteY1" fmla="*/ 195615 h 261329"/>
              <a:gd name="connsiteX2" fmla="*/ 2419200 w 4343400"/>
              <a:gd name="connsiteY2" fmla="*/ 261329 h 261329"/>
              <a:gd name="connsiteX3" fmla="*/ 4343326 w 4343400"/>
              <a:gd name="connsiteY3" fmla="*/ 152026 h 261329"/>
              <a:gd name="connsiteX4" fmla="*/ 4343400 w 4343400"/>
              <a:gd name="connsiteY4" fmla="*/ 10391 h 261329"/>
              <a:gd name="connsiteX5" fmla="*/ 0 w 4343400"/>
              <a:gd name="connsiteY5" fmla="*/ 0 h 261329"/>
              <a:gd name="connsiteX0" fmla="*/ 0 w 4343400"/>
              <a:gd name="connsiteY0" fmla="*/ 0 h 313326"/>
              <a:gd name="connsiteX1" fmla="*/ 1000902 w 4343400"/>
              <a:gd name="connsiteY1" fmla="*/ 195615 h 313326"/>
              <a:gd name="connsiteX2" fmla="*/ 2419200 w 4343400"/>
              <a:gd name="connsiteY2" fmla="*/ 261329 h 313326"/>
              <a:gd name="connsiteX3" fmla="*/ 4328053 w 4343400"/>
              <a:gd name="connsiteY3" fmla="*/ 313326 h 313326"/>
              <a:gd name="connsiteX4" fmla="*/ 4343400 w 4343400"/>
              <a:gd name="connsiteY4" fmla="*/ 10391 h 313326"/>
              <a:gd name="connsiteX5" fmla="*/ 0 w 4343400"/>
              <a:gd name="connsiteY5" fmla="*/ 0 h 313326"/>
              <a:gd name="connsiteX0" fmla="*/ 0 w 4343400"/>
              <a:gd name="connsiteY0" fmla="*/ 0 h 313326"/>
              <a:gd name="connsiteX1" fmla="*/ 1000902 w 4343400"/>
              <a:gd name="connsiteY1" fmla="*/ 195615 h 313326"/>
              <a:gd name="connsiteX2" fmla="*/ 2006814 w 4343400"/>
              <a:gd name="connsiteY2" fmla="*/ 285225 h 313326"/>
              <a:gd name="connsiteX3" fmla="*/ 4328053 w 4343400"/>
              <a:gd name="connsiteY3" fmla="*/ 313326 h 313326"/>
              <a:gd name="connsiteX4" fmla="*/ 4343400 w 4343400"/>
              <a:gd name="connsiteY4" fmla="*/ 10391 h 313326"/>
              <a:gd name="connsiteX5" fmla="*/ 0 w 4343400"/>
              <a:gd name="connsiteY5" fmla="*/ 0 h 313326"/>
              <a:gd name="connsiteX0" fmla="*/ 0 w 4343400"/>
              <a:gd name="connsiteY0" fmla="*/ 0 h 349171"/>
              <a:gd name="connsiteX1" fmla="*/ 1000902 w 4343400"/>
              <a:gd name="connsiteY1" fmla="*/ 195615 h 349171"/>
              <a:gd name="connsiteX2" fmla="*/ 2006814 w 4343400"/>
              <a:gd name="connsiteY2" fmla="*/ 285225 h 349171"/>
              <a:gd name="connsiteX3" fmla="*/ 4320417 w 4343400"/>
              <a:gd name="connsiteY3" fmla="*/ 349171 h 349171"/>
              <a:gd name="connsiteX4" fmla="*/ 4343400 w 4343400"/>
              <a:gd name="connsiteY4" fmla="*/ 10391 h 349171"/>
              <a:gd name="connsiteX5" fmla="*/ 0 w 4343400"/>
              <a:gd name="connsiteY5" fmla="*/ 0 h 349171"/>
              <a:gd name="connsiteX0" fmla="*/ 0 w 4343400"/>
              <a:gd name="connsiteY0" fmla="*/ 0 h 349171"/>
              <a:gd name="connsiteX1" fmla="*/ 1000902 w 4343400"/>
              <a:gd name="connsiteY1" fmla="*/ 195615 h 349171"/>
              <a:gd name="connsiteX2" fmla="*/ 2006814 w 4343400"/>
              <a:gd name="connsiteY2" fmla="*/ 285225 h 349171"/>
              <a:gd name="connsiteX3" fmla="*/ 4343328 w 4343400"/>
              <a:gd name="connsiteY3" fmla="*/ 349171 h 349171"/>
              <a:gd name="connsiteX4" fmla="*/ 4343400 w 4343400"/>
              <a:gd name="connsiteY4" fmla="*/ 10391 h 349171"/>
              <a:gd name="connsiteX5" fmla="*/ 0 w 4343400"/>
              <a:gd name="connsiteY5" fmla="*/ 0 h 349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400" h="349171">
                <a:moveTo>
                  <a:pt x="0" y="0"/>
                </a:moveTo>
                <a:cubicBezTo>
                  <a:pt x="618740" y="105032"/>
                  <a:pt x="324" y="-5002"/>
                  <a:pt x="1000902" y="195615"/>
                </a:cubicBezTo>
                <a:lnTo>
                  <a:pt x="2006814" y="285225"/>
                </a:lnTo>
                <a:lnTo>
                  <a:pt x="4343328" y="349171"/>
                </a:lnTo>
                <a:cubicBezTo>
                  <a:pt x="4343353" y="301959"/>
                  <a:pt x="4343375" y="57603"/>
                  <a:pt x="4343400" y="10391"/>
                </a:cubicBezTo>
                <a:lnTo>
                  <a:pt x="0" y="0"/>
                </a:lnTo>
                <a:close/>
              </a:path>
            </a:pathLst>
          </a:custGeom>
          <a:solidFill>
            <a:srgbClr val="3DCD5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43" name="Freeform 4">
            <a:extLst>
              <a:ext uri="{FF2B5EF4-FFF2-40B4-BE49-F238E27FC236}">
                <a16:creationId xmlns:a16="http://schemas.microsoft.com/office/drawing/2014/main" id="{71F63956-913B-4A93-889B-6BF0A70F96C4}"/>
              </a:ext>
            </a:extLst>
          </p:cNvPr>
          <p:cNvSpPr/>
          <p:nvPr/>
        </p:nvSpPr>
        <p:spPr>
          <a:xfrm>
            <a:off x="614785" y="2581495"/>
            <a:ext cx="5057464" cy="382716"/>
          </a:xfrm>
          <a:custGeom>
            <a:avLst/>
            <a:gdLst>
              <a:gd name="connsiteX0" fmla="*/ 0 w 4343400"/>
              <a:gd name="connsiteY0" fmla="*/ 0 h 498764"/>
              <a:gd name="connsiteX1" fmla="*/ 1672936 w 4343400"/>
              <a:gd name="connsiteY1" fmla="*/ 249382 h 498764"/>
              <a:gd name="connsiteX2" fmla="*/ 2961409 w 4343400"/>
              <a:gd name="connsiteY2" fmla="*/ 249382 h 498764"/>
              <a:gd name="connsiteX3" fmla="*/ 4343400 w 4343400"/>
              <a:gd name="connsiteY3" fmla="*/ 498764 h 498764"/>
              <a:gd name="connsiteX4" fmla="*/ 4343400 w 4343400"/>
              <a:gd name="connsiteY4" fmla="*/ 10391 h 498764"/>
              <a:gd name="connsiteX5" fmla="*/ 0 w 4343400"/>
              <a:gd name="connsiteY5" fmla="*/ 0 h 498764"/>
              <a:gd name="connsiteX0" fmla="*/ 0 w 4343400"/>
              <a:gd name="connsiteY0" fmla="*/ 0 h 307353"/>
              <a:gd name="connsiteX1" fmla="*/ 1672936 w 4343400"/>
              <a:gd name="connsiteY1" fmla="*/ 249382 h 307353"/>
              <a:gd name="connsiteX2" fmla="*/ 2961409 w 4343400"/>
              <a:gd name="connsiteY2" fmla="*/ 249382 h 307353"/>
              <a:gd name="connsiteX3" fmla="*/ 4335689 w 4343400"/>
              <a:gd name="connsiteY3" fmla="*/ 307353 h 307353"/>
              <a:gd name="connsiteX4" fmla="*/ 4343400 w 4343400"/>
              <a:gd name="connsiteY4" fmla="*/ 10391 h 307353"/>
              <a:gd name="connsiteX5" fmla="*/ 0 w 4343400"/>
              <a:gd name="connsiteY5" fmla="*/ 0 h 307353"/>
              <a:gd name="connsiteX0" fmla="*/ 0 w 4343400"/>
              <a:gd name="connsiteY0" fmla="*/ 0 h 333019"/>
              <a:gd name="connsiteX1" fmla="*/ 1672936 w 4343400"/>
              <a:gd name="connsiteY1" fmla="*/ 249382 h 333019"/>
              <a:gd name="connsiteX2" fmla="*/ 4328390 w 4343400"/>
              <a:gd name="connsiteY2" fmla="*/ 333019 h 333019"/>
              <a:gd name="connsiteX3" fmla="*/ 4335689 w 4343400"/>
              <a:gd name="connsiteY3" fmla="*/ 307353 h 333019"/>
              <a:gd name="connsiteX4" fmla="*/ 4343400 w 4343400"/>
              <a:gd name="connsiteY4" fmla="*/ 10391 h 333019"/>
              <a:gd name="connsiteX5" fmla="*/ 0 w 4343400"/>
              <a:gd name="connsiteY5" fmla="*/ 0 h 333019"/>
              <a:gd name="connsiteX0" fmla="*/ 0 w 4343400"/>
              <a:gd name="connsiteY0" fmla="*/ 0 h 333019"/>
              <a:gd name="connsiteX1" fmla="*/ 1993680 w 4343400"/>
              <a:gd name="connsiteY1" fmla="*/ 261330 h 333019"/>
              <a:gd name="connsiteX2" fmla="*/ 4328390 w 4343400"/>
              <a:gd name="connsiteY2" fmla="*/ 333019 h 333019"/>
              <a:gd name="connsiteX3" fmla="*/ 4335689 w 4343400"/>
              <a:gd name="connsiteY3" fmla="*/ 307353 h 333019"/>
              <a:gd name="connsiteX4" fmla="*/ 4343400 w 4343400"/>
              <a:gd name="connsiteY4" fmla="*/ 10391 h 333019"/>
              <a:gd name="connsiteX5" fmla="*/ 0 w 4343400"/>
              <a:gd name="connsiteY5" fmla="*/ 0 h 333019"/>
              <a:gd name="connsiteX0" fmla="*/ 0 w 4343400"/>
              <a:gd name="connsiteY0" fmla="*/ 0 h 333019"/>
              <a:gd name="connsiteX1" fmla="*/ 1993680 w 4343400"/>
              <a:gd name="connsiteY1" fmla="*/ 261330 h 333019"/>
              <a:gd name="connsiteX2" fmla="*/ 4328390 w 4343400"/>
              <a:gd name="connsiteY2" fmla="*/ 333019 h 333019"/>
              <a:gd name="connsiteX3" fmla="*/ 4335689 w 4343400"/>
              <a:gd name="connsiteY3" fmla="*/ 307353 h 333019"/>
              <a:gd name="connsiteX4" fmla="*/ 4343400 w 4343400"/>
              <a:gd name="connsiteY4" fmla="*/ 10391 h 333019"/>
              <a:gd name="connsiteX5" fmla="*/ 0 w 4343400"/>
              <a:gd name="connsiteY5" fmla="*/ 0 h 333019"/>
              <a:gd name="connsiteX0" fmla="*/ 0 w 4343400"/>
              <a:gd name="connsiteY0" fmla="*/ 0 h 512242"/>
              <a:gd name="connsiteX1" fmla="*/ 1084906 w 4343400"/>
              <a:gd name="connsiteY1" fmla="*/ 512242 h 512242"/>
              <a:gd name="connsiteX2" fmla="*/ 4328390 w 4343400"/>
              <a:gd name="connsiteY2" fmla="*/ 333019 h 512242"/>
              <a:gd name="connsiteX3" fmla="*/ 4335689 w 4343400"/>
              <a:gd name="connsiteY3" fmla="*/ 307353 h 512242"/>
              <a:gd name="connsiteX4" fmla="*/ 4343400 w 4343400"/>
              <a:gd name="connsiteY4" fmla="*/ 10391 h 512242"/>
              <a:gd name="connsiteX5" fmla="*/ 0 w 4343400"/>
              <a:gd name="connsiteY5" fmla="*/ 0 h 512242"/>
              <a:gd name="connsiteX0" fmla="*/ 0 w 4343400"/>
              <a:gd name="connsiteY0" fmla="*/ 0 h 512242"/>
              <a:gd name="connsiteX1" fmla="*/ 1084906 w 4343400"/>
              <a:gd name="connsiteY1" fmla="*/ 512242 h 512242"/>
              <a:gd name="connsiteX2" fmla="*/ 4328390 w 4343400"/>
              <a:gd name="connsiteY2" fmla="*/ 333019 h 512242"/>
              <a:gd name="connsiteX3" fmla="*/ 4335689 w 4343400"/>
              <a:gd name="connsiteY3" fmla="*/ 307353 h 512242"/>
              <a:gd name="connsiteX4" fmla="*/ 4343400 w 4343400"/>
              <a:gd name="connsiteY4" fmla="*/ 10391 h 512242"/>
              <a:gd name="connsiteX5" fmla="*/ 0 w 4343400"/>
              <a:gd name="connsiteY5" fmla="*/ 0 h 512242"/>
              <a:gd name="connsiteX0" fmla="*/ 0 w 4343400"/>
              <a:gd name="connsiteY0" fmla="*/ 0 h 333019"/>
              <a:gd name="connsiteX1" fmla="*/ 1000902 w 4343400"/>
              <a:gd name="connsiteY1" fmla="*/ 195615 h 333019"/>
              <a:gd name="connsiteX2" fmla="*/ 4328390 w 4343400"/>
              <a:gd name="connsiteY2" fmla="*/ 333019 h 333019"/>
              <a:gd name="connsiteX3" fmla="*/ 4335689 w 4343400"/>
              <a:gd name="connsiteY3" fmla="*/ 307353 h 333019"/>
              <a:gd name="connsiteX4" fmla="*/ 4343400 w 4343400"/>
              <a:gd name="connsiteY4" fmla="*/ 10391 h 333019"/>
              <a:gd name="connsiteX5" fmla="*/ 0 w 4343400"/>
              <a:gd name="connsiteY5" fmla="*/ 0 h 333019"/>
              <a:gd name="connsiteX0" fmla="*/ 0 w 4343400"/>
              <a:gd name="connsiteY0" fmla="*/ 0 h 333019"/>
              <a:gd name="connsiteX1" fmla="*/ 1000902 w 4343400"/>
              <a:gd name="connsiteY1" fmla="*/ 195615 h 333019"/>
              <a:gd name="connsiteX2" fmla="*/ 4328390 w 4343400"/>
              <a:gd name="connsiteY2" fmla="*/ 333019 h 333019"/>
              <a:gd name="connsiteX3" fmla="*/ 4335689 w 4343400"/>
              <a:gd name="connsiteY3" fmla="*/ 307353 h 333019"/>
              <a:gd name="connsiteX4" fmla="*/ 4343400 w 4343400"/>
              <a:gd name="connsiteY4" fmla="*/ 10391 h 333019"/>
              <a:gd name="connsiteX5" fmla="*/ 0 w 4343400"/>
              <a:gd name="connsiteY5" fmla="*/ 0 h 333019"/>
              <a:gd name="connsiteX0" fmla="*/ 0 w 4343400"/>
              <a:gd name="connsiteY0" fmla="*/ 0 h 333019"/>
              <a:gd name="connsiteX1" fmla="*/ 1000902 w 4343400"/>
              <a:gd name="connsiteY1" fmla="*/ 195615 h 333019"/>
              <a:gd name="connsiteX2" fmla="*/ 4328390 w 4343400"/>
              <a:gd name="connsiteY2" fmla="*/ 333019 h 333019"/>
              <a:gd name="connsiteX3" fmla="*/ 4335689 w 4343400"/>
              <a:gd name="connsiteY3" fmla="*/ 307353 h 333019"/>
              <a:gd name="connsiteX4" fmla="*/ 4343400 w 4343400"/>
              <a:gd name="connsiteY4" fmla="*/ 10391 h 333019"/>
              <a:gd name="connsiteX5" fmla="*/ 0 w 4343400"/>
              <a:gd name="connsiteY5" fmla="*/ 0 h 333019"/>
              <a:gd name="connsiteX0" fmla="*/ 0 w 4343400"/>
              <a:gd name="connsiteY0" fmla="*/ 0 h 333019"/>
              <a:gd name="connsiteX1" fmla="*/ 1000902 w 4343400"/>
              <a:gd name="connsiteY1" fmla="*/ 195615 h 333019"/>
              <a:gd name="connsiteX2" fmla="*/ 4328390 w 4343400"/>
              <a:gd name="connsiteY2" fmla="*/ 333019 h 333019"/>
              <a:gd name="connsiteX3" fmla="*/ 4343326 w 4343400"/>
              <a:gd name="connsiteY3" fmla="*/ 152026 h 333019"/>
              <a:gd name="connsiteX4" fmla="*/ 4343400 w 4343400"/>
              <a:gd name="connsiteY4" fmla="*/ 10391 h 333019"/>
              <a:gd name="connsiteX5" fmla="*/ 0 w 4343400"/>
              <a:gd name="connsiteY5" fmla="*/ 0 h 333019"/>
              <a:gd name="connsiteX0" fmla="*/ 0 w 4343400"/>
              <a:gd name="connsiteY0" fmla="*/ 0 h 261329"/>
              <a:gd name="connsiteX1" fmla="*/ 1000902 w 4343400"/>
              <a:gd name="connsiteY1" fmla="*/ 195615 h 261329"/>
              <a:gd name="connsiteX2" fmla="*/ 2419200 w 4343400"/>
              <a:gd name="connsiteY2" fmla="*/ 261329 h 261329"/>
              <a:gd name="connsiteX3" fmla="*/ 4343326 w 4343400"/>
              <a:gd name="connsiteY3" fmla="*/ 152026 h 261329"/>
              <a:gd name="connsiteX4" fmla="*/ 4343400 w 4343400"/>
              <a:gd name="connsiteY4" fmla="*/ 10391 h 261329"/>
              <a:gd name="connsiteX5" fmla="*/ 0 w 4343400"/>
              <a:gd name="connsiteY5" fmla="*/ 0 h 261329"/>
              <a:gd name="connsiteX0" fmla="*/ 0 w 4343400"/>
              <a:gd name="connsiteY0" fmla="*/ 0 h 313326"/>
              <a:gd name="connsiteX1" fmla="*/ 1000902 w 4343400"/>
              <a:gd name="connsiteY1" fmla="*/ 195615 h 313326"/>
              <a:gd name="connsiteX2" fmla="*/ 2419200 w 4343400"/>
              <a:gd name="connsiteY2" fmla="*/ 261329 h 313326"/>
              <a:gd name="connsiteX3" fmla="*/ 4328053 w 4343400"/>
              <a:gd name="connsiteY3" fmla="*/ 313326 h 313326"/>
              <a:gd name="connsiteX4" fmla="*/ 4343400 w 4343400"/>
              <a:gd name="connsiteY4" fmla="*/ 10391 h 313326"/>
              <a:gd name="connsiteX5" fmla="*/ 0 w 4343400"/>
              <a:gd name="connsiteY5" fmla="*/ 0 h 313326"/>
              <a:gd name="connsiteX0" fmla="*/ 0 w 4343400"/>
              <a:gd name="connsiteY0" fmla="*/ 0 h 313326"/>
              <a:gd name="connsiteX1" fmla="*/ 1000902 w 4343400"/>
              <a:gd name="connsiteY1" fmla="*/ 195615 h 313326"/>
              <a:gd name="connsiteX2" fmla="*/ 2006814 w 4343400"/>
              <a:gd name="connsiteY2" fmla="*/ 285225 h 313326"/>
              <a:gd name="connsiteX3" fmla="*/ 4328053 w 4343400"/>
              <a:gd name="connsiteY3" fmla="*/ 313326 h 313326"/>
              <a:gd name="connsiteX4" fmla="*/ 4343400 w 4343400"/>
              <a:gd name="connsiteY4" fmla="*/ 10391 h 313326"/>
              <a:gd name="connsiteX5" fmla="*/ 0 w 4343400"/>
              <a:gd name="connsiteY5" fmla="*/ 0 h 313326"/>
              <a:gd name="connsiteX0" fmla="*/ 0 w 4343400"/>
              <a:gd name="connsiteY0" fmla="*/ 0 h 349171"/>
              <a:gd name="connsiteX1" fmla="*/ 1000902 w 4343400"/>
              <a:gd name="connsiteY1" fmla="*/ 195615 h 349171"/>
              <a:gd name="connsiteX2" fmla="*/ 2006814 w 4343400"/>
              <a:gd name="connsiteY2" fmla="*/ 285225 h 349171"/>
              <a:gd name="connsiteX3" fmla="*/ 4320417 w 4343400"/>
              <a:gd name="connsiteY3" fmla="*/ 349171 h 349171"/>
              <a:gd name="connsiteX4" fmla="*/ 4343400 w 4343400"/>
              <a:gd name="connsiteY4" fmla="*/ 10391 h 349171"/>
              <a:gd name="connsiteX5" fmla="*/ 0 w 4343400"/>
              <a:gd name="connsiteY5" fmla="*/ 0 h 349171"/>
              <a:gd name="connsiteX0" fmla="*/ 0 w 4343400"/>
              <a:gd name="connsiteY0" fmla="*/ 0 h 349171"/>
              <a:gd name="connsiteX1" fmla="*/ 1000902 w 4343400"/>
              <a:gd name="connsiteY1" fmla="*/ 195615 h 349171"/>
              <a:gd name="connsiteX2" fmla="*/ 2006814 w 4343400"/>
              <a:gd name="connsiteY2" fmla="*/ 285225 h 349171"/>
              <a:gd name="connsiteX3" fmla="*/ 4343328 w 4343400"/>
              <a:gd name="connsiteY3" fmla="*/ 349171 h 349171"/>
              <a:gd name="connsiteX4" fmla="*/ 4343400 w 4343400"/>
              <a:gd name="connsiteY4" fmla="*/ 10391 h 349171"/>
              <a:gd name="connsiteX5" fmla="*/ 0 w 4343400"/>
              <a:gd name="connsiteY5" fmla="*/ 0 h 349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3400" h="349171">
                <a:moveTo>
                  <a:pt x="0" y="0"/>
                </a:moveTo>
                <a:cubicBezTo>
                  <a:pt x="618740" y="105032"/>
                  <a:pt x="324" y="-5002"/>
                  <a:pt x="1000902" y="195615"/>
                </a:cubicBezTo>
                <a:lnTo>
                  <a:pt x="2006814" y="285225"/>
                </a:lnTo>
                <a:lnTo>
                  <a:pt x="4343328" y="349171"/>
                </a:lnTo>
                <a:cubicBezTo>
                  <a:pt x="4343353" y="301959"/>
                  <a:pt x="4343375" y="57603"/>
                  <a:pt x="4343400" y="10391"/>
                </a:cubicBezTo>
                <a:lnTo>
                  <a:pt x="0" y="0"/>
                </a:lnTo>
                <a:close/>
              </a:path>
            </a:pathLst>
          </a:custGeom>
          <a:solidFill>
            <a:srgbClr val="42B4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42" name="Rectangle 41">
            <a:extLst>
              <a:ext uri="{FF2B5EF4-FFF2-40B4-BE49-F238E27FC236}">
                <a16:creationId xmlns:a16="http://schemas.microsoft.com/office/drawing/2014/main" id="{07302FB8-D5CB-450B-AC3D-FEC940EC79D7}"/>
              </a:ext>
            </a:extLst>
          </p:cNvPr>
          <p:cNvSpPr/>
          <p:nvPr/>
        </p:nvSpPr>
        <p:spPr>
          <a:xfrm>
            <a:off x="7760142" y="5217396"/>
            <a:ext cx="4114800" cy="781752"/>
          </a:xfrm>
          <a:prstGeom prst="rect">
            <a:avLst/>
          </a:prstGeom>
        </p:spPr>
        <p:txBody>
          <a:bodyPr wrap="square">
            <a:spAutoFit/>
          </a:bodyPr>
          <a:lstStyle/>
          <a:p>
            <a:pPr marL="342888" marR="0" lvl="0" indent="-342888" algn="l" defTabSz="914377" rtl="0" eaLnBrk="1" fontAlgn="auto" latinLnBrk="0" hangingPunct="1">
              <a:lnSpc>
                <a:spcPct val="80000"/>
              </a:lnSpc>
              <a:spcBef>
                <a:spcPct val="20000"/>
              </a:spcBef>
              <a:spcAft>
                <a:spcPts val="0"/>
              </a:spcAft>
              <a:buClrTx/>
              <a:buSzTx/>
              <a:buFontTx/>
              <a:buNone/>
              <a:tabLst/>
              <a:defRPr/>
            </a:pPr>
            <a:r>
              <a:rPr kumimoji="0" lang="en-HK" sz="16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Carbon		</a:t>
            </a:r>
            <a:r>
              <a:rPr kumimoji="0" lang="en-HK" sz="1600" b="1" i="0" u="none" strike="noStrike" kern="1200" cap="none" spc="0" normalizeH="0" baseline="0" noProof="0">
                <a:ln>
                  <a:noFill/>
                </a:ln>
                <a:solidFill>
                  <a:srgbClr val="3DCD58"/>
                </a:solidFill>
                <a:effectLst/>
                <a:uLnTx/>
                <a:uFillTx/>
                <a:latin typeface="Arial" panose="020B0604020202020204" pitchFamily="34" charset="0"/>
                <a:ea typeface="+mn-ea"/>
                <a:cs typeface="Arial" panose="020B0604020202020204" pitchFamily="34" charset="0"/>
              </a:rPr>
              <a:t>Neutral</a:t>
            </a:r>
          </a:p>
          <a:p>
            <a:pPr marL="342888" marR="0" lvl="0" indent="-342888" algn="l" defTabSz="914377" rtl="0" eaLnBrk="1" fontAlgn="auto" latinLnBrk="0" hangingPunct="1">
              <a:lnSpc>
                <a:spcPct val="80000"/>
              </a:lnSpc>
              <a:spcBef>
                <a:spcPct val="20000"/>
              </a:spcBef>
              <a:spcAft>
                <a:spcPts val="0"/>
              </a:spcAft>
              <a:buClrTx/>
              <a:buSzTx/>
              <a:buFontTx/>
              <a:buNone/>
              <a:tabLst/>
              <a:defRPr/>
            </a:pPr>
            <a:r>
              <a:rPr kumimoji="0" lang="en-HK" sz="16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Overall ROI	</a:t>
            </a:r>
            <a:r>
              <a:rPr kumimoji="0" lang="en-HK" sz="1600" b="1" i="0" u="none" strike="noStrike" kern="1200" cap="none" spc="0" normalizeH="0" baseline="0" noProof="0">
                <a:ln>
                  <a:noFill/>
                </a:ln>
                <a:solidFill>
                  <a:srgbClr val="3DCD58"/>
                </a:solidFill>
                <a:effectLst/>
                <a:uLnTx/>
                <a:uFillTx/>
                <a:latin typeface="Arial" panose="020B0604020202020204" pitchFamily="34" charset="0"/>
                <a:ea typeface="+mn-ea"/>
                <a:cs typeface="Arial" panose="020B0604020202020204" pitchFamily="34" charset="0"/>
              </a:rPr>
              <a:t>22%</a:t>
            </a:r>
          </a:p>
          <a:p>
            <a:pPr marL="342888" marR="0" lvl="0" indent="-342888" algn="l" defTabSz="914377" rtl="0" eaLnBrk="1" fontAlgn="auto" latinLnBrk="0" hangingPunct="1">
              <a:lnSpc>
                <a:spcPct val="80000"/>
              </a:lnSpc>
              <a:spcBef>
                <a:spcPct val="20000"/>
              </a:spcBef>
              <a:spcAft>
                <a:spcPts val="0"/>
              </a:spcAft>
              <a:buClrTx/>
              <a:buSzTx/>
              <a:buFontTx/>
              <a:buNone/>
              <a:tabLst/>
              <a:defRPr/>
            </a:pPr>
            <a:r>
              <a:rPr kumimoji="0" lang="en-HK" sz="16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Yearly Savings	</a:t>
            </a:r>
            <a:r>
              <a:rPr kumimoji="0" lang="en-HK" sz="1600" b="1" i="0" u="none" strike="noStrike" kern="1200" cap="none" spc="0" normalizeH="0" baseline="0" noProof="0">
                <a:ln>
                  <a:noFill/>
                </a:ln>
                <a:solidFill>
                  <a:srgbClr val="3DCD58"/>
                </a:solidFill>
                <a:effectLst/>
                <a:uLnTx/>
                <a:uFillTx/>
                <a:latin typeface="Arial" panose="020B0604020202020204" pitchFamily="34" charset="0"/>
                <a:ea typeface="+mn-ea"/>
                <a:cs typeface="Arial" panose="020B0604020202020204" pitchFamily="34" charset="0"/>
              </a:rPr>
              <a:t>32 M$/year</a:t>
            </a:r>
          </a:p>
        </p:txBody>
      </p:sp>
      <p:cxnSp>
        <p:nvCxnSpPr>
          <p:cNvPr id="4" name="Straight Connector 3">
            <a:extLst>
              <a:ext uri="{FF2B5EF4-FFF2-40B4-BE49-F238E27FC236}">
                <a16:creationId xmlns:a16="http://schemas.microsoft.com/office/drawing/2014/main" id="{551476E7-AF0A-4D1E-8437-94444D91CCA4}"/>
              </a:ext>
            </a:extLst>
          </p:cNvPr>
          <p:cNvCxnSpPr>
            <a:cxnSpLocks/>
          </p:cNvCxnSpPr>
          <p:nvPr/>
        </p:nvCxnSpPr>
        <p:spPr>
          <a:xfrm>
            <a:off x="6207021" y="5164851"/>
            <a:ext cx="570511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6CFAF513-3A22-43E0-9878-E77F1B1FD831}"/>
              </a:ext>
            </a:extLst>
          </p:cNvPr>
          <p:cNvSpPr/>
          <p:nvPr/>
        </p:nvSpPr>
        <p:spPr>
          <a:xfrm>
            <a:off x="10981412" y="-2156"/>
            <a:ext cx="1210588"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HK" sz="900" b="0" i="0" u="none" strike="noStrike" kern="1200" cap="none" spc="0" normalizeH="0" baseline="0" noProof="0">
                <a:ln>
                  <a:noFill/>
                </a:ln>
                <a:solidFill>
                  <a:srgbClr val="3DCD58"/>
                </a:solidFill>
                <a:effectLst/>
                <a:uLnTx/>
                <a:uFillTx/>
                <a:latin typeface="Arial" panose="020B0604020202020204" pitchFamily="34" charset="0"/>
                <a:ea typeface="+mn-ea"/>
                <a:cs typeface="Arial" panose="020B0604020202020204" pitchFamily="34" charset="0"/>
              </a:rPr>
              <a:t>*illustrative example</a:t>
            </a:r>
            <a:endParaRPr kumimoji="0" lang="en-US"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Title 1">
            <a:extLst>
              <a:ext uri="{FF2B5EF4-FFF2-40B4-BE49-F238E27FC236}">
                <a16:creationId xmlns:a16="http://schemas.microsoft.com/office/drawing/2014/main" id="{15FE4CF1-2B9D-422C-899F-33FCE6D87B58}"/>
              </a:ext>
            </a:extLst>
          </p:cNvPr>
          <p:cNvSpPr txBox="1">
            <a:spLocks/>
          </p:cNvSpPr>
          <p:nvPr/>
        </p:nvSpPr>
        <p:spPr>
          <a:xfrm>
            <a:off x="258058" y="230189"/>
            <a:ext cx="8633531" cy="307777"/>
          </a:xfrm>
          <a:prstGeom prst="rect">
            <a:avLst/>
          </a:prstGeom>
        </p:spPr>
        <p:txBody>
          <a:bodyPr vert="horz" lIns="0" tIns="0" rIns="0" bIns="0" rtlCol="0" anchor="t">
            <a:spAutoFit/>
          </a:bodyPr>
          <a:lstStyle>
            <a:lvl1pPr algn="l" defTabSz="457200" rtl="0" eaLnBrk="1" latinLnBrk="0" hangingPunct="1">
              <a:spcBef>
                <a:spcPct val="0"/>
              </a:spcBef>
              <a:buNone/>
              <a:defRPr sz="2000" kern="1200">
                <a:solidFill>
                  <a:srgbClr val="36C746"/>
                </a:solidFill>
                <a:latin typeface="Arial"/>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a:ln>
                  <a:noFill/>
                </a:ln>
                <a:solidFill>
                  <a:srgbClr val="36C746"/>
                </a:solidFill>
                <a:effectLst/>
                <a:uLnTx/>
                <a:uFillTx/>
                <a:latin typeface="Arial"/>
                <a:ea typeface="+mj-ea"/>
                <a:cs typeface="Arial"/>
              </a:rPr>
              <a:t>How do we get there?</a:t>
            </a:r>
          </a:p>
        </p:txBody>
      </p:sp>
      <p:sp>
        <p:nvSpPr>
          <p:cNvPr id="50" name="Text Placeholder 4">
            <a:extLst>
              <a:ext uri="{FF2B5EF4-FFF2-40B4-BE49-F238E27FC236}">
                <a16:creationId xmlns:a16="http://schemas.microsoft.com/office/drawing/2014/main" id="{37A988AA-1205-411D-9D7E-2EE604E6D6DF}"/>
              </a:ext>
            </a:extLst>
          </p:cNvPr>
          <p:cNvSpPr txBox="1">
            <a:spLocks/>
          </p:cNvSpPr>
          <p:nvPr/>
        </p:nvSpPr>
        <p:spPr>
          <a:xfrm>
            <a:off x="258057" y="604936"/>
            <a:ext cx="8633531" cy="169277"/>
          </a:xfrm>
          <a:prstGeom prst="rect">
            <a:avLst/>
          </a:prstGeom>
        </p:spPr>
        <p:txBody>
          <a:bodyPr vert="horz" lIns="0" tIns="0" rIns="0" bIns="0" rtlCol="0" anchor="t">
            <a:spAutoFit/>
          </a:bodyPr>
          <a:lstStyle>
            <a:lvl1pPr marL="0" indent="0" algn="l" defTabSz="457200" rtl="0" eaLnBrk="1" latinLnBrk="0" hangingPunct="1">
              <a:spcBef>
                <a:spcPts val="0"/>
              </a:spcBef>
              <a:spcAft>
                <a:spcPts val="0"/>
              </a:spcAft>
              <a:buClr>
                <a:schemeClr val="bg2"/>
              </a:buClr>
              <a:buFont typeface="Arial" panose="020B0604020202020204" pitchFamily="34" charset="0"/>
              <a:buNone/>
              <a:defRPr sz="1100" b="0" kern="1200" baseline="0">
                <a:solidFill>
                  <a:schemeClr val="accent6"/>
                </a:solidFill>
                <a:latin typeface="Arial"/>
                <a:ea typeface="+mn-ea"/>
                <a:cs typeface="Arial"/>
              </a:defRPr>
            </a:lvl1pPr>
            <a:lvl2pPr marL="457200" indent="0" algn="l" defTabSz="447675" rtl="0" eaLnBrk="1" latinLnBrk="0" hangingPunct="1">
              <a:spcBef>
                <a:spcPts val="500"/>
              </a:spcBef>
              <a:spcAft>
                <a:spcPts val="500"/>
              </a:spcAft>
              <a:buClr>
                <a:srgbClr val="36C746"/>
              </a:buClr>
              <a:buFont typeface="Arial"/>
              <a:buNone/>
              <a:defRPr sz="2000" b="1" kern="1200">
                <a:solidFill>
                  <a:schemeClr val="accent1"/>
                </a:solidFill>
                <a:latin typeface="Arial"/>
                <a:ea typeface="+mn-ea"/>
                <a:cs typeface="Arial"/>
              </a:defRPr>
            </a:lvl2pPr>
            <a:lvl3pPr marL="914400" indent="0" algn="l" defTabSz="457200" rtl="0" eaLnBrk="1" latinLnBrk="0" hangingPunct="1">
              <a:spcBef>
                <a:spcPts val="500"/>
              </a:spcBef>
              <a:spcAft>
                <a:spcPts val="500"/>
              </a:spcAft>
              <a:buClr>
                <a:srgbClr val="36C746"/>
              </a:buClr>
              <a:buFont typeface="Arial" panose="020B0604020202020204" pitchFamily="34" charset="0"/>
              <a:buNone/>
              <a:defRPr sz="1800" b="1" kern="1200">
                <a:solidFill>
                  <a:schemeClr val="accent1"/>
                </a:solidFill>
                <a:latin typeface="Arial"/>
                <a:ea typeface="+mn-ea"/>
                <a:cs typeface="Arial"/>
              </a:defRPr>
            </a:lvl3pPr>
            <a:lvl4pPr marL="1371600" indent="0" algn="l" defTabSz="457200" rtl="0" eaLnBrk="1" latinLnBrk="0" hangingPunct="1">
              <a:spcBef>
                <a:spcPts val="500"/>
              </a:spcBef>
              <a:spcAft>
                <a:spcPts val="500"/>
              </a:spcAft>
              <a:buClr>
                <a:srgbClr val="36C746"/>
              </a:buClr>
              <a:buFont typeface="Arial" panose="020B0604020202020204" pitchFamily="34" charset="0"/>
              <a:buNone/>
              <a:defRPr sz="1600" b="1" kern="1200">
                <a:solidFill>
                  <a:schemeClr val="accent1"/>
                </a:solidFill>
                <a:latin typeface="Arial"/>
                <a:ea typeface="+mn-ea"/>
                <a:cs typeface="Arial"/>
              </a:defRPr>
            </a:lvl4pPr>
            <a:lvl5pPr marL="1828800" indent="0" algn="l" defTabSz="457200" rtl="0" eaLnBrk="1" latinLnBrk="0" hangingPunct="1">
              <a:spcBef>
                <a:spcPts val="500"/>
              </a:spcBef>
              <a:spcAft>
                <a:spcPts val="500"/>
              </a:spcAft>
              <a:buClr>
                <a:srgbClr val="36C746"/>
              </a:buClr>
              <a:buFont typeface="Arial" panose="020B0604020202020204" pitchFamily="34" charset="0"/>
              <a:buNone/>
              <a:defRPr sz="1600" b="1" kern="1200">
                <a:solidFill>
                  <a:schemeClr val="accent1"/>
                </a:solidFill>
                <a:latin typeface="Arial"/>
                <a:ea typeface="+mn-ea"/>
                <a:cs typeface="Arial"/>
              </a:defRPr>
            </a:lvl5pPr>
            <a:lvl6pPr marL="2286000" indent="0" algn="l" defTabSz="457200" rtl="0" eaLnBrk="1" latinLnBrk="0" hangingPunct="1">
              <a:spcBef>
                <a:spcPts val="500"/>
              </a:spcBef>
              <a:spcAft>
                <a:spcPts val="500"/>
              </a:spcAft>
              <a:buClr>
                <a:schemeClr val="bg2"/>
              </a:buClr>
              <a:buFont typeface="Arial" panose="020B0604020202020204" pitchFamily="34" charset="0"/>
              <a:buNone/>
              <a:defRPr sz="1600" b="1" kern="1200" baseline="0">
                <a:solidFill>
                  <a:schemeClr val="accent1"/>
                </a:solidFill>
                <a:latin typeface="Arial" panose="020B0604020202020204" pitchFamily="34" charset="0"/>
                <a:ea typeface="+mn-ea"/>
                <a:cs typeface="Arial" panose="020B0604020202020204" pitchFamily="34" charset="0"/>
              </a:defRPr>
            </a:lvl6pPr>
            <a:lvl7pPr marL="2743200" indent="0" algn="l" defTabSz="457200" rtl="0" eaLnBrk="1" latinLnBrk="0" hangingPunct="1">
              <a:spcBef>
                <a:spcPts val="500"/>
              </a:spcBef>
              <a:spcAft>
                <a:spcPts val="500"/>
              </a:spcAft>
              <a:buClr>
                <a:schemeClr val="bg2"/>
              </a:buClr>
              <a:buFont typeface="Arial" panose="020B0604020202020204" pitchFamily="34" charset="0"/>
              <a:buNone/>
              <a:defRPr sz="1600" b="1" kern="1200">
                <a:solidFill>
                  <a:schemeClr val="accent1"/>
                </a:solidFill>
                <a:latin typeface="Arial" panose="020B0604020202020204" pitchFamily="34" charset="0"/>
                <a:ea typeface="+mn-ea"/>
                <a:cs typeface="Arial" panose="020B0604020202020204" pitchFamily="34" charset="0"/>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
                <a:srgbClr val="3DCD58"/>
              </a:buClr>
              <a:buSzTx/>
              <a:buFont typeface="Arial" panose="020B0604020202020204" pitchFamily="34" charset="0"/>
              <a:buNone/>
              <a:tabLst/>
              <a:defRPr/>
            </a:pPr>
            <a:r>
              <a:rPr kumimoji="0" lang="en-US" sz="1100" b="0" i="0" u="none" strike="noStrike" kern="1200" cap="none" spc="0" normalizeH="0" baseline="0" noProof="0">
                <a:ln>
                  <a:noFill/>
                </a:ln>
                <a:solidFill>
                  <a:srgbClr val="42B4E6"/>
                </a:solidFill>
                <a:effectLst/>
                <a:uLnTx/>
                <a:uFillTx/>
                <a:latin typeface="Arial"/>
                <a:ea typeface="+mn-ea"/>
                <a:cs typeface="Arial"/>
              </a:rPr>
              <a:t>Delivering business value throughout your carbon journey</a:t>
            </a:r>
          </a:p>
        </p:txBody>
      </p:sp>
      <p:cxnSp>
        <p:nvCxnSpPr>
          <p:cNvPr id="7" name="Straight Connector 6">
            <a:extLst>
              <a:ext uri="{FF2B5EF4-FFF2-40B4-BE49-F238E27FC236}">
                <a16:creationId xmlns:a16="http://schemas.microsoft.com/office/drawing/2014/main" id="{5E8ED449-8974-4385-9324-F0D6384E912E}"/>
              </a:ext>
            </a:extLst>
          </p:cNvPr>
          <p:cNvCxnSpPr>
            <a:cxnSpLocks/>
          </p:cNvCxnSpPr>
          <p:nvPr/>
        </p:nvCxnSpPr>
        <p:spPr>
          <a:xfrm>
            <a:off x="2233249" y="2581495"/>
            <a:ext cx="0" cy="2409709"/>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119598D1-F273-4DD8-A62F-FB6EAEFFF655}"/>
              </a:ext>
            </a:extLst>
          </p:cNvPr>
          <p:cNvSpPr/>
          <p:nvPr/>
        </p:nvSpPr>
        <p:spPr>
          <a:xfrm>
            <a:off x="1106593" y="4818729"/>
            <a:ext cx="675185"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WAVE 1</a:t>
            </a:r>
            <a:endParaRPr kumimoji="0" lang="en-US" sz="10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Rectangle 48">
            <a:extLst>
              <a:ext uri="{FF2B5EF4-FFF2-40B4-BE49-F238E27FC236}">
                <a16:creationId xmlns:a16="http://schemas.microsoft.com/office/drawing/2014/main" id="{E231E3AF-396C-45DC-853E-5C4751143B03}"/>
              </a:ext>
            </a:extLst>
          </p:cNvPr>
          <p:cNvSpPr/>
          <p:nvPr/>
        </p:nvSpPr>
        <p:spPr>
          <a:xfrm>
            <a:off x="3736690" y="4819452"/>
            <a:ext cx="675185"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mn-cs"/>
              </a:rPr>
              <a:t>WAVE 2</a:t>
            </a:r>
            <a:endParaRPr kumimoji="0" lang="en-US" sz="1000" b="1"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3" name="Straight Arrow Connector 12">
            <a:extLst>
              <a:ext uri="{FF2B5EF4-FFF2-40B4-BE49-F238E27FC236}">
                <a16:creationId xmlns:a16="http://schemas.microsoft.com/office/drawing/2014/main" id="{0ACBBD06-D920-470C-B72C-DDFD11C9F16E}"/>
              </a:ext>
            </a:extLst>
          </p:cNvPr>
          <p:cNvCxnSpPr>
            <a:cxnSpLocks/>
          </p:cNvCxnSpPr>
          <p:nvPr/>
        </p:nvCxnSpPr>
        <p:spPr>
          <a:xfrm>
            <a:off x="4376738" y="4951209"/>
            <a:ext cx="1279340"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AE861DC-10EA-4F9C-8C5C-4C44F4EFE298}"/>
              </a:ext>
            </a:extLst>
          </p:cNvPr>
          <p:cNvCxnSpPr>
            <a:cxnSpLocks/>
          </p:cNvCxnSpPr>
          <p:nvPr/>
        </p:nvCxnSpPr>
        <p:spPr>
          <a:xfrm flipH="1">
            <a:off x="2224082" y="4942563"/>
            <a:ext cx="142212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60BD141F-9730-4FC8-BC9B-9FEA7CA5A7E5}"/>
              </a:ext>
            </a:extLst>
          </p:cNvPr>
          <p:cNvCxnSpPr>
            <a:cxnSpLocks/>
          </p:cNvCxnSpPr>
          <p:nvPr/>
        </p:nvCxnSpPr>
        <p:spPr>
          <a:xfrm>
            <a:off x="1702594" y="4941839"/>
            <a:ext cx="530655"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FF1D4ED8-1ACC-4189-9E36-B0FF5DEA175A}"/>
              </a:ext>
            </a:extLst>
          </p:cNvPr>
          <p:cNvCxnSpPr>
            <a:cxnSpLocks/>
          </p:cNvCxnSpPr>
          <p:nvPr/>
        </p:nvCxnSpPr>
        <p:spPr>
          <a:xfrm flipH="1">
            <a:off x="638583" y="4942899"/>
            <a:ext cx="53775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7F3A260E-4881-4464-B689-1824E650A45C}"/>
              </a:ext>
            </a:extLst>
          </p:cNvPr>
          <p:cNvCxnSpPr>
            <a:cxnSpLocks/>
          </p:cNvCxnSpPr>
          <p:nvPr/>
        </p:nvCxnSpPr>
        <p:spPr>
          <a:xfrm>
            <a:off x="630954" y="4399717"/>
            <a:ext cx="0" cy="603172"/>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F2100B9C-16E6-4675-9A0C-226BF610D3C6}"/>
              </a:ext>
            </a:extLst>
          </p:cNvPr>
          <p:cNvCxnSpPr>
            <a:cxnSpLocks/>
            <a:stCxn id="39" idx="2"/>
          </p:cNvCxnSpPr>
          <p:nvPr/>
        </p:nvCxnSpPr>
        <p:spPr>
          <a:xfrm>
            <a:off x="5670035" y="4522267"/>
            <a:ext cx="2214" cy="47093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336EB84-7BA9-4040-9313-BD8294AF2C63}"/>
              </a:ext>
            </a:extLst>
          </p:cNvPr>
          <p:cNvCxnSpPr>
            <a:cxnSpLocks/>
            <a:stCxn id="43" idx="0"/>
          </p:cNvCxnSpPr>
          <p:nvPr/>
        </p:nvCxnSpPr>
        <p:spPr>
          <a:xfrm>
            <a:off x="614785" y="2581495"/>
            <a:ext cx="440058" cy="19135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74F8616-64AE-4595-9DD7-79125CDD44D1}"/>
              </a:ext>
            </a:extLst>
          </p:cNvPr>
          <p:cNvCxnSpPr>
            <a:cxnSpLocks/>
          </p:cNvCxnSpPr>
          <p:nvPr/>
        </p:nvCxnSpPr>
        <p:spPr>
          <a:xfrm flipV="1">
            <a:off x="1043059" y="2712197"/>
            <a:ext cx="824260" cy="5951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F6C77CCC-0420-4349-8AAB-9C810E97FD2B}"/>
              </a:ext>
            </a:extLst>
          </p:cNvPr>
          <p:cNvCxnSpPr>
            <a:cxnSpLocks/>
          </p:cNvCxnSpPr>
          <p:nvPr/>
        </p:nvCxnSpPr>
        <p:spPr>
          <a:xfrm flipV="1">
            <a:off x="1867319" y="2331192"/>
            <a:ext cx="383122" cy="37859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019F2A8F-0B0B-42FA-A505-57C607C236A8}"/>
              </a:ext>
            </a:extLst>
          </p:cNvPr>
          <p:cNvCxnSpPr>
            <a:cxnSpLocks/>
          </p:cNvCxnSpPr>
          <p:nvPr/>
        </p:nvCxnSpPr>
        <p:spPr>
          <a:xfrm flipV="1">
            <a:off x="2250441" y="1438180"/>
            <a:ext cx="3171772" cy="89239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351079D5-03B2-4536-A790-A5D31C94ED4D}"/>
              </a:ext>
            </a:extLst>
          </p:cNvPr>
          <p:cNvCxnSpPr>
            <a:cxnSpLocks/>
          </p:cNvCxnSpPr>
          <p:nvPr/>
        </p:nvCxnSpPr>
        <p:spPr>
          <a:xfrm flipV="1">
            <a:off x="624182" y="1022513"/>
            <a:ext cx="0" cy="155898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86" name="TextBox 36">
            <a:extLst>
              <a:ext uri="{FF2B5EF4-FFF2-40B4-BE49-F238E27FC236}">
                <a16:creationId xmlns:a16="http://schemas.microsoft.com/office/drawing/2014/main" id="{D71190ED-121E-4524-9911-FF953B46CC18}"/>
              </a:ext>
            </a:extLst>
          </p:cNvPr>
          <p:cNvSpPr txBox="1"/>
          <p:nvPr/>
        </p:nvSpPr>
        <p:spPr>
          <a:xfrm rot="16200000">
            <a:off x="-410148" y="1519827"/>
            <a:ext cx="1676886" cy="400110"/>
          </a:xfrm>
          <a:prstGeom prst="rect">
            <a:avLst/>
          </a:prstGeom>
          <a:noFill/>
          <a:ln>
            <a:noFill/>
          </a:ln>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a:ea typeface="+mn-ea"/>
                <a:cs typeface="+mn-cs"/>
              </a:rPr>
              <a:t>Cumulative</a:t>
            </a:r>
            <a:br>
              <a:rPr kumimoji="0" lang="en-US" sz="1000" b="0" i="0" u="none" strike="noStrike" kern="1200" cap="none" spc="0" normalizeH="0" baseline="0" noProof="0">
                <a:ln>
                  <a:noFill/>
                </a:ln>
                <a:solidFill>
                  <a:prstClr val="white"/>
                </a:solidFill>
                <a:effectLst/>
                <a:uLnTx/>
                <a:uFillTx/>
                <a:latin typeface="Arial"/>
                <a:ea typeface="+mn-ea"/>
                <a:cs typeface="+mn-cs"/>
              </a:rPr>
            </a:br>
            <a:r>
              <a:rPr kumimoji="0" lang="en-US" sz="1000" b="0" i="0" u="none" strike="noStrike" kern="1200" cap="none" spc="0" normalizeH="0" baseline="0" noProof="0">
                <a:ln>
                  <a:noFill/>
                </a:ln>
                <a:solidFill>
                  <a:prstClr val="white"/>
                </a:solidFill>
                <a:effectLst/>
                <a:uLnTx/>
                <a:uFillTx/>
                <a:latin typeface="Arial"/>
                <a:ea typeface="+mn-ea"/>
                <a:cs typeface="+mn-cs"/>
              </a:rPr>
              <a:t>Cash Flow</a:t>
            </a:r>
          </a:p>
        </p:txBody>
      </p:sp>
      <p:cxnSp>
        <p:nvCxnSpPr>
          <p:cNvPr id="62" name="Straight Connector 61">
            <a:extLst>
              <a:ext uri="{FF2B5EF4-FFF2-40B4-BE49-F238E27FC236}">
                <a16:creationId xmlns:a16="http://schemas.microsoft.com/office/drawing/2014/main" id="{B1E64E3A-345D-4427-9BA7-1EBAEF0AA1B4}"/>
              </a:ext>
            </a:extLst>
          </p:cNvPr>
          <p:cNvCxnSpPr>
            <a:cxnSpLocks/>
          </p:cNvCxnSpPr>
          <p:nvPr/>
        </p:nvCxnSpPr>
        <p:spPr>
          <a:xfrm flipV="1">
            <a:off x="5449545" y="1351045"/>
            <a:ext cx="262836" cy="77833"/>
          </a:xfrm>
          <a:prstGeom prst="line">
            <a:avLst/>
          </a:prstGeom>
          <a:ln w="19050">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6EF4C6B-D980-42D7-B29D-92EAC37B001A}"/>
              </a:ext>
            </a:extLst>
          </p:cNvPr>
          <p:cNvSpPr/>
          <p:nvPr/>
        </p:nvSpPr>
        <p:spPr>
          <a:xfrm>
            <a:off x="5153622" y="1080087"/>
            <a:ext cx="397866"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Arial"/>
                <a:ea typeface="+mn-ea"/>
                <a:cs typeface="+mn-cs"/>
              </a:rPr>
              <a:t>M$</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Rectangle 70">
            <a:extLst>
              <a:ext uri="{FF2B5EF4-FFF2-40B4-BE49-F238E27FC236}">
                <a16:creationId xmlns:a16="http://schemas.microsoft.com/office/drawing/2014/main" id="{A19DB857-B4DC-4CC8-AB23-9C3A0CB763F0}"/>
              </a:ext>
            </a:extLst>
          </p:cNvPr>
          <p:cNvSpPr/>
          <p:nvPr/>
        </p:nvSpPr>
        <p:spPr>
          <a:xfrm>
            <a:off x="7651598" y="1092548"/>
            <a:ext cx="1968803" cy="565431"/>
          </a:xfrm>
          <a:prstGeom prst="rect">
            <a:avLst/>
          </a:prstGeom>
          <a:solidFill>
            <a:schemeClr val="bg1">
              <a:lumMod val="85000"/>
            </a:schemeClr>
          </a:solidFill>
          <a:ln w="9525" cap="flat" cmpd="sng" algn="ctr">
            <a:noFill/>
            <a:prstDash val="solid"/>
          </a:ln>
          <a:effectLst/>
        </p:spPr>
        <p:txBody>
          <a:bodyPr rtlCol="0" anchor="ctr"/>
          <a:lstStyle/>
          <a:p>
            <a:pPr marL="118530" marR="0" lvl="0" indent="-118530" algn="l" defTabSz="609570" rtl="0" eaLnBrk="1" fontAlgn="auto" latinLnBrk="0" hangingPunct="1">
              <a:lnSpc>
                <a:spcPct val="100000"/>
              </a:lnSpc>
              <a:spcBef>
                <a:spcPts val="133"/>
              </a:spcBef>
              <a:spcAft>
                <a:spcPts val="0"/>
              </a:spcAft>
              <a:buClrTx/>
              <a:buSzTx/>
              <a:buFont typeface="Wingdings" panose="05000000000000000000" pitchFamily="2" charset="2"/>
              <a:buChar char="ü"/>
              <a:tabLst/>
              <a:defRPr/>
            </a:pPr>
            <a:r>
              <a:rPr kumimoji="0" lang="fr-FR" sz="800" b="0" i="0" u="none" strike="noStrike" kern="0" cap="none" spc="0" normalizeH="0" baseline="0" noProof="0" err="1">
                <a:ln>
                  <a:noFill/>
                </a:ln>
                <a:solidFill>
                  <a:prstClr val="black"/>
                </a:solidFill>
                <a:effectLst/>
                <a:uLnTx/>
                <a:uFillTx/>
                <a:latin typeface="Arial"/>
                <a:ea typeface="+mn-ea"/>
                <a:cs typeface="+mn-cs"/>
              </a:rPr>
              <a:t>Savings</a:t>
            </a:r>
            <a:r>
              <a:rPr kumimoji="0" lang="fr-FR" sz="800" b="0" i="0" u="none" strike="noStrike" kern="0" cap="none" spc="0" normalizeH="0" baseline="0" noProof="0">
                <a:ln>
                  <a:noFill/>
                </a:ln>
                <a:solidFill>
                  <a:prstClr val="black"/>
                </a:solidFill>
                <a:effectLst/>
                <a:uLnTx/>
                <a:uFillTx/>
                <a:latin typeface="Arial"/>
                <a:ea typeface="+mn-ea"/>
                <a:cs typeface="+mn-cs"/>
              </a:rPr>
              <a:t>: 		2 M$/</a:t>
            </a:r>
            <a:r>
              <a:rPr kumimoji="0" lang="fr-FR" sz="800" b="0" i="0" u="none" strike="noStrike" kern="0" cap="none" spc="0" normalizeH="0" baseline="0" noProof="0" err="1">
                <a:ln>
                  <a:noFill/>
                </a:ln>
                <a:solidFill>
                  <a:prstClr val="black"/>
                </a:solidFill>
                <a:effectLst/>
                <a:uLnTx/>
                <a:uFillTx/>
                <a:latin typeface="Arial"/>
                <a:ea typeface="+mn-ea"/>
                <a:cs typeface="+mn-cs"/>
              </a:rPr>
              <a:t>year</a:t>
            </a:r>
            <a:endParaRPr kumimoji="0" lang="fr-FR" sz="300" b="0" i="0" u="none" strike="noStrike" kern="0" cap="none" spc="0" normalizeH="0" baseline="0" noProof="0">
              <a:ln>
                <a:noFill/>
              </a:ln>
              <a:solidFill>
                <a:prstClr val="black"/>
              </a:solidFill>
              <a:effectLst/>
              <a:uLnTx/>
              <a:uFillTx/>
              <a:latin typeface="Arial"/>
              <a:ea typeface="+mn-ea"/>
              <a:cs typeface="+mn-cs"/>
            </a:endParaRPr>
          </a:p>
          <a:p>
            <a:pPr marL="118530" marR="0" lvl="0" indent="-118530" algn="l" defTabSz="609570" rtl="0" eaLnBrk="1" fontAlgn="auto" latinLnBrk="0" hangingPunct="1">
              <a:lnSpc>
                <a:spcPct val="100000"/>
              </a:lnSpc>
              <a:spcBef>
                <a:spcPts val="133"/>
              </a:spcBef>
              <a:spcAft>
                <a:spcPts val="0"/>
              </a:spcAft>
              <a:buClrTx/>
              <a:buSzTx/>
              <a:buFont typeface="Wingdings" panose="05000000000000000000" pitchFamily="2" charset="2"/>
              <a:buChar char="ü"/>
              <a:tabLst/>
              <a:defRPr/>
            </a:pPr>
            <a:r>
              <a:rPr kumimoji="0" lang="fr-FR" sz="800" b="0" i="0" u="none" strike="noStrike" kern="0" cap="none" spc="0" normalizeH="0" baseline="0" noProof="0" err="1">
                <a:ln>
                  <a:noFill/>
                </a:ln>
                <a:solidFill>
                  <a:prstClr val="black"/>
                </a:solidFill>
                <a:effectLst/>
                <a:uLnTx/>
                <a:uFillTx/>
                <a:latin typeface="Arial"/>
                <a:ea typeface="+mn-ea"/>
                <a:cs typeface="+mn-cs"/>
              </a:rPr>
              <a:t>Spend</a:t>
            </a:r>
            <a:r>
              <a:rPr kumimoji="0" lang="fr-FR" sz="800" b="0" i="0" u="none" strike="noStrike" kern="0" cap="none" spc="0" normalizeH="0" baseline="0" noProof="0">
                <a:ln>
                  <a:noFill/>
                </a:ln>
                <a:solidFill>
                  <a:prstClr val="black"/>
                </a:solidFill>
                <a:effectLst/>
                <a:uLnTx/>
                <a:uFillTx/>
                <a:latin typeface="Arial"/>
                <a:ea typeface="+mn-ea"/>
                <a:cs typeface="+mn-cs"/>
              </a:rPr>
              <a:t> Under </a:t>
            </a:r>
            <a:r>
              <a:rPr kumimoji="0" lang="fr-FR" sz="800" b="0" i="0" u="none" strike="noStrike" kern="0" cap="none" spc="0" normalizeH="0" baseline="0" noProof="0" err="1">
                <a:ln>
                  <a:noFill/>
                </a:ln>
                <a:solidFill>
                  <a:prstClr val="black"/>
                </a:solidFill>
                <a:effectLst/>
                <a:uLnTx/>
                <a:uFillTx/>
                <a:latin typeface="Arial"/>
                <a:ea typeface="+mn-ea"/>
                <a:cs typeface="+mn-cs"/>
              </a:rPr>
              <a:t>Mgmt</a:t>
            </a:r>
            <a:r>
              <a:rPr kumimoji="0" lang="fr-FR" sz="800" b="0" i="0" u="none" strike="noStrike" kern="0" cap="none" spc="0" normalizeH="0" baseline="0" noProof="0">
                <a:ln>
                  <a:noFill/>
                </a:ln>
                <a:solidFill>
                  <a:prstClr val="black"/>
                </a:solidFill>
                <a:effectLst/>
                <a:uLnTx/>
                <a:uFillTx/>
                <a:latin typeface="Arial"/>
                <a:ea typeface="+mn-ea"/>
                <a:cs typeface="+mn-cs"/>
              </a:rPr>
              <a:t>	100%</a:t>
            </a:r>
          </a:p>
          <a:p>
            <a:pPr marL="118530" marR="0" lvl="0" indent="-118530" algn="l" defTabSz="609570" rtl="0" eaLnBrk="1" fontAlgn="auto" latinLnBrk="0" hangingPunct="1">
              <a:lnSpc>
                <a:spcPct val="100000"/>
              </a:lnSpc>
              <a:spcBef>
                <a:spcPts val="133"/>
              </a:spcBef>
              <a:spcAft>
                <a:spcPts val="0"/>
              </a:spcAft>
              <a:buClrTx/>
              <a:buSzTx/>
              <a:buFont typeface="Wingdings" panose="05000000000000000000" pitchFamily="2" charset="2"/>
              <a:buChar char="ü"/>
              <a:tabLst/>
              <a:defRPr/>
            </a:pPr>
            <a:r>
              <a:rPr kumimoji="0" lang="fr-FR" sz="800" b="0" i="0" u="none" strike="noStrike" kern="0" cap="none" spc="0" normalizeH="0" baseline="0" noProof="0">
                <a:ln>
                  <a:noFill/>
                </a:ln>
                <a:solidFill>
                  <a:prstClr val="black"/>
                </a:solidFill>
                <a:effectLst/>
                <a:uLnTx/>
                <a:uFillTx/>
                <a:latin typeface="Arial"/>
                <a:ea typeface="+mn-ea"/>
                <a:cs typeface="+mn-cs"/>
              </a:rPr>
              <a:t>GHG </a:t>
            </a:r>
            <a:r>
              <a:rPr kumimoji="0" lang="fr-FR" sz="800" b="0" i="0" u="none" strike="noStrike" kern="0" cap="none" spc="0" normalizeH="0" baseline="0" noProof="0" err="1">
                <a:ln>
                  <a:noFill/>
                </a:ln>
                <a:solidFill>
                  <a:prstClr val="black"/>
                </a:solidFill>
                <a:effectLst/>
                <a:uLnTx/>
                <a:uFillTx/>
                <a:latin typeface="Arial"/>
                <a:ea typeface="+mn-ea"/>
                <a:cs typeface="+mn-cs"/>
              </a:rPr>
              <a:t>reduction</a:t>
            </a:r>
            <a:r>
              <a:rPr kumimoji="0" lang="fr-FR" sz="800" b="0" i="0" u="none" strike="noStrike" kern="0" cap="none" spc="0" normalizeH="0" baseline="0" noProof="0">
                <a:ln>
                  <a:noFill/>
                </a:ln>
                <a:solidFill>
                  <a:prstClr val="black"/>
                </a:solidFill>
                <a:effectLst/>
                <a:uLnTx/>
                <a:uFillTx/>
                <a:latin typeface="Arial"/>
                <a:ea typeface="+mn-ea"/>
                <a:cs typeface="+mn-cs"/>
              </a:rPr>
              <a:t>: 	0 %</a:t>
            </a:r>
          </a:p>
        </p:txBody>
      </p:sp>
      <p:sp>
        <p:nvSpPr>
          <p:cNvPr id="74" name="Rectangle 73">
            <a:extLst>
              <a:ext uri="{FF2B5EF4-FFF2-40B4-BE49-F238E27FC236}">
                <a16:creationId xmlns:a16="http://schemas.microsoft.com/office/drawing/2014/main" id="{4283C4B4-D8BB-4499-BB9E-3893424EC9AC}"/>
              </a:ext>
            </a:extLst>
          </p:cNvPr>
          <p:cNvSpPr/>
          <p:nvPr/>
        </p:nvSpPr>
        <p:spPr>
          <a:xfrm>
            <a:off x="9751661" y="1092548"/>
            <a:ext cx="1968803" cy="565431"/>
          </a:xfrm>
          <a:prstGeom prst="rect">
            <a:avLst/>
          </a:prstGeom>
          <a:solidFill>
            <a:schemeClr val="bg1">
              <a:lumMod val="85000"/>
            </a:schemeClr>
          </a:solidFill>
          <a:ln w="9525" cap="flat" cmpd="sng" algn="ctr">
            <a:noFill/>
            <a:prstDash val="solid"/>
          </a:ln>
          <a:effectLst/>
        </p:spPr>
        <p:txBody>
          <a:bodyPr rtlCol="0" anchor="ctr"/>
          <a:lstStyle/>
          <a:p>
            <a:pPr marL="118530" marR="0" lvl="0" indent="-118530" algn="l" defTabSz="609570" rtl="0" eaLnBrk="1" fontAlgn="auto" latinLnBrk="0" hangingPunct="1">
              <a:lnSpc>
                <a:spcPct val="100000"/>
              </a:lnSpc>
              <a:spcBef>
                <a:spcPts val="133"/>
              </a:spcBef>
              <a:spcAft>
                <a:spcPts val="0"/>
              </a:spcAft>
              <a:buClrTx/>
              <a:buSzTx/>
              <a:buFont typeface="Wingdings" panose="05000000000000000000" pitchFamily="2" charset="2"/>
              <a:buChar char="ü"/>
              <a:tabLst/>
              <a:defRPr/>
            </a:pPr>
            <a:r>
              <a:rPr kumimoji="0" lang="fr-FR" sz="800" b="0" i="0" u="none" strike="noStrike" kern="0" cap="none" spc="0" normalizeH="0" baseline="0" noProof="0" err="1">
                <a:ln>
                  <a:noFill/>
                </a:ln>
                <a:solidFill>
                  <a:prstClr val="black"/>
                </a:solidFill>
                <a:effectLst/>
                <a:uLnTx/>
                <a:uFillTx/>
                <a:latin typeface="Arial"/>
                <a:ea typeface="+mn-ea"/>
                <a:cs typeface="+mn-cs"/>
              </a:rPr>
              <a:t>Savings</a:t>
            </a:r>
            <a:r>
              <a:rPr kumimoji="0" lang="fr-FR" sz="800" b="0" i="0" u="none" strike="noStrike" kern="0" cap="none" spc="0" normalizeH="0" baseline="0" noProof="0">
                <a:ln>
                  <a:noFill/>
                </a:ln>
                <a:solidFill>
                  <a:prstClr val="black"/>
                </a:solidFill>
                <a:effectLst/>
                <a:uLnTx/>
                <a:uFillTx/>
                <a:latin typeface="Arial"/>
                <a:ea typeface="+mn-ea"/>
                <a:cs typeface="+mn-cs"/>
              </a:rPr>
              <a:t>: 		2 M$/</a:t>
            </a:r>
            <a:r>
              <a:rPr kumimoji="0" lang="fr-FR" sz="800" b="0" i="0" u="none" strike="noStrike" kern="0" cap="none" spc="0" normalizeH="0" baseline="0" noProof="0" err="1">
                <a:ln>
                  <a:noFill/>
                </a:ln>
                <a:solidFill>
                  <a:prstClr val="black"/>
                </a:solidFill>
                <a:effectLst/>
                <a:uLnTx/>
                <a:uFillTx/>
                <a:latin typeface="Arial"/>
                <a:ea typeface="+mn-ea"/>
                <a:cs typeface="+mn-cs"/>
              </a:rPr>
              <a:t>year</a:t>
            </a:r>
            <a:endParaRPr kumimoji="0" lang="fr-FR" sz="300" b="0" i="0" u="none" strike="noStrike" kern="0" cap="none" spc="0" normalizeH="0" baseline="0" noProof="0">
              <a:ln>
                <a:noFill/>
              </a:ln>
              <a:solidFill>
                <a:prstClr val="black"/>
              </a:solidFill>
              <a:effectLst/>
              <a:uLnTx/>
              <a:uFillTx/>
              <a:latin typeface="Arial"/>
              <a:ea typeface="+mn-ea"/>
              <a:cs typeface="+mn-cs"/>
            </a:endParaRPr>
          </a:p>
          <a:p>
            <a:pPr marL="118530" marR="0" lvl="0" indent="-118530" algn="l" defTabSz="609570" rtl="0" eaLnBrk="1" fontAlgn="auto" latinLnBrk="0" hangingPunct="1">
              <a:lnSpc>
                <a:spcPct val="100000"/>
              </a:lnSpc>
              <a:spcBef>
                <a:spcPts val="133"/>
              </a:spcBef>
              <a:spcAft>
                <a:spcPts val="0"/>
              </a:spcAft>
              <a:buClrTx/>
              <a:buSzTx/>
              <a:buFont typeface="Wingdings" panose="05000000000000000000" pitchFamily="2" charset="2"/>
              <a:buChar char="ü"/>
              <a:tabLst/>
              <a:defRPr/>
            </a:pPr>
            <a:r>
              <a:rPr kumimoji="0" lang="fr-FR" sz="800" b="0" i="0" u="none" strike="noStrike" kern="0" cap="none" spc="0" normalizeH="0" baseline="0" noProof="0" err="1">
                <a:ln>
                  <a:noFill/>
                </a:ln>
                <a:solidFill>
                  <a:prstClr val="black"/>
                </a:solidFill>
                <a:effectLst/>
                <a:uLnTx/>
                <a:uFillTx/>
                <a:latin typeface="Arial"/>
                <a:ea typeface="+mn-ea"/>
                <a:cs typeface="+mn-cs"/>
              </a:rPr>
              <a:t>Spend</a:t>
            </a:r>
            <a:r>
              <a:rPr kumimoji="0" lang="fr-FR" sz="800" b="0" i="0" u="none" strike="noStrike" kern="0" cap="none" spc="0" normalizeH="0" baseline="0" noProof="0">
                <a:ln>
                  <a:noFill/>
                </a:ln>
                <a:solidFill>
                  <a:prstClr val="black"/>
                </a:solidFill>
                <a:effectLst/>
                <a:uLnTx/>
                <a:uFillTx/>
                <a:latin typeface="Arial"/>
                <a:ea typeface="+mn-ea"/>
                <a:cs typeface="+mn-cs"/>
              </a:rPr>
              <a:t> Under </a:t>
            </a:r>
            <a:r>
              <a:rPr kumimoji="0" lang="fr-FR" sz="800" b="0" i="0" u="none" strike="noStrike" kern="0" cap="none" spc="0" normalizeH="0" baseline="0" noProof="0" err="1">
                <a:ln>
                  <a:noFill/>
                </a:ln>
                <a:solidFill>
                  <a:prstClr val="black"/>
                </a:solidFill>
                <a:effectLst/>
                <a:uLnTx/>
                <a:uFillTx/>
                <a:latin typeface="Arial"/>
                <a:ea typeface="+mn-ea"/>
                <a:cs typeface="+mn-cs"/>
              </a:rPr>
              <a:t>Mgmt</a:t>
            </a:r>
            <a:r>
              <a:rPr kumimoji="0" lang="fr-FR" sz="800" b="0" i="0" u="none" strike="noStrike" kern="0" cap="none" spc="0" normalizeH="0" baseline="0" noProof="0">
                <a:ln>
                  <a:noFill/>
                </a:ln>
                <a:solidFill>
                  <a:prstClr val="black"/>
                </a:solidFill>
                <a:effectLst/>
                <a:uLnTx/>
                <a:uFillTx/>
                <a:latin typeface="Arial"/>
                <a:ea typeface="+mn-ea"/>
                <a:cs typeface="+mn-cs"/>
              </a:rPr>
              <a:t>	100%</a:t>
            </a:r>
          </a:p>
          <a:p>
            <a:pPr marL="118530" marR="0" lvl="0" indent="-118530" algn="l" defTabSz="609570" rtl="0" eaLnBrk="1" fontAlgn="auto" latinLnBrk="0" hangingPunct="1">
              <a:lnSpc>
                <a:spcPct val="100000"/>
              </a:lnSpc>
              <a:spcBef>
                <a:spcPts val="133"/>
              </a:spcBef>
              <a:spcAft>
                <a:spcPts val="0"/>
              </a:spcAft>
              <a:buClrTx/>
              <a:buSzTx/>
              <a:buFont typeface="Wingdings" panose="05000000000000000000" pitchFamily="2" charset="2"/>
              <a:buChar char="ü"/>
              <a:tabLst/>
              <a:defRPr/>
            </a:pPr>
            <a:r>
              <a:rPr kumimoji="0" lang="fr-FR" sz="800" b="0" i="0" u="none" strike="noStrike" kern="0" cap="none" spc="0" normalizeH="0" baseline="0" noProof="0">
                <a:ln>
                  <a:noFill/>
                </a:ln>
                <a:solidFill>
                  <a:prstClr val="black"/>
                </a:solidFill>
                <a:effectLst/>
                <a:uLnTx/>
                <a:uFillTx/>
                <a:latin typeface="Arial"/>
                <a:ea typeface="+mn-ea"/>
                <a:cs typeface="+mn-cs"/>
              </a:rPr>
              <a:t>GHG </a:t>
            </a:r>
            <a:r>
              <a:rPr kumimoji="0" lang="fr-FR" sz="800" b="0" i="0" u="none" strike="noStrike" kern="0" cap="none" spc="0" normalizeH="0" baseline="0" noProof="0" err="1">
                <a:ln>
                  <a:noFill/>
                </a:ln>
                <a:solidFill>
                  <a:prstClr val="black"/>
                </a:solidFill>
                <a:effectLst/>
                <a:uLnTx/>
                <a:uFillTx/>
                <a:latin typeface="Arial"/>
                <a:ea typeface="+mn-ea"/>
                <a:cs typeface="+mn-cs"/>
              </a:rPr>
              <a:t>reduction</a:t>
            </a:r>
            <a:r>
              <a:rPr kumimoji="0" lang="fr-FR" sz="800" b="0" i="0" u="none" strike="noStrike" kern="0" cap="none" spc="0" normalizeH="0" baseline="0" noProof="0">
                <a:ln>
                  <a:noFill/>
                </a:ln>
                <a:solidFill>
                  <a:prstClr val="black"/>
                </a:solidFill>
                <a:effectLst/>
                <a:uLnTx/>
                <a:uFillTx/>
                <a:latin typeface="Arial"/>
                <a:ea typeface="+mn-ea"/>
                <a:cs typeface="+mn-cs"/>
              </a:rPr>
              <a:t>: 	0 %</a:t>
            </a:r>
          </a:p>
        </p:txBody>
      </p:sp>
      <p:sp>
        <p:nvSpPr>
          <p:cNvPr id="75" name="TextBox 74">
            <a:extLst>
              <a:ext uri="{FF2B5EF4-FFF2-40B4-BE49-F238E27FC236}">
                <a16:creationId xmlns:a16="http://schemas.microsoft.com/office/drawing/2014/main" id="{1F460969-E33E-41C2-A7A4-9E961C08FD50}"/>
              </a:ext>
            </a:extLst>
          </p:cNvPr>
          <p:cNvSpPr txBox="1"/>
          <p:nvPr/>
        </p:nvSpPr>
        <p:spPr>
          <a:xfrm>
            <a:off x="6145636" y="1222713"/>
            <a:ext cx="1278607" cy="377026"/>
          </a:xfrm>
          <a:prstGeom prst="rect">
            <a:avLst/>
          </a:prstGeom>
          <a:noFill/>
        </p:spPr>
        <p:txBody>
          <a:bodyPr wrap="square" rtlCol="0">
            <a:spAutoFit/>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Arial"/>
                <a:ea typeface="+mn-ea"/>
                <a:cs typeface="+mn-cs"/>
              </a:rPr>
              <a:t>MANAGE</a:t>
            </a:r>
          </a:p>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a:ea typeface="+mn-ea"/>
                <a:cs typeface="+mn-cs"/>
              </a:rPr>
              <a:t>Your Energy Supply</a:t>
            </a:r>
          </a:p>
        </p:txBody>
      </p:sp>
      <p:sp>
        <p:nvSpPr>
          <p:cNvPr id="34" name="Rectangle 33">
            <a:extLst>
              <a:ext uri="{FF2B5EF4-FFF2-40B4-BE49-F238E27FC236}">
                <a16:creationId xmlns:a16="http://schemas.microsoft.com/office/drawing/2014/main" id="{E7B43CA2-C7A8-43F4-A78F-C137676DA2F8}"/>
              </a:ext>
            </a:extLst>
          </p:cNvPr>
          <p:cNvSpPr/>
          <p:nvPr/>
        </p:nvSpPr>
        <p:spPr>
          <a:xfrm>
            <a:off x="7761529" y="195167"/>
            <a:ext cx="3179845" cy="535531"/>
          </a:xfrm>
          <a:prstGeom prst="rect">
            <a:avLst/>
          </a:prstGeom>
        </p:spPr>
        <p:txBody>
          <a:bodyPr wrap="none">
            <a:spAutoFit/>
          </a:bodyPr>
          <a:lstStyle/>
          <a:p>
            <a:pPr marL="342888" marR="0" lvl="0" indent="-342888" algn="l" defTabSz="914377" rtl="0" eaLnBrk="1" fontAlgn="auto" latinLnBrk="0" hangingPunct="1">
              <a:lnSpc>
                <a:spcPct val="80000"/>
              </a:lnSpc>
              <a:spcBef>
                <a:spcPct val="20000"/>
              </a:spcBef>
              <a:spcAft>
                <a:spcPts val="0"/>
              </a:spcAft>
              <a:buClrTx/>
              <a:buSzTx/>
              <a:buFontTx/>
              <a:buNone/>
              <a:tabLst/>
              <a:defRPr/>
            </a:pPr>
            <a:r>
              <a:rPr kumimoji="0" lang="en-HK" sz="16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Energy Spend	   </a:t>
            </a:r>
            <a:r>
              <a:rPr kumimoji="0" lang="en-HK" sz="1600" b="1" i="0" u="none" strike="noStrike" kern="1200" cap="none" spc="0" normalizeH="0" baseline="0" noProof="0">
                <a:ln>
                  <a:noFill/>
                </a:ln>
                <a:solidFill>
                  <a:srgbClr val="3DCD58"/>
                </a:solidFill>
                <a:effectLst/>
                <a:uLnTx/>
                <a:uFillTx/>
                <a:latin typeface="Arial" panose="020B0604020202020204" pitchFamily="34" charset="0"/>
                <a:ea typeface="+mn-ea"/>
                <a:cs typeface="Arial" panose="020B0604020202020204" pitchFamily="34" charset="0"/>
              </a:rPr>
              <a:t>XX M€</a:t>
            </a:r>
          </a:p>
          <a:p>
            <a:pPr marL="342888" marR="0" lvl="0" indent="-342888" algn="l" defTabSz="914377" rtl="0" eaLnBrk="1" fontAlgn="auto" latinLnBrk="0" hangingPunct="1">
              <a:lnSpc>
                <a:spcPct val="80000"/>
              </a:lnSpc>
              <a:spcBef>
                <a:spcPct val="20000"/>
              </a:spcBef>
              <a:spcAft>
                <a:spcPts val="0"/>
              </a:spcAft>
              <a:buClrTx/>
              <a:buSzTx/>
              <a:buFontTx/>
              <a:buNone/>
              <a:tabLst/>
              <a:defRPr/>
            </a:pPr>
            <a:r>
              <a:rPr kumimoji="0" lang="en-HK" sz="16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Carbon Footprint	   </a:t>
            </a:r>
            <a:r>
              <a:rPr kumimoji="0" lang="en-HK" sz="1600" b="1" i="0" u="none" strike="noStrike" kern="1200" cap="none" spc="0" normalizeH="0" baseline="0" noProof="0">
                <a:ln>
                  <a:noFill/>
                </a:ln>
                <a:solidFill>
                  <a:srgbClr val="3DCD58"/>
                </a:solidFill>
                <a:effectLst/>
                <a:uLnTx/>
                <a:uFillTx/>
                <a:latin typeface="Arial" panose="020B0604020202020204" pitchFamily="34" charset="0"/>
                <a:ea typeface="+mn-ea"/>
                <a:cs typeface="Arial" panose="020B0604020202020204" pitchFamily="34" charset="0"/>
              </a:rPr>
              <a:t>XX </a:t>
            </a:r>
            <a:r>
              <a:rPr kumimoji="0" lang="en-HK" sz="1600" b="1" i="0" u="none" strike="noStrike" kern="1200" cap="none" spc="0" normalizeH="0" baseline="0" noProof="0" err="1">
                <a:ln>
                  <a:noFill/>
                </a:ln>
                <a:solidFill>
                  <a:srgbClr val="3DCD58"/>
                </a:solidFill>
                <a:effectLst/>
                <a:uLnTx/>
                <a:uFillTx/>
                <a:latin typeface="Arial" panose="020B0604020202020204" pitchFamily="34" charset="0"/>
                <a:ea typeface="+mn-ea"/>
                <a:cs typeface="Arial" panose="020B0604020202020204" pitchFamily="34" charset="0"/>
              </a:rPr>
              <a:t>MTons</a:t>
            </a:r>
            <a:endParaRPr kumimoji="0" lang="en-HK" sz="1600" b="1" i="0" u="none" strike="noStrike" kern="1200" cap="none" spc="0" normalizeH="0" baseline="0" noProof="0">
              <a:ln>
                <a:noFill/>
              </a:ln>
              <a:solidFill>
                <a:srgbClr val="3DCD58"/>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90758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6"/>
                                        </p:tgtEl>
                                        <p:attrNameLst>
                                          <p:attrName>style.visibility</p:attrName>
                                        </p:attrNameLst>
                                      </p:cBhvr>
                                      <p:to>
                                        <p:strVal val="visible"/>
                                      </p:to>
                                    </p:set>
                                    <p:animEffect transition="in" filter="fade">
                                      <p:cBhvr>
                                        <p:cTn id="7" dur="500"/>
                                        <p:tgtEl>
                                          <p:spTgt spid="86"/>
                                        </p:tgtEl>
                                      </p:cBhvr>
                                    </p:animEffect>
                                  </p:childTnLst>
                                </p:cTn>
                              </p:par>
                              <p:par>
                                <p:cTn id="8" presetID="10" presetClass="entr" presetSubtype="0" fill="hold" nodeType="withEffect">
                                  <p:stCondLst>
                                    <p:cond delay="0"/>
                                  </p:stCondLst>
                                  <p:childTnLst>
                                    <p:set>
                                      <p:cBhvr>
                                        <p:cTn id="9" dur="1" fill="hold">
                                          <p:stCondLst>
                                            <p:cond delay="0"/>
                                          </p:stCondLst>
                                        </p:cTn>
                                        <p:tgtEl>
                                          <p:spTgt spid="84"/>
                                        </p:tgtEl>
                                        <p:attrNameLst>
                                          <p:attrName>style.visibility</p:attrName>
                                        </p:attrNameLst>
                                      </p:cBhvr>
                                      <p:to>
                                        <p:strVal val="visible"/>
                                      </p:to>
                                    </p:set>
                                    <p:animEffect transition="in" filter="fade">
                                      <p:cBhvr>
                                        <p:cTn id="10" dur="500"/>
                                        <p:tgtEl>
                                          <p:spTgt spid="84"/>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25"/>
                                        </p:tgtEl>
                                        <p:attrNameLst>
                                          <p:attrName>style.visibility</p:attrName>
                                        </p:attrNameLst>
                                      </p:cBhvr>
                                      <p:to>
                                        <p:strVal val="visible"/>
                                      </p:to>
                                    </p:set>
                                    <p:animEffect transition="in" filter="wipe(left)">
                                      <p:cBhvr>
                                        <p:cTn id="14" dur="500"/>
                                        <p:tgtEl>
                                          <p:spTgt spid="25"/>
                                        </p:tgtEl>
                                      </p:cBhvr>
                                    </p:animEffect>
                                  </p:childTnLst>
                                </p:cTn>
                              </p:par>
                              <p:par>
                                <p:cTn id="15" presetID="1" presetClass="entr" presetSubtype="0" fill="hold" grpId="0" nodeType="with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childTnLst>
                          </p:cTn>
                        </p:par>
                        <p:par>
                          <p:cTn id="17" fill="hold">
                            <p:stCondLst>
                              <p:cond delay="1000"/>
                            </p:stCondLst>
                            <p:childTnLst>
                              <p:par>
                                <p:cTn id="18" presetID="22" presetClass="entr" presetSubtype="8" fill="hold" nodeType="afterEffect">
                                  <p:stCondLst>
                                    <p:cond delay="0"/>
                                  </p:stCondLst>
                                  <p:childTnLst>
                                    <p:set>
                                      <p:cBhvr>
                                        <p:cTn id="19" dur="1" fill="hold">
                                          <p:stCondLst>
                                            <p:cond delay="0"/>
                                          </p:stCondLst>
                                        </p:cTn>
                                        <p:tgtEl>
                                          <p:spTgt spid="64"/>
                                        </p:tgtEl>
                                        <p:attrNameLst>
                                          <p:attrName>style.visibility</p:attrName>
                                        </p:attrNameLst>
                                      </p:cBhvr>
                                      <p:to>
                                        <p:strVal val="visible"/>
                                      </p:to>
                                    </p:set>
                                    <p:animEffect transition="in" filter="wipe(left)">
                                      <p:cBhvr>
                                        <p:cTn id="20" dur="500"/>
                                        <p:tgtEl>
                                          <p:spTgt spid="64"/>
                                        </p:tgtEl>
                                      </p:cBhvr>
                                    </p:animEffect>
                                  </p:childTnLst>
                                </p:cTn>
                              </p:par>
                            </p:childTnLst>
                          </p:cTn>
                        </p:par>
                        <p:par>
                          <p:cTn id="21" fill="hold">
                            <p:stCondLst>
                              <p:cond delay="1500"/>
                            </p:stCondLst>
                            <p:childTnLst>
                              <p:par>
                                <p:cTn id="22" presetID="22" presetClass="entr" presetSubtype="8" fill="hold" nodeType="afterEffect">
                                  <p:stCondLst>
                                    <p:cond delay="0"/>
                                  </p:stCondLst>
                                  <p:childTnLst>
                                    <p:set>
                                      <p:cBhvr>
                                        <p:cTn id="23" dur="1" fill="hold">
                                          <p:stCondLst>
                                            <p:cond delay="0"/>
                                          </p:stCondLst>
                                        </p:cTn>
                                        <p:tgtEl>
                                          <p:spTgt spid="67"/>
                                        </p:tgtEl>
                                        <p:attrNameLst>
                                          <p:attrName>style.visibility</p:attrName>
                                        </p:attrNameLst>
                                      </p:cBhvr>
                                      <p:to>
                                        <p:strVal val="visible"/>
                                      </p:to>
                                    </p:set>
                                    <p:animEffect transition="in" filter="wipe(left)">
                                      <p:cBhvr>
                                        <p:cTn id="24" dur="500"/>
                                        <p:tgtEl>
                                          <p:spTgt spid="67"/>
                                        </p:tgtEl>
                                      </p:cBhvr>
                                    </p:animEffect>
                                  </p:childTnLst>
                                </p:cTn>
                              </p:par>
                            </p:childTnLst>
                          </p:cTn>
                        </p:par>
                        <p:par>
                          <p:cTn id="25" fill="hold">
                            <p:stCondLst>
                              <p:cond delay="2000"/>
                            </p:stCondLst>
                            <p:childTnLst>
                              <p:par>
                                <p:cTn id="26" presetID="22" presetClass="entr" presetSubtype="8" fill="hold" nodeType="afterEffect">
                                  <p:stCondLst>
                                    <p:cond delay="0"/>
                                  </p:stCondLst>
                                  <p:childTnLst>
                                    <p:set>
                                      <p:cBhvr>
                                        <p:cTn id="27" dur="1" fill="hold">
                                          <p:stCondLst>
                                            <p:cond delay="0"/>
                                          </p:stCondLst>
                                        </p:cTn>
                                        <p:tgtEl>
                                          <p:spTgt spid="70"/>
                                        </p:tgtEl>
                                        <p:attrNameLst>
                                          <p:attrName>style.visibility</p:attrName>
                                        </p:attrNameLst>
                                      </p:cBhvr>
                                      <p:to>
                                        <p:strVal val="visible"/>
                                      </p:to>
                                    </p:set>
                                    <p:animEffect transition="in" filter="wipe(left)">
                                      <p:cBhvr>
                                        <p:cTn id="28" dur="500"/>
                                        <p:tgtEl>
                                          <p:spTgt spid="70"/>
                                        </p:tgtEl>
                                      </p:cBhvr>
                                    </p:animEffect>
                                  </p:childTnLst>
                                </p:cTn>
                              </p:par>
                            </p:childTnLst>
                          </p:cTn>
                        </p:par>
                        <p:par>
                          <p:cTn id="29" fill="hold">
                            <p:stCondLst>
                              <p:cond delay="2500"/>
                            </p:stCondLst>
                            <p:childTnLst>
                              <p:par>
                                <p:cTn id="30" presetID="22" presetClass="entr" presetSubtype="8" fill="hold" nodeType="afterEffect">
                                  <p:stCondLst>
                                    <p:cond delay="0"/>
                                  </p:stCondLst>
                                  <p:childTnLst>
                                    <p:set>
                                      <p:cBhvr>
                                        <p:cTn id="31" dur="1" fill="hold">
                                          <p:stCondLst>
                                            <p:cond delay="0"/>
                                          </p:stCondLst>
                                        </p:cTn>
                                        <p:tgtEl>
                                          <p:spTgt spid="62"/>
                                        </p:tgtEl>
                                        <p:attrNameLst>
                                          <p:attrName>style.visibility</p:attrName>
                                        </p:attrNameLst>
                                      </p:cBhvr>
                                      <p:to>
                                        <p:strVal val="visible"/>
                                      </p:to>
                                    </p:set>
                                    <p:animEffect transition="in" filter="wipe(left)">
                                      <p:cBhvr>
                                        <p:cTn id="32"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6" grpId="0" animBg="1"/>
      <p:bldP spid="20"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D4685F3C-4701-1F7B-CAA0-7E7A8DFC9C1D}"/>
              </a:ext>
            </a:extLst>
          </p:cNvPr>
          <p:cNvSpPr txBox="1">
            <a:spLocks/>
          </p:cNvSpPr>
          <p:nvPr/>
        </p:nvSpPr>
        <p:spPr>
          <a:xfrm>
            <a:off x="525600" y="673199"/>
            <a:ext cx="1560054" cy="682989"/>
          </a:xfrm>
          <a:prstGeom prst="rect">
            <a:avLst/>
          </a:prstGeom>
        </p:spPr>
        <p:txBody>
          <a:bodyPr/>
          <a:lstStyle>
            <a:lvl1pPr algn="l" defTabSz="914400" rtl="0" eaLnBrk="1" latinLnBrk="0" hangingPunct="1">
              <a:lnSpc>
                <a:spcPct val="85000"/>
              </a:lnSpc>
              <a:spcBef>
                <a:spcPct val="0"/>
              </a:spcBef>
              <a:buNone/>
              <a:defRPr sz="2400" kern="1200" cap="all" baseline="0">
                <a:solidFill>
                  <a:schemeClr val="tx1"/>
                </a:solidFill>
                <a:latin typeface="+mj-lt"/>
                <a:ea typeface="+mj-ea"/>
                <a:cs typeface="+mj-cs"/>
              </a:defRPr>
            </a:lvl1pPr>
          </a:lstStyle>
          <a:p>
            <a:r>
              <a:rPr lang="en-US" dirty="0"/>
              <a:t>3 Thesis</a:t>
            </a:r>
            <a:endParaRPr lang="de-DE" dirty="0"/>
          </a:p>
        </p:txBody>
      </p:sp>
      <p:pic>
        <p:nvPicPr>
          <p:cNvPr id="4" name="Picture 4">
            <a:extLst>
              <a:ext uri="{FF2B5EF4-FFF2-40B4-BE49-F238E27FC236}">
                <a16:creationId xmlns:a16="http://schemas.microsoft.com/office/drawing/2014/main" id="{ED7C5FAF-F889-451A-75D5-A4A16C5DE151}"/>
              </a:ext>
            </a:extLst>
          </p:cNvPr>
          <p:cNvPicPr>
            <a:picLocks/>
          </p:cNvPicPr>
          <p:nvPr>
            <p:custDataLst>
              <p:tags r:id="rId1"/>
            </p:custDataLst>
          </p:nvPr>
        </p:nvPicPr>
        <p:blipFill>
          <a:blip r:embed="rId6"/>
          <a:stretch>
            <a:fillRect/>
          </a:stretch>
        </p:blipFill>
        <p:spPr>
          <a:xfrm>
            <a:off x="212902" y="1014693"/>
            <a:ext cx="4646774" cy="3392305"/>
          </a:xfrm>
          <a:prstGeom prst="rect">
            <a:avLst/>
          </a:prstGeom>
        </p:spPr>
      </p:pic>
      <p:pic>
        <p:nvPicPr>
          <p:cNvPr id="6" name="Picture 2">
            <a:extLst>
              <a:ext uri="{FF2B5EF4-FFF2-40B4-BE49-F238E27FC236}">
                <a16:creationId xmlns:a16="http://schemas.microsoft.com/office/drawing/2014/main" id="{81640DB4-D2EE-71A8-48FB-314CC76397B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190299" y="6322816"/>
            <a:ext cx="1275732" cy="384713"/>
          </a:xfrm>
          <a:prstGeom prst="rect">
            <a:avLst/>
          </a:prstGeom>
          <a:noFill/>
          <a:extLst>
            <a:ext uri="{909E8E84-426E-40DD-AFC4-6F175D3DCCD1}">
              <a14:hiddenFill xmlns:a14="http://schemas.microsoft.com/office/drawing/2010/main">
                <a:solidFill>
                  <a:srgbClr val="FFFFFF"/>
                </a:solidFill>
              </a14:hiddenFill>
            </a:ext>
          </a:extLst>
        </p:spPr>
      </p:pic>
      <p:sp>
        <p:nvSpPr>
          <p:cNvPr id="2" name="Textfeld 1">
            <a:extLst>
              <a:ext uri="{FF2B5EF4-FFF2-40B4-BE49-F238E27FC236}">
                <a16:creationId xmlns:a16="http://schemas.microsoft.com/office/drawing/2014/main" id="{5C2D81FB-29B7-4539-9CC6-A603540C18D2}"/>
              </a:ext>
            </a:extLst>
          </p:cNvPr>
          <p:cNvSpPr txBox="1"/>
          <p:nvPr/>
        </p:nvSpPr>
        <p:spPr>
          <a:xfrm>
            <a:off x="373578" y="2106202"/>
            <a:ext cx="4325421" cy="914400"/>
          </a:xfrm>
          <a:prstGeom prst="rect">
            <a:avLst/>
          </a:prstGeom>
          <a:noFill/>
        </p:spPr>
        <p:txBody>
          <a:bodyPr wrap="none" lIns="0" tIns="0" rIns="0" bIns="0" rtlCol="0">
            <a:noAutofit/>
          </a:bodyPr>
          <a:lstStyle/>
          <a:p>
            <a:pPr algn="l">
              <a:spcBef>
                <a:spcPts val="400"/>
              </a:spcBef>
              <a:spcAft>
                <a:spcPts val="400"/>
              </a:spcAft>
            </a:pPr>
            <a:r>
              <a:rPr lang="de-DE" b="1" dirty="0" err="1"/>
              <a:t>Supplying</a:t>
            </a:r>
            <a:r>
              <a:rPr lang="de-DE" b="1" dirty="0"/>
              <a:t> Energy </a:t>
            </a:r>
            <a:r>
              <a:rPr lang="de-DE" b="1" dirty="0" err="1"/>
              <a:t>needs</a:t>
            </a:r>
            <a:r>
              <a:rPr lang="de-DE" b="1" dirty="0"/>
              <a:t> </a:t>
            </a:r>
            <a:r>
              <a:rPr lang="de-DE" b="1" dirty="0" err="1"/>
              <a:t>to</a:t>
            </a:r>
            <a:r>
              <a:rPr lang="de-DE" b="1" dirty="0"/>
              <a:t> </a:t>
            </a:r>
            <a:r>
              <a:rPr lang="de-DE" b="1" dirty="0" err="1"/>
              <a:t>be</a:t>
            </a:r>
            <a:r>
              <a:rPr lang="de-DE" b="1" dirty="0"/>
              <a:t> a Service</a:t>
            </a:r>
          </a:p>
          <a:p>
            <a:pPr algn="l">
              <a:spcBef>
                <a:spcPts val="400"/>
              </a:spcBef>
              <a:spcAft>
                <a:spcPts val="400"/>
              </a:spcAft>
            </a:pPr>
            <a:r>
              <a:rPr lang="de-DE" b="1" dirty="0" err="1"/>
              <a:t>r</a:t>
            </a:r>
            <a:r>
              <a:rPr lang="de-DE" b="1" dirty="0" err="1">
                <a:solidFill>
                  <a:schemeClr val="tx1"/>
                </a:solidFill>
                <a:latin typeface="+mn-lt"/>
              </a:rPr>
              <a:t>ather</a:t>
            </a:r>
            <a:r>
              <a:rPr lang="de-DE" b="1" dirty="0">
                <a:solidFill>
                  <a:schemeClr val="tx1"/>
                </a:solidFill>
                <a:latin typeface="+mn-lt"/>
              </a:rPr>
              <a:t> </a:t>
            </a:r>
            <a:r>
              <a:rPr lang="de-DE" b="1" dirty="0" err="1">
                <a:solidFill>
                  <a:schemeClr val="tx1"/>
                </a:solidFill>
                <a:latin typeface="+mn-lt"/>
              </a:rPr>
              <a:t>than</a:t>
            </a:r>
            <a:r>
              <a:rPr lang="de-DE" b="1" dirty="0">
                <a:solidFill>
                  <a:schemeClr val="tx1"/>
                </a:solidFill>
                <a:latin typeface="+mn-lt"/>
              </a:rPr>
              <a:t> an </a:t>
            </a:r>
            <a:r>
              <a:rPr lang="de-DE" b="1" dirty="0" err="1">
                <a:solidFill>
                  <a:schemeClr val="tx1"/>
                </a:solidFill>
                <a:latin typeface="+mn-lt"/>
              </a:rPr>
              <a:t>integrated</a:t>
            </a:r>
            <a:r>
              <a:rPr lang="de-DE" b="1" dirty="0">
                <a:solidFill>
                  <a:schemeClr val="tx1"/>
                </a:solidFill>
                <a:latin typeface="+mn-lt"/>
              </a:rPr>
              <a:t> Part </a:t>
            </a:r>
            <a:r>
              <a:rPr lang="de-DE" b="1" dirty="0" err="1">
                <a:solidFill>
                  <a:schemeClr val="tx1"/>
                </a:solidFill>
                <a:latin typeface="+mn-lt"/>
              </a:rPr>
              <a:t>of</a:t>
            </a:r>
            <a:r>
              <a:rPr lang="de-DE" b="1" dirty="0">
                <a:solidFill>
                  <a:schemeClr val="tx1"/>
                </a:solidFill>
                <a:latin typeface="+mn-lt"/>
              </a:rPr>
              <a:t> </a:t>
            </a:r>
            <a:r>
              <a:rPr lang="de-DE" b="1" dirty="0" err="1">
                <a:solidFill>
                  <a:schemeClr val="tx1"/>
                </a:solidFill>
                <a:latin typeface="+mn-lt"/>
              </a:rPr>
              <a:t>the</a:t>
            </a:r>
            <a:r>
              <a:rPr lang="de-DE" b="1" dirty="0">
                <a:solidFill>
                  <a:schemeClr val="tx1"/>
                </a:solidFill>
                <a:latin typeface="+mn-lt"/>
              </a:rPr>
              <a:t> Business </a:t>
            </a:r>
          </a:p>
          <a:p>
            <a:pPr algn="l">
              <a:spcBef>
                <a:spcPts val="400"/>
              </a:spcBef>
              <a:spcAft>
                <a:spcPts val="400"/>
              </a:spcAft>
            </a:pPr>
            <a:r>
              <a:rPr lang="de-DE" b="1" dirty="0">
                <a:solidFill>
                  <a:schemeClr val="tx1"/>
                </a:solidFill>
                <a:latin typeface="+mn-lt"/>
              </a:rPr>
              <a:t>0r Operating </a:t>
            </a:r>
            <a:r>
              <a:rPr lang="de-DE" b="1" dirty="0" err="1">
                <a:solidFill>
                  <a:schemeClr val="tx1"/>
                </a:solidFill>
                <a:latin typeface="+mn-lt"/>
              </a:rPr>
              <a:t>Process</a:t>
            </a:r>
            <a:r>
              <a:rPr lang="de-DE" b="1" dirty="0">
                <a:solidFill>
                  <a:schemeClr val="tx1"/>
                </a:solidFill>
                <a:latin typeface="+mn-lt"/>
              </a:rPr>
              <a:t>/ Building</a:t>
            </a:r>
          </a:p>
        </p:txBody>
      </p:sp>
      <p:pic>
        <p:nvPicPr>
          <p:cNvPr id="7" name="Picture 4">
            <a:extLst>
              <a:ext uri="{FF2B5EF4-FFF2-40B4-BE49-F238E27FC236}">
                <a16:creationId xmlns:a16="http://schemas.microsoft.com/office/drawing/2014/main" id="{59347A56-0EA5-44C8-8960-61E58532A8F1}"/>
              </a:ext>
            </a:extLst>
          </p:cNvPr>
          <p:cNvPicPr>
            <a:picLocks/>
          </p:cNvPicPr>
          <p:nvPr>
            <p:custDataLst>
              <p:tags r:id="rId2"/>
            </p:custDataLst>
          </p:nvPr>
        </p:nvPicPr>
        <p:blipFill>
          <a:blip r:embed="rId6"/>
          <a:stretch>
            <a:fillRect/>
          </a:stretch>
        </p:blipFill>
        <p:spPr>
          <a:xfrm>
            <a:off x="5617109" y="867249"/>
            <a:ext cx="4646774" cy="3392305"/>
          </a:xfrm>
          <a:prstGeom prst="rect">
            <a:avLst/>
          </a:prstGeom>
        </p:spPr>
      </p:pic>
      <p:pic>
        <p:nvPicPr>
          <p:cNvPr id="8" name="Picture 4">
            <a:extLst>
              <a:ext uri="{FF2B5EF4-FFF2-40B4-BE49-F238E27FC236}">
                <a16:creationId xmlns:a16="http://schemas.microsoft.com/office/drawing/2014/main" id="{4844B20D-1172-4740-A36C-1CDD68D538EA}"/>
              </a:ext>
            </a:extLst>
          </p:cNvPr>
          <p:cNvPicPr>
            <a:picLocks/>
          </p:cNvPicPr>
          <p:nvPr>
            <p:custDataLst>
              <p:tags r:id="rId3"/>
            </p:custDataLst>
          </p:nvPr>
        </p:nvPicPr>
        <p:blipFill>
          <a:blip r:embed="rId6"/>
          <a:stretch>
            <a:fillRect/>
          </a:stretch>
        </p:blipFill>
        <p:spPr>
          <a:xfrm>
            <a:off x="3268102" y="3460859"/>
            <a:ext cx="4646774" cy="3392305"/>
          </a:xfrm>
          <a:prstGeom prst="rect">
            <a:avLst/>
          </a:prstGeom>
        </p:spPr>
      </p:pic>
      <p:sp>
        <p:nvSpPr>
          <p:cNvPr id="3" name="Textfeld 2">
            <a:extLst>
              <a:ext uri="{FF2B5EF4-FFF2-40B4-BE49-F238E27FC236}">
                <a16:creationId xmlns:a16="http://schemas.microsoft.com/office/drawing/2014/main" id="{D6F1DFAF-A003-4119-A187-2B7C529DD32A}"/>
              </a:ext>
            </a:extLst>
          </p:cNvPr>
          <p:cNvSpPr txBox="1"/>
          <p:nvPr/>
        </p:nvSpPr>
        <p:spPr>
          <a:xfrm>
            <a:off x="3411020" y="2563401"/>
            <a:ext cx="914400" cy="914400"/>
          </a:xfrm>
          <a:prstGeom prst="rect">
            <a:avLst/>
          </a:prstGeom>
          <a:noFill/>
        </p:spPr>
        <p:txBody>
          <a:bodyPr wrap="none" lIns="0" tIns="0" rIns="0" bIns="0" rtlCol="0">
            <a:noAutofit/>
          </a:bodyPr>
          <a:lstStyle/>
          <a:p>
            <a:pPr algn="l">
              <a:spcBef>
                <a:spcPts val="400"/>
              </a:spcBef>
              <a:spcAft>
                <a:spcPts val="400"/>
              </a:spcAft>
            </a:pPr>
            <a:endParaRPr lang="de-DE" sz="1400" dirty="0">
              <a:solidFill>
                <a:schemeClr val="tx1"/>
              </a:solidFill>
              <a:latin typeface="+mn-lt"/>
            </a:endParaRPr>
          </a:p>
        </p:txBody>
      </p:sp>
      <p:sp>
        <p:nvSpPr>
          <p:cNvPr id="10" name="Textfeld 9">
            <a:extLst>
              <a:ext uri="{FF2B5EF4-FFF2-40B4-BE49-F238E27FC236}">
                <a16:creationId xmlns:a16="http://schemas.microsoft.com/office/drawing/2014/main" id="{3B9F7DD0-5A5E-4F4D-AFDB-5F637C22361F}"/>
              </a:ext>
            </a:extLst>
          </p:cNvPr>
          <p:cNvSpPr txBox="1"/>
          <p:nvPr/>
        </p:nvSpPr>
        <p:spPr>
          <a:xfrm>
            <a:off x="5895083" y="1869131"/>
            <a:ext cx="4325421" cy="1315858"/>
          </a:xfrm>
          <a:prstGeom prst="rect">
            <a:avLst/>
          </a:prstGeom>
          <a:noFill/>
        </p:spPr>
        <p:txBody>
          <a:bodyPr wrap="none" lIns="0" tIns="0" rIns="0" bIns="0" rtlCol="0">
            <a:noAutofit/>
          </a:bodyPr>
          <a:lstStyle/>
          <a:p>
            <a:pPr algn="l">
              <a:spcBef>
                <a:spcPts val="400"/>
              </a:spcBef>
              <a:spcAft>
                <a:spcPts val="400"/>
              </a:spcAft>
            </a:pPr>
            <a:r>
              <a:rPr lang="de-DE" b="1" dirty="0" err="1"/>
              <a:t>Is</a:t>
            </a:r>
            <a:r>
              <a:rPr lang="de-DE" b="1" dirty="0"/>
              <a:t> Energy Transformation a Blocker </a:t>
            </a:r>
            <a:r>
              <a:rPr lang="de-DE" b="1" dirty="0" err="1"/>
              <a:t>for</a:t>
            </a:r>
            <a:r>
              <a:rPr lang="de-DE" b="1" dirty="0"/>
              <a:t> Assets</a:t>
            </a:r>
          </a:p>
          <a:p>
            <a:pPr algn="l">
              <a:spcBef>
                <a:spcPts val="400"/>
              </a:spcBef>
              <a:spcAft>
                <a:spcPts val="400"/>
              </a:spcAft>
            </a:pPr>
            <a:r>
              <a:rPr lang="de-DE" b="1" dirty="0" err="1">
                <a:solidFill>
                  <a:schemeClr val="tx1"/>
                </a:solidFill>
                <a:latin typeface="+mn-lt"/>
              </a:rPr>
              <a:t>Within</a:t>
            </a:r>
            <a:r>
              <a:rPr lang="de-DE" b="1" dirty="0">
                <a:solidFill>
                  <a:schemeClr val="tx1"/>
                </a:solidFill>
                <a:latin typeface="+mn-lt"/>
              </a:rPr>
              <a:t> </a:t>
            </a:r>
            <a:r>
              <a:rPr lang="de-DE" b="1" dirty="0" err="1">
                <a:solidFill>
                  <a:schemeClr val="tx1"/>
                </a:solidFill>
                <a:latin typeface="+mn-lt"/>
              </a:rPr>
              <a:t>the</a:t>
            </a:r>
            <a:r>
              <a:rPr lang="de-DE" b="1" dirty="0">
                <a:solidFill>
                  <a:schemeClr val="tx1"/>
                </a:solidFill>
                <a:latin typeface="+mn-lt"/>
              </a:rPr>
              <a:t> </a:t>
            </a:r>
            <a:r>
              <a:rPr lang="de-DE" b="1" dirty="0" err="1">
                <a:solidFill>
                  <a:schemeClr val="tx1"/>
                </a:solidFill>
                <a:latin typeface="+mn-lt"/>
              </a:rPr>
              <a:t>RealEstate</a:t>
            </a:r>
            <a:r>
              <a:rPr lang="de-DE" b="1" dirty="0">
                <a:solidFill>
                  <a:schemeClr val="tx1"/>
                </a:solidFill>
                <a:latin typeface="+mn-lt"/>
              </a:rPr>
              <a:t> markest </a:t>
            </a:r>
            <a:r>
              <a:rPr lang="de-DE" b="1" dirty="0" err="1">
                <a:solidFill>
                  <a:schemeClr val="tx1"/>
                </a:solidFill>
                <a:latin typeface="+mn-lt"/>
              </a:rPr>
              <a:t>as</a:t>
            </a:r>
            <a:r>
              <a:rPr lang="de-DE" b="1" dirty="0">
                <a:solidFill>
                  <a:schemeClr val="tx1"/>
                </a:solidFill>
                <a:latin typeface="+mn-lt"/>
              </a:rPr>
              <a:t> </a:t>
            </a:r>
            <a:r>
              <a:rPr lang="de-DE" b="1" dirty="0" err="1">
                <a:solidFill>
                  <a:schemeClr val="tx1"/>
                </a:solidFill>
                <a:latin typeface="+mn-lt"/>
              </a:rPr>
              <a:t>we</a:t>
            </a:r>
            <a:r>
              <a:rPr lang="de-DE" b="1" dirty="0">
                <a:solidFill>
                  <a:schemeClr val="tx1"/>
                </a:solidFill>
                <a:latin typeface="+mn-lt"/>
              </a:rPr>
              <a:t> </a:t>
            </a:r>
            <a:r>
              <a:rPr lang="de-DE" b="1" dirty="0" err="1">
                <a:solidFill>
                  <a:schemeClr val="tx1"/>
                </a:solidFill>
                <a:latin typeface="+mn-lt"/>
              </a:rPr>
              <a:t>see</a:t>
            </a:r>
            <a:r>
              <a:rPr lang="de-DE" b="1" dirty="0">
                <a:solidFill>
                  <a:schemeClr val="tx1"/>
                </a:solidFill>
                <a:latin typeface="+mn-lt"/>
              </a:rPr>
              <a:t> </a:t>
            </a:r>
          </a:p>
          <a:p>
            <a:pPr algn="l">
              <a:spcBef>
                <a:spcPts val="400"/>
              </a:spcBef>
              <a:spcAft>
                <a:spcPts val="400"/>
              </a:spcAft>
            </a:pPr>
            <a:r>
              <a:rPr lang="de-DE" b="1" dirty="0" err="1">
                <a:solidFill>
                  <a:schemeClr val="tx1"/>
                </a:solidFill>
                <a:latin typeface="+mn-lt"/>
              </a:rPr>
              <a:t>it</a:t>
            </a:r>
            <a:r>
              <a:rPr lang="de-DE" b="1" dirty="0">
                <a:solidFill>
                  <a:schemeClr val="tx1"/>
                </a:solidFill>
                <a:latin typeface="+mn-lt"/>
              </a:rPr>
              <a:t> </a:t>
            </a:r>
            <a:r>
              <a:rPr lang="de-DE" b="1" dirty="0" err="1">
                <a:solidFill>
                  <a:schemeClr val="tx1"/>
                </a:solidFill>
                <a:latin typeface="+mn-lt"/>
              </a:rPr>
              <a:t>today</a:t>
            </a:r>
            <a:endParaRPr lang="de-DE" b="1" dirty="0">
              <a:solidFill>
                <a:schemeClr val="tx1"/>
              </a:solidFill>
              <a:latin typeface="+mn-lt"/>
            </a:endParaRPr>
          </a:p>
        </p:txBody>
      </p:sp>
      <p:sp>
        <p:nvSpPr>
          <p:cNvPr id="11" name="Textfeld 10">
            <a:extLst>
              <a:ext uri="{FF2B5EF4-FFF2-40B4-BE49-F238E27FC236}">
                <a16:creationId xmlns:a16="http://schemas.microsoft.com/office/drawing/2014/main" id="{C646A963-C269-4101-8FB8-09CA7B5E1388}"/>
              </a:ext>
            </a:extLst>
          </p:cNvPr>
          <p:cNvSpPr txBox="1"/>
          <p:nvPr/>
        </p:nvSpPr>
        <p:spPr>
          <a:xfrm>
            <a:off x="3454398" y="4627125"/>
            <a:ext cx="4292317" cy="1151473"/>
          </a:xfrm>
          <a:prstGeom prst="rect">
            <a:avLst/>
          </a:prstGeom>
          <a:noFill/>
        </p:spPr>
        <p:txBody>
          <a:bodyPr wrap="none" lIns="0" tIns="0" rIns="0" bIns="0" rtlCol="0">
            <a:noAutofit/>
          </a:bodyPr>
          <a:lstStyle/>
          <a:p>
            <a:pPr algn="l">
              <a:spcBef>
                <a:spcPts val="400"/>
              </a:spcBef>
              <a:spcAft>
                <a:spcPts val="400"/>
              </a:spcAft>
            </a:pPr>
            <a:r>
              <a:rPr lang="de-DE" b="1" dirty="0" err="1">
                <a:solidFill>
                  <a:schemeClr val="tx1"/>
                </a:solidFill>
                <a:latin typeface="+mn-lt"/>
              </a:rPr>
              <a:t>With</a:t>
            </a:r>
            <a:r>
              <a:rPr lang="de-DE" b="1" dirty="0">
                <a:solidFill>
                  <a:schemeClr val="tx1"/>
                </a:solidFill>
                <a:latin typeface="+mn-lt"/>
              </a:rPr>
              <a:t> Investments in </a:t>
            </a:r>
            <a:r>
              <a:rPr lang="de-DE" b="1" dirty="0" err="1">
                <a:solidFill>
                  <a:schemeClr val="tx1"/>
                </a:solidFill>
                <a:latin typeface="+mn-lt"/>
              </a:rPr>
              <a:t>Rene</a:t>
            </a:r>
            <a:r>
              <a:rPr lang="de-DE" b="1" dirty="0" err="1"/>
              <a:t>wable</a:t>
            </a:r>
            <a:r>
              <a:rPr lang="de-DE" b="1" dirty="0"/>
              <a:t> Energy </a:t>
            </a:r>
            <a:r>
              <a:rPr lang="de-DE" b="1" dirty="0" err="1"/>
              <a:t>there</a:t>
            </a:r>
            <a:endParaRPr lang="de-DE" b="1" dirty="0"/>
          </a:p>
          <a:p>
            <a:pPr algn="l">
              <a:spcBef>
                <a:spcPts val="400"/>
              </a:spcBef>
              <a:spcAft>
                <a:spcPts val="400"/>
              </a:spcAft>
            </a:pPr>
            <a:r>
              <a:rPr lang="de-DE" b="1" dirty="0"/>
              <a:t>w</a:t>
            </a:r>
            <a:r>
              <a:rPr lang="de-DE" b="1" dirty="0">
                <a:solidFill>
                  <a:schemeClr val="tx1"/>
                </a:solidFill>
                <a:latin typeface="+mn-lt"/>
              </a:rPr>
              <a:t>ill </a:t>
            </a:r>
            <a:r>
              <a:rPr lang="de-DE" b="1" dirty="0" err="1">
                <a:solidFill>
                  <a:schemeClr val="tx1"/>
                </a:solidFill>
                <a:latin typeface="+mn-lt"/>
              </a:rPr>
              <a:t>be</a:t>
            </a:r>
            <a:r>
              <a:rPr lang="de-DE" b="1" dirty="0">
                <a:solidFill>
                  <a:schemeClr val="tx1"/>
                </a:solidFill>
                <a:latin typeface="+mn-lt"/>
              </a:rPr>
              <a:t> </a:t>
            </a:r>
            <a:r>
              <a:rPr lang="de-DE" b="1" dirty="0" err="1">
                <a:solidFill>
                  <a:schemeClr val="tx1"/>
                </a:solidFill>
                <a:latin typeface="+mn-lt"/>
              </a:rPr>
              <a:t>no</a:t>
            </a:r>
            <a:r>
              <a:rPr lang="de-DE" b="1" dirty="0">
                <a:solidFill>
                  <a:schemeClr val="tx1"/>
                </a:solidFill>
                <a:latin typeface="+mn-lt"/>
              </a:rPr>
              <a:t> </a:t>
            </a:r>
            <a:r>
              <a:rPr lang="de-DE" b="1" dirty="0" err="1">
                <a:solidFill>
                  <a:schemeClr val="tx1"/>
                </a:solidFill>
                <a:latin typeface="+mn-lt"/>
              </a:rPr>
              <a:t>business</a:t>
            </a:r>
            <a:r>
              <a:rPr lang="de-DE" b="1" dirty="0">
                <a:solidFill>
                  <a:schemeClr val="tx1"/>
                </a:solidFill>
                <a:latin typeface="+mn-lt"/>
              </a:rPr>
              <a:t> </a:t>
            </a:r>
            <a:r>
              <a:rPr lang="de-DE" b="1" dirty="0" err="1">
                <a:solidFill>
                  <a:schemeClr val="tx1"/>
                </a:solidFill>
                <a:latin typeface="+mn-lt"/>
              </a:rPr>
              <a:t>case</a:t>
            </a:r>
            <a:r>
              <a:rPr lang="de-DE" b="1" dirty="0">
                <a:solidFill>
                  <a:schemeClr val="tx1"/>
                </a:solidFill>
                <a:latin typeface="+mn-lt"/>
              </a:rPr>
              <a:t> </a:t>
            </a:r>
            <a:r>
              <a:rPr lang="de-DE" b="1" dirty="0" err="1">
                <a:solidFill>
                  <a:schemeClr val="tx1"/>
                </a:solidFill>
                <a:latin typeface="+mn-lt"/>
              </a:rPr>
              <a:t>within</a:t>
            </a:r>
            <a:r>
              <a:rPr lang="de-DE" b="1" dirty="0">
                <a:solidFill>
                  <a:schemeClr val="tx1"/>
                </a:solidFill>
                <a:latin typeface="+mn-lt"/>
              </a:rPr>
              <a:t> 5/10/20/xx </a:t>
            </a:r>
          </a:p>
          <a:p>
            <a:pPr algn="l">
              <a:spcBef>
                <a:spcPts val="400"/>
              </a:spcBef>
              <a:spcAft>
                <a:spcPts val="400"/>
              </a:spcAft>
            </a:pPr>
            <a:r>
              <a:rPr lang="de-DE" b="1" dirty="0" err="1"/>
              <a:t>years</a:t>
            </a:r>
            <a:endParaRPr lang="de-DE" b="1" dirty="0">
              <a:solidFill>
                <a:schemeClr val="tx1"/>
              </a:solidFill>
              <a:latin typeface="+mn-lt"/>
            </a:endParaRPr>
          </a:p>
        </p:txBody>
      </p:sp>
    </p:spTree>
    <p:extLst>
      <p:ext uri="{BB962C8B-B14F-4D97-AF65-F5344CB8AC3E}">
        <p14:creationId xmlns:p14="http://schemas.microsoft.com/office/powerpoint/2010/main" val="1785322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D4685F3C-4701-1F7B-CAA0-7E7A8DFC9C1D}"/>
              </a:ext>
            </a:extLst>
          </p:cNvPr>
          <p:cNvSpPr txBox="1">
            <a:spLocks/>
          </p:cNvSpPr>
          <p:nvPr/>
        </p:nvSpPr>
        <p:spPr>
          <a:xfrm>
            <a:off x="494777" y="453071"/>
            <a:ext cx="2279245" cy="682989"/>
          </a:xfrm>
          <a:prstGeom prst="rect">
            <a:avLst/>
          </a:prstGeom>
        </p:spPr>
        <p:txBody>
          <a:bodyPr/>
          <a:lstStyle>
            <a:lvl1pPr algn="l" defTabSz="914400" rtl="0" eaLnBrk="1" latinLnBrk="0" hangingPunct="1">
              <a:lnSpc>
                <a:spcPct val="85000"/>
              </a:lnSpc>
              <a:spcBef>
                <a:spcPct val="0"/>
              </a:spcBef>
              <a:buNone/>
              <a:defRPr sz="2400" kern="1200" cap="all" baseline="0">
                <a:solidFill>
                  <a:schemeClr val="tx1"/>
                </a:solidFill>
                <a:latin typeface="+mj-lt"/>
                <a:ea typeface="+mj-ea"/>
                <a:cs typeface="+mj-cs"/>
              </a:defRPr>
            </a:lvl1pPr>
          </a:lstStyle>
          <a:p>
            <a:r>
              <a:rPr lang="de-DE" dirty="0"/>
              <a:t>Workshop</a:t>
            </a:r>
          </a:p>
        </p:txBody>
      </p:sp>
      <p:pic>
        <p:nvPicPr>
          <p:cNvPr id="4" name="Picture 4">
            <a:extLst>
              <a:ext uri="{FF2B5EF4-FFF2-40B4-BE49-F238E27FC236}">
                <a16:creationId xmlns:a16="http://schemas.microsoft.com/office/drawing/2014/main" id="{ED7C5FAF-F889-451A-75D5-A4A16C5DE151}"/>
              </a:ext>
            </a:extLst>
          </p:cNvPr>
          <p:cNvPicPr>
            <a:picLocks/>
          </p:cNvPicPr>
          <p:nvPr>
            <p:custDataLst>
              <p:tags r:id="rId1"/>
            </p:custDataLst>
          </p:nvPr>
        </p:nvPicPr>
        <p:blipFill>
          <a:blip r:embed="rId5"/>
          <a:stretch>
            <a:fillRect/>
          </a:stretch>
        </p:blipFill>
        <p:spPr>
          <a:xfrm>
            <a:off x="212902" y="1014693"/>
            <a:ext cx="4646774" cy="3392305"/>
          </a:xfrm>
          <a:prstGeom prst="rect">
            <a:avLst/>
          </a:prstGeom>
        </p:spPr>
      </p:pic>
      <p:pic>
        <p:nvPicPr>
          <p:cNvPr id="6" name="Picture 2">
            <a:extLst>
              <a:ext uri="{FF2B5EF4-FFF2-40B4-BE49-F238E27FC236}">
                <a16:creationId xmlns:a16="http://schemas.microsoft.com/office/drawing/2014/main" id="{81640DB4-D2EE-71A8-48FB-314CC76397B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190299" y="6322816"/>
            <a:ext cx="1275732" cy="384713"/>
          </a:xfrm>
          <a:prstGeom prst="rect">
            <a:avLst/>
          </a:prstGeom>
          <a:noFill/>
          <a:extLst>
            <a:ext uri="{909E8E84-426E-40DD-AFC4-6F175D3DCCD1}">
              <a14:hiddenFill xmlns:a14="http://schemas.microsoft.com/office/drawing/2010/main">
                <a:solidFill>
                  <a:srgbClr val="FFFFFF"/>
                </a:solidFill>
              </a14:hiddenFill>
            </a:ext>
          </a:extLst>
        </p:spPr>
      </p:pic>
      <p:sp>
        <p:nvSpPr>
          <p:cNvPr id="2" name="Textfeld 1">
            <a:extLst>
              <a:ext uri="{FF2B5EF4-FFF2-40B4-BE49-F238E27FC236}">
                <a16:creationId xmlns:a16="http://schemas.microsoft.com/office/drawing/2014/main" id="{5C2D81FB-29B7-4539-9CC6-A603540C18D2}"/>
              </a:ext>
            </a:extLst>
          </p:cNvPr>
          <p:cNvSpPr txBox="1"/>
          <p:nvPr/>
        </p:nvSpPr>
        <p:spPr>
          <a:xfrm>
            <a:off x="534255" y="3719245"/>
            <a:ext cx="4325421" cy="914400"/>
          </a:xfrm>
          <a:prstGeom prst="rect">
            <a:avLst/>
          </a:prstGeom>
          <a:noFill/>
        </p:spPr>
        <p:txBody>
          <a:bodyPr wrap="none" lIns="0" tIns="0" rIns="0" bIns="0" rtlCol="0">
            <a:noAutofit/>
          </a:bodyPr>
          <a:lstStyle/>
          <a:p>
            <a:pPr algn="l">
              <a:spcBef>
                <a:spcPts val="400"/>
              </a:spcBef>
              <a:spcAft>
                <a:spcPts val="400"/>
              </a:spcAft>
            </a:pPr>
            <a:r>
              <a:rPr lang="de-DE" b="1" dirty="0" err="1"/>
              <a:t>Ideas</a:t>
            </a:r>
            <a:r>
              <a:rPr lang="de-DE" b="1" dirty="0"/>
              <a:t> </a:t>
            </a:r>
            <a:r>
              <a:rPr lang="de-DE" b="1" dirty="0" err="1"/>
              <a:t>to</a:t>
            </a:r>
            <a:r>
              <a:rPr lang="de-DE" b="1" dirty="0"/>
              <a:t> </a:t>
            </a:r>
            <a:r>
              <a:rPr lang="de-DE" b="1" dirty="0" err="1"/>
              <a:t>redefine</a:t>
            </a:r>
            <a:r>
              <a:rPr lang="de-DE" b="1" dirty="0"/>
              <a:t> &amp; </a:t>
            </a:r>
            <a:r>
              <a:rPr lang="de-DE" b="1" dirty="0" err="1"/>
              <a:t>change</a:t>
            </a:r>
            <a:r>
              <a:rPr lang="de-DE" b="1" dirty="0"/>
              <a:t> Energy</a:t>
            </a:r>
          </a:p>
          <a:p>
            <a:pPr algn="l">
              <a:spcBef>
                <a:spcPts val="400"/>
              </a:spcBef>
              <a:spcAft>
                <a:spcPts val="400"/>
              </a:spcAft>
            </a:pPr>
            <a:r>
              <a:rPr lang="de-DE" b="1" dirty="0"/>
              <a:t> Sourcing/Supply </a:t>
            </a:r>
            <a:r>
              <a:rPr lang="de-DE" b="1" dirty="0" err="1"/>
              <a:t>both</a:t>
            </a:r>
            <a:r>
              <a:rPr lang="de-DE" b="1" dirty="0"/>
              <a:t> in </a:t>
            </a:r>
            <a:r>
              <a:rPr lang="de-DE" b="1" dirty="0" err="1"/>
              <a:t>new</a:t>
            </a:r>
            <a:r>
              <a:rPr lang="de-DE" b="1" dirty="0"/>
              <a:t> Buildings /Areas</a:t>
            </a:r>
          </a:p>
          <a:p>
            <a:pPr algn="l">
              <a:spcBef>
                <a:spcPts val="400"/>
              </a:spcBef>
              <a:spcAft>
                <a:spcPts val="400"/>
              </a:spcAft>
            </a:pPr>
            <a:r>
              <a:rPr lang="de-DE" b="1" dirty="0"/>
              <a:t>and</a:t>
            </a:r>
            <a:r>
              <a:rPr lang="de-DE" b="1" dirty="0">
                <a:solidFill>
                  <a:schemeClr val="tx1"/>
                </a:solidFill>
                <a:latin typeface="+mn-lt"/>
              </a:rPr>
              <a:t> </a:t>
            </a:r>
            <a:r>
              <a:rPr lang="de-DE" b="1" dirty="0" err="1">
                <a:solidFill>
                  <a:schemeClr val="tx1"/>
                </a:solidFill>
                <a:latin typeface="+mn-lt"/>
              </a:rPr>
              <a:t>existing</a:t>
            </a:r>
            <a:r>
              <a:rPr lang="de-DE" b="1" dirty="0">
                <a:solidFill>
                  <a:schemeClr val="tx1"/>
                </a:solidFill>
                <a:latin typeface="+mn-lt"/>
              </a:rPr>
              <a:t> Buildings / Areas</a:t>
            </a:r>
          </a:p>
          <a:p>
            <a:pPr algn="l">
              <a:spcBef>
                <a:spcPts val="400"/>
              </a:spcBef>
              <a:spcAft>
                <a:spcPts val="400"/>
              </a:spcAft>
            </a:pPr>
            <a:r>
              <a:rPr lang="de-DE" b="1" dirty="0" err="1">
                <a:solidFill>
                  <a:schemeClr val="tx1"/>
                </a:solidFill>
                <a:latin typeface="+mn-lt"/>
              </a:rPr>
              <a:t>Is</a:t>
            </a:r>
            <a:r>
              <a:rPr lang="de-DE" b="1" dirty="0">
                <a:solidFill>
                  <a:schemeClr val="tx1"/>
                </a:solidFill>
                <a:latin typeface="+mn-lt"/>
              </a:rPr>
              <a:t> </a:t>
            </a:r>
            <a:r>
              <a:rPr lang="de-DE" b="1" dirty="0" err="1">
                <a:solidFill>
                  <a:schemeClr val="tx1"/>
                </a:solidFill>
                <a:latin typeface="+mn-lt"/>
              </a:rPr>
              <a:t>there</a:t>
            </a:r>
            <a:r>
              <a:rPr lang="de-DE" b="1" dirty="0">
                <a:solidFill>
                  <a:schemeClr val="tx1"/>
                </a:solidFill>
                <a:latin typeface="+mn-lt"/>
              </a:rPr>
              <a:t> a robust </a:t>
            </a:r>
            <a:r>
              <a:rPr lang="de-DE" b="1" dirty="0" err="1">
                <a:solidFill>
                  <a:schemeClr val="tx1"/>
                </a:solidFill>
                <a:latin typeface="+mn-lt"/>
              </a:rPr>
              <a:t>business</a:t>
            </a:r>
            <a:r>
              <a:rPr lang="de-DE" b="1" dirty="0">
                <a:solidFill>
                  <a:schemeClr val="tx1"/>
                </a:solidFill>
                <a:latin typeface="+mn-lt"/>
              </a:rPr>
              <a:t> </a:t>
            </a:r>
            <a:r>
              <a:rPr lang="de-DE" b="1" dirty="0" err="1">
                <a:solidFill>
                  <a:schemeClr val="tx1"/>
                </a:solidFill>
                <a:latin typeface="+mn-lt"/>
              </a:rPr>
              <a:t>case</a:t>
            </a:r>
            <a:r>
              <a:rPr lang="de-DE" b="1" dirty="0">
                <a:solidFill>
                  <a:schemeClr val="tx1"/>
                </a:solidFill>
                <a:latin typeface="+mn-lt"/>
              </a:rPr>
              <a:t> in 5/10/xx </a:t>
            </a:r>
            <a:r>
              <a:rPr lang="de-DE" b="1" dirty="0" err="1">
                <a:solidFill>
                  <a:schemeClr val="tx1"/>
                </a:solidFill>
                <a:latin typeface="+mn-lt"/>
              </a:rPr>
              <a:t>Years</a:t>
            </a:r>
            <a:endParaRPr lang="de-DE" b="1" dirty="0">
              <a:solidFill>
                <a:schemeClr val="tx1"/>
              </a:solidFill>
              <a:latin typeface="+mn-lt"/>
            </a:endParaRPr>
          </a:p>
          <a:p>
            <a:pPr algn="l">
              <a:spcBef>
                <a:spcPts val="400"/>
              </a:spcBef>
              <a:spcAft>
                <a:spcPts val="400"/>
              </a:spcAft>
            </a:pPr>
            <a:r>
              <a:rPr lang="de-DE" b="1" dirty="0"/>
              <a:t>Financing</a:t>
            </a:r>
            <a:endParaRPr lang="de-DE" b="1" dirty="0">
              <a:solidFill>
                <a:schemeClr val="tx1"/>
              </a:solidFill>
              <a:latin typeface="+mn-lt"/>
            </a:endParaRPr>
          </a:p>
        </p:txBody>
      </p:sp>
      <p:pic>
        <p:nvPicPr>
          <p:cNvPr id="7" name="Picture 4">
            <a:extLst>
              <a:ext uri="{FF2B5EF4-FFF2-40B4-BE49-F238E27FC236}">
                <a16:creationId xmlns:a16="http://schemas.microsoft.com/office/drawing/2014/main" id="{59347A56-0EA5-44C8-8960-61E58532A8F1}"/>
              </a:ext>
            </a:extLst>
          </p:cNvPr>
          <p:cNvPicPr>
            <a:picLocks/>
          </p:cNvPicPr>
          <p:nvPr>
            <p:custDataLst>
              <p:tags r:id="rId2"/>
            </p:custDataLst>
          </p:nvPr>
        </p:nvPicPr>
        <p:blipFill>
          <a:blip r:embed="rId5"/>
          <a:stretch>
            <a:fillRect/>
          </a:stretch>
        </p:blipFill>
        <p:spPr>
          <a:xfrm>
            <a:off x="5617109" y="867249"/>
            <a:ext cx="4646774" cy="3392305"/>
          </a:xfrm>
          <a:prstGeom prst="rect">
            <a:avLst/>
          </a:prstGeom>
        </p:spPr>
      </p:pic>
      <p:sp>
        <p:nvSpPr>
          <p:cNvPr id="3" name="Textfeld 2">
            <a:extLst>
              <a:ext uri="{FF2B5EF4-FFF2-40B4-BE49-F238E27FC236}">
                <a16:creationId xmlns:a16="http://schemas.microsoft.com/office/drawing/2014/main" id="{D6F1DFAF-A003-4119-A187-2B7C529DD32A}"/>
              </a:ext>
            </a:extLst>
          </p:cNvPr>
          <p:cNvSpPr txBox="1"/>
          <p:nvPr/>
        </p:nvSpPr>
        <p:spPr>
          <a:xfrm>
            <a:off x="3411020" y="2563401"/>
            <a:ext cx="914400" cy="914400"/>
          </a:xfrm>
          <a:prstGeom prst="rect">
            <a:avLst/>
          </a:prstGeom>
          <a:noFill/>
        </p:spPr>
        <p:txBody>
          <a:bodyPr wrap="none" lIns="0" tIns="0" rIns="0" bIns="0" rtlCol="0">
            <a:noAutofit/>
          </a:bodyPr>
          <a:lstStyle/>
          <a:p>
            <a:pPr algn="l">
              <a:spcBef>
                <a:spcPts val="400"/>
              </a:spcBef>
              <a:spcAft>
                <a:spcPts val="400"/>
              </a:spcAft>
            </a:pPr>
            <a:endParaRPr lang="de-DE" sz="1400" dirty="0">
              <a:solidFill>
                <a:schemeClr val="tx1"/>
              </a:solidFill>
              <a:latin typeface="+mn-lt"/>
            </a:endParaRPr>
          </a:p>
        </p:txBody>
      </p:sp>
      <p:sp>
        <p:nvSpPr>
          <p:cNvPr id="10" name="Textfeld 9">
            <a:extLst>
              <a:ext uri="{FF2B5EF4-FFF2-40B4-BE49-F238E27FC236}">
                <a16:creationId xmlns:a16="http://schemas.microsoft.com/office/drawing/2014/main" id="{3B9F7DD0-5A5E-4F4D-AFDB-5F637C22361F}"/>
              </a:ext>
            </a:extLst>
          </p:cNvPr>
          <p:cNvSpPr txBox="1"/>
          <p:nvPr/>
        </p:nvSpPr>
        <p:spPr>
          <a:xfrm>
            <a:off x="6096000" y="3719245"/>
            <a:ext cx="4325421" cy="1315858"/>
          </a:xfrm>
          <a:prstGeom prst="rect">
            <a:avLst/>
          </a:prstGeom>
          <a:noFill/>
        </p:spPr>
        <p:txBody>
          <a:bodyPr wrap="none" lIns="0" tIns="0" rIns="0" bIns="0" rtlCol="0">
            <a:noAutofit/>
          </a:bodyPr>
          <a:lstStyle/>
          <a:p>
            <a:pPr algn="l">
              <a:spcBef>
                <a:spcPts val="400"/>
              </a:spcBef>
              <a:spcAft>
                <a:spcPts val="400"/>
              </a:spcAft>
            </a:pPr>
            <a:r>
              <a:rPr lang="de-DE" b="1" dirty="0" err="1">
                <a:solidFill>
                  <a:schemeClr val="tx1"/>
                </a:solidFill>
                <a:latin typeface="+mn-lt"/>
              </a:rPr>
              <a:t>How</a:t>
            </a:r>
            <a:r>
              <a:rPr lang="de-DE" b="1" dirty="0">
                <a:solidFill>
                  <a:schemeClr val="tx1"/>
                </a:solidFill>
                <a:latin typeface="+mn-lt"/>
              </a:rPr>
              <a:t> </a:t>
            </a:r>
            <a:r>
              <a:rPr lang="de-DE" b="1" dirty="0" err="1">
                <a:solidFill>
                  <a:schemeClr val="tx1"/>
                </a:solidFill>
                <a:latin typeface="+mn-lt"/>
              </a:rPr>
              <a:t>efficient</a:t>
            </a:r>
            <a:r>
              <a:rPr lang="de-DE" b="1" dirty="0">
                <a:solidFill>
                  <a:schemeClr val="tx1"/>
                </a:solidFill>
                <a:latin typeface="+mn-lt"/>
              </a:rPr>
              <a:t> </a:t>
            </a:r>
            <a:r>
              <a:rPr lang="de-DE" b="1" dirty="0" err="1">
                <a:solidFill>
                  <a:schemeClr val="tx1"/>
                </a:solidFill>
                <a:latin typeface="+mn-lt"/>
              </a:rPr>
              <a:t>can</a:t>
            </a:r>
            <a:r>
              <a:rPr lang="de-DE" b="1" dirty="0">
                <a:solidFill>
                  <a:schemeClr val="tx1"/>
                </a:solidFill>
                <a:latin typeface="+mn-lt"/>
              </a:rPr>
              <a:t> </a:t>
            </a:r>
            <a:r>
              <a:rPr lang="de-DE" b="1" dirty="0" err="1">
                <a:solidFill>
                  <a:schemeClr val="tx1"/>
                </a:solidFill>
                <a:latin typeface="+mn-lt"/>
              </a:rPr>
              <a:t>we</a:t>
            </a:r>
            <a:r>
              <a:rPr lang="de-DE" b="1" dirty="0">
                <a:solidFill>
                  <a:schemeClr val="tx1"/>
                </a:solidFill>
                <a:latin typeface="+mn-lt"/>
              </a:rPr>
              <a:t> </a:t>
            </a:r>
            <a:r>
              <a:rPr lang="de-DE" b="1" dirty="0" err="1">
                <a:solidFill>
                  <a:schemeClr val="tx1"/>
                </a:solidFill>
                <a:latin typeface="+mn-lt"/>
              </a:rPr>
              <a:t>be</a:t>
            </a:r>
            <a:r>
              <a:rPr lang="de-DE" b="1" dirty="0">
                <a:solidFill>
                  <a:schemeClr val="tx1"/>
                </a:solidFill>
                <a:latin typeface="+mn-lt"/>
              </a:rPr>
              <a:t> in </a:t>
            </a:r>
            <a:r>
              <a:rPr lang="de-DE" b="1" dirty="0" err="1">
                <a:solidFill>
                  <a:schemeClr val="tx1"/>
                </a:solidFill>
                <a:latin typeface="+mn-lt"/>
              </a:rPr>
              <a:t>the</a:t>
            </a:r>
            <a:r>
              <a:rPr lang="de-DE" b="1" dirty="0">
                <a:solidFill>
                  <a:schemeClr val="tx1"/>
                </a:solidFill>
                <a:latin typeface="+mn-lt"/>
              </a:rPr>
              <a:t> </a:t>
            </a:r>
            <a:r>
              <a:rPr lang="de-DE" b="1" dirty="0" err="1">
                <a:solidFill>
                  <a:schemeClr val="tx1"/>
                </a:solidFill>
                <a:latin typeface="+mn-lt"/>
              </a:rPr>
              <a:t>future</a:t>
            </a:r>
            <a:r>
              <a:rPr lang="de-DE" b="1" dirty="0">
                <a:solidFill>
                  <a:schemeClr val="tx1"/>
                </a:solidFill>
                <a:latin typeface="+mn-lt"/>
              </a:rPr>
              <a:t>?</a:t>
            </a:r>
          </a:p>
          <a:p>
            <a:pPr algn="l">
              <a:spcBef>
                <a:spcPts val="400"/>
              </a:spcBef>
              <a:spcAft>
                <a:spcPts val="400"/>
              </a:spcAft>
            </a:pPr>
            <a:r>
              <a:rPr lang="de-DE" b="1" dirty="0"/>
              <a:t>Will </a:t>
            </a:r>
            <a:r>
              <a:rPr lang="de-DE" b="1" dirty="0" err="1"/>
              <a:t>there</a:t>
            </a:r>
            <a:r>
              <a:rPr lang="de-DE" b="1" dirty="0"/>
              <a:t> </a:t>
            </a:r>
            <a:r>
              <a:rPr lang="de-DE" b="1" dirty="0" err="1"/>
              <a:t>be</a:t>
            </a:r>
            <a:r>
              <a:rPr lang="de-DE" b="1" dirty="0"/>
              <a:t> a </a:t>
            </a:r>
            <a:r>
              <a:rPr lang="de-DE" b="1" dirty="0" err="1"/>
              <a:t>point</a:t>
            </a:r>
            <a:r>
              <a:rPr lang="de-DE" b="1" dirty="0"/>
              <a:t> </a:t>
            </a:r>
            <a:r>
              <a:rPr lang="de-DE" b="1" dirty="0" err="1"/>
              <a:t>when</a:t>
            </a:r>
            <a:r>
              <a:rPr lang="de-DE" b="1" dirty="0"/>
              <a:t> </a:t>
            </a:r>
            <a:r>
              <a:rPr lang="de-DE" b="1" dirty="0" err="1"/>
              <a:t>the</a:t>
            </a:r>
            <a:r>
              <a:rPr lang="de-DE" b="1" dirty="0"/>
              <a:t> </a:t>
            </a:r>
            <a:r>
              <a:rPr lang="de-DE" b="1" dirty="0" err="1"/>
              <a:t>effort</a:t>
            </a:r>
            <a:r>
              <a:rPr lang="de-DE" b="1" dirty="0"/>
              <a:t> </a:t>
            </a:r>
            <a:r>
              <a:rPr lang="de-DE" b="1" dirty="0" err="1"/>
              <a:t>is</a:t>
            </a:r>
            <a:r>
              <a:rPr lang="de-DE" b="1" dirty="0"/>
              <a:t> </a:t>
            </a:r>
          </a:p>
          <a:p>
            <a:pPr algn="l">
              <a:spcBef>
                <a:spcPts val="400"/>
              </a:spcBef>
              <a:spcAft>
                <a:spcPts val="400"/>
              </a:spcAft>
            </a:pPr>
            <a:r>
              <a:rPr lang="de-DE" b="1" dirty="0">
                <a:solidFill>
                  <a:schemeClr val="tx1"/>
                </a:solidFill>
                <a:latin typeface="+mn-lt"/>
              </a:rPr>
              <a:t>not </a:t>
            </a:r>
            <a:r>
              <a:rPr lang="de-DE" b="1" dirty="0" err="1">
                <a:solidFill>
                  <a:schemeClr val="tx1"/>
                </a:solidFill>
                <a:latin typeface="+mn-lt"/>
              </a:rPr>
              <a:t>worth</a:t>
            </a:r>
            <a:r>
              <a:rPr lang="de-DE" b="1" dirty="0">
                <a:solidFill>
                  <a:schemeClr val="tx1"/>
                </a:solidFill>
                <a:latin typeface="+mn-lt"/>
              </a:rPr>
              <a:t> </a:t>
            </a:r>
            <a:r>
              <a:rPr lang="de-DE" b="1" dirty="0" err="1">
                <a:solidFill>
                  <a:schemeClr val="tx1"/>
                </a:solidFill>
                <a:latin typeface="+mn-lt"/>
              </a:rPr>
              <a:t>it</a:t>
            </a:r>
            <a:r>
              <a:rPr lang="de-DE" b="1" dirty="0">
                <a:solidFill>
                  <a:schemeClr val="tx1"/>
                </a:solidFill>
                <a:latin typeface="+mn-lt"/>
              </a:rPr>
              <a:t>?</a:t>
            </a:r>
          </a:p>
          <a:p>
            <a:pPr algn="l">
              <a:spcBef>
                <a:spcPts val="400"/>
              </a:spcBef>
              <a:spcAft>
                <a:spcPts val="400"/>
              </a:spcAft>
            </a:pPr>
            <a:r>
              <a:rPr lang="de-DE" b="1" dirty="0" err="1">
                <a:solidFill>
                  <a:schemeClr val="tx1"/>
                </a:solidFill>
                <a:latin typeface="+mn-lt"/>
              </a:rPr>
              <a:t>Is</a:t>
            </a:r>
            <a:r>
              <a:rPr lang="de-DE" b="1" dirty="0">
                <a:solidFill>
                  <a:schemeClr val="tx1"/>
                </a:solidFill>
                <a:latin typeface="+mn-lt"/>
              </a:rPr>
              <a:t> </a:t>
            </a:r>
            <a:r>
              <a:rPr lang="de-DE" b="1" dirty="0" err="1">
                <a:solidFill>
                  <a:schemeClr val="tx1"/>
                </a:solidFill>
                <a:latin typeface="+mn-lt"/>
              </a:rPr>
              <a:t>there</a:t>
            </a:r>
            <a:r>
              <a:rPr lang="de-DE" b="1" dirty="0">
                <a:solidFill>
                  <a:schemeClr val="tx1"/>
                </a:solidFill>
                <a:latin typeface="+mn-lt"/>
              </a:rPr>
              <a:t> a robust </a:t>
            </a:r>
            <a:r>
              <a:rPr lang="de-DE" b="1" dirty="0" err="1">
                <a:solidFill>
                  <a:schemeClr val="tx1"/>
                </a:solidFill>
                <a:latin typeface="+mn-lt"/>
              </a:rPr>
              <a:t>business</a:t>
            </a:r>
            <a:r>
              <a:rPr lang="de-DE" b="1" dirty="0">
                <a:solidFill>
                  <a:schemeClr val="tx1"/>
                </a:solidFill>
                <a:latin typeface="+mn-lt"/>
              </a:rPr>
              <a:t> </a:t>
            </a:r>
            <a:r>
              <a:rPr lang="de-DE" b="1" dirty="0" err="1">
                <a:solidFill>
                  <a:schemeClr val="tx1"/>
                </a:solidFill>
                <a:latin typeface="+mn-lt"/>
              </a:rPr>
              <a:t>case</a:t>
            </a:r>
            <a:r>
              <a:rPr lang="de-DE" b="1" dirty="0">
                <a:solidFill>
                  <a:schemeClr val="tx1"/>
                </a:solidFill>
                <a:latin typeface="+mn-lt"/>
              </a:rPr>
              <a:t> in 5/10/xx </a:t>
            </a:r>
            <a:r>
              <a:rPr lang="de-DE" b="1" dirty="0" err="1">
                <a:solidFill>
                  <a:schemeClr val="tx1"/>
                </a:solidFill>
                <a:latin typeface="+mn-lt"/>
              </a:rPr>
              <a:t>Years</a:t>
            </a:r>
            <a:endParaRPr lang="de-DE" b="1" dirty="0">
              <a:solidFill>
                <a:schemeClr val="tx1"/>
              </a:solidFill>
              <a:latin typeface="+mn-lt"/>
            </a:endParaRPr>
          </a:p>
          <a:p>
            <a:pPr algn="l">
              <a:spcBef>
                <a:spcPts val="400"/>
              </a:spcBef>
              <a:spcAft>
                <a:spcPts val="400"/>
              </a:spcAft>
            </a:pPr>
            <a:r>
              <a:rPr lang="de-DE" b="1" dirty="0"/>
              <a:t>Financing</a:t>
            </a:r>
            <a:endParaRPr lang="de-DE" b="1" dirty="0">
              <a:solidFill>
                <a:schemeClr val="tx1"/>
              </a:solidFill>
              <a:latin typeface="+mn-lt"/>
            </a:endParaRPr>
          </a:p>
          <a:p>
            <a:pPr algn="l">
              <a:spcBef>
                <a:spcPts val="400"/>
              </a:spcBef>
              <a:spcAft>
                <a:spcPts val="400"/>
              </a:spcAft>
            </a:pPr>
            <a:endParaRPr lang="de-DE" b="1" dirty="0">
              <a:solidFill>
                <a:schemeClr val="tx1"/>
              </a:solidFill>
              <a:latin typeface="+mn-lt"/>
            </a:endParaRPr>
          </a:p>
          <a:p>
            <a:pPr algn="l">
              <a:spcBef>
                <a:spcPts val="400"/>
              </a:spcBef>
              <a:spcAft>
                <a:spcPts val="400"/>
              </a:spcAft>
            </a:pPr>
            <a:endParaRPr lang="de-DE" b="1" dirty="0">
              <a:solidFill>
                <a:schemeClr val="tx1"/>
              </a:solidFill>
              <a:latin typeface="+mn-lt"/>
            </a:endParaRPr>
          </a:p>
        </p:txBody>
      </p:sp>
    </p:spTree>
    <p:extLst>
      <p:ext uri="{BB962C8B-B14F-4D97-AF65-F5344CB8AC3E}">
        <p14:creationId xmlns:p14="http://schemas.microsoft.com/office/powerpoint/2010/main" val="3978937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 name="MIO_PRESENTATION_LANGUAGE" val="1031"/>
  <p:tag name="SLIDO_APP_VERSION" val="1.3.2.3021"/>
  <p:tag name="SLIDO_PRESENTATION_ID" val="00000000-0000-0000-0000-000000000000"/>
  <p:tag name="SLIDO_EVENT_UUID" val="ac81eb56-2c23-4afb-83b9-483a2619002b"/>
  <p:tag name="SLIDO_EVENT_SECTION_UUID" val="c306df8a-0362-41f4-9bd3-d8bd6ef11fff"/>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4"/>
  <p:tag name="MIO_SHOW_DATE" val="False"/>
  <p:tag name="MIO_SHOW_FOOTER" val="True"/>
  <p:tag name="MIO_SHOW_PAGENUMBER" val="True"/>
  <p:tag name="MIO_AVOID_BLANK_LAYOUT" val="True"/>
  <p:tag name="MIO_CD_LAYOUT_VALID_AREA" val="False"/>
  <p:tag name="MIO_NUMBER_OF_VALID_LAYOUTS" val="30"/>
  <p:tag name="MIO_HDS" val="True"/>
  <p:tag name="MIO_SKIPVERSION" val="01.01.0001 00:00:00"/>
  <p:tag name="MIO_EKGUID" val="ecb38153-ee58-4c21-9c47-7efa8f4432f6"/>
  <p:tag name="MIO_UPDATE" val="True"/>
  <p:tag name="MIO_VERSION" val="02.02.2021 17:34:47"/>
  <p:tag name="MIO_DBID" val="F91B0394-2DB4-4D5E-A007-7612FA556223"/>
  <p:tag name="MIO_LASTDOWNLOADED" val="23.11.2021 15:29:46.046"/>
  <p:tag name="MIO_OBJECTNAME" val="16:9 Drees &amp; Sommer"/>
  <p:tag name="MIO_LASTEDITORNAME" val="Tatjana Hänsch"/>
  <p:tag name="MIO_CDID" val="aa9e26f0-d14d-40a1-920e-6bb861640638"/>
</p:tagLst>
</file>

<file path=ppt/tags/tag3.xml><?xml version="1.0" encoding="utf-8"?>
<p:tagLst xmlns:a="http://schemas.openxmlformats.org/drawingml/2006/main" xmlns:r="http://schemas.openxmlformats.org/officeDocument/2006/relationships" xmlns:p="http://schemas.openxmlformats.org/presentationml/2006/main">
  <p:tag name="MIO_GUID" val="ecf2b572-f30b-4d89-97a0-6509c71c0863"/>
  <p:tag name="MIO_EKGUID" val="d709a0dd-5a32-4ee3-ac01-1150f9f3de25"/>
  <p:tag name="MIO_UPDATE" val="True"/>
  <p:tag name="MIO_VERSION" val="23.11.2020 09:18:25"/>
  <p:tag name="MIO_DBID" val="F91B0394-2DB4-4D5E-A007-7612FA556223"/>
  <p:tag name="MIO_LASTDOWNLOADED" val="25.11.2021 12:15:15.628"/>
  <p:tag name="MIO_OBJECTNAME" val="16:9 Drees &amp; Sommer Logo weiß- Position vollflächiges Bild"/>
  <p:tag name="MIO_LASTEDITORNAME" val="Tatjana Hänsch"/>
</p:tagLst>
</file>

<file path=ppt/tags/tag4.xml><?xml version="1.0" encoding="utf-8"?>
<p:tagLst xmlns:a="http://schemas.openxmlformats.org/drawingml/2006/main" xmlns:r="http://schemas.openxmlformats.org/officeDocument/2006/relationships" xmlns:p="http://schemas.openxmlformats.org/presentationml/2006/main">
  <p:tag name="SLIDO_ELEMENT" val="interaction_image"/>
  <p:tag name="INTERACTION_TYPE" val="OpenText"/>
</p:tagLst>
</file>

<file path=ppt/tags/tag5.xml><?xml version="1.0" encoding="utf-8"?>
<p:tagLst xmlns:a="http://schemas.openxmlformats.org/drawingml/2006/main" xmlns:r="http://schemas.openxmlformats.org/officeDocument/2006/relationships" xmlns:p="http://schemas.openxmlformats.org/presentationml/2006/main">
  <p:tag name="SLIDO_ELEMENT" val="interaction_image"/>
  <p:tag name="INTERACTION_TYPE" val="OpenText"/>
</p:tagLst>
</file>

<file path=ppt/tags/tag6.xml><?xml version="1.0" encoding="utf-8"?>
<p:tagLst xmlns:a="http://schemas.openxmlformats.org/drawingml/2006/main" xmlns:r="http://schemas.openxmlformats.org/officeDocument/2006/relationships" xmlns:p="http://schemas.openxmlformats.org/presentationml/2006/main">
  <p:tag name="SLIDO_ELEMENT" val="interaction_image"/>
  <p:tag name="INTERACTION_TYPE" val="OpenText"/>
</p:tagLst>
</file>

<file path=ppt/tags/tag7.xml><?xml version="1.0" encoding="utf-8"?>
<p:tagLst xmlns:a="http://schemas.openxmlformats.org/drawingml/2006/main" xmlns:r="http://schemas.openxmlformats.org/officeDocument/2006/relationships" xmlns:p="http://schemas.openxmlformats.org/presentationml/2006/main">
  <p:tag name="SLIDO_ELEMENT" val="interaction_image"/>
  <p:tag name="INTERACTION_TYPE" val="OpenText"/>
</p:tagLst>
</file>

<file path=ppt/tags/tag8.xml><?xml version="1.0" encoding="utf-8"?>
<p:tagLst xmlns:a="http://schemas.openxmlformats.org/drawingml/2006/main" xmlns:r="http://schemas.openxmlformats.org/officeDocument/2006/relationships" xmlns:p="http://schemas.openxmlformats.org/presentationml/2006/main">
  <p:tag name="SLIDO_ELEMENT" val="interaction_image"/>
  <p:tag name="INTERACTION_TYPE" val="OpenText"/>
</p:tagLst>
</file>

<file path=ppt/theme/theme1.xml><?xml version="1.0" encoding="utf-8"?>
<a:theme xmlns:a="http://schemas.openxmlformats.org/drawingml/2006/main" name="Drees &amp; Sommer">
  <a:themeElements>
    <a:clrScheme name="Drees &amp; Sommer">
      <a:dk1>
        <a:srgbClr val="404040"/>
      </a:dk1>
      <a:lt1>
        <a:srgbClr val="FFFFFF"/>
      </a:lt1>
      <a:dk2>
        <a:srgbClr val="002965"/>
      </a:dk2>
      <a:lt2>
        <a:srgbClr val="FFEE00"/>
      </a:lt2>
      <a:accent1>
        <a:srgbClr val="003DA6"/>
      </a:accent1>
      <a:accent2>
        <a:srgbClr val="B3D3EF"/>
      </a:accent2>
      <a:accent3>
        <a:srgbClr val="009FE3"/>
      </a:accent3>
      <a:accent4>
        <a:srgbClr val="007CC0"/>
      </a:accent4>
      <a:accent5>
        <a:srgbClr val="B2B2B2"/>
      </a:accent5>
      <a:accent6>
        <a:srgbClr val="95C11F"/>
      </a:accent6>
      <a:hlink>
        <a:srgbClr val="003DA6"/>
      </a:hlink>
      <a:folHlink>
        <a:srgbClr val="404040"/>
      </a:folHlink>
    </a:clrScheme>
    <a:fontScheme name="Drees &amp; Sommer">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72000" tIns="72000" rIns="72000" bIns="72000" rtlCol="0" anchor="ctr"/>
      <a:lstStyle>
        <a:defPPr algn="ctr">
          <a:spcBef>
            <a:spcPts val="400"/>
          </a:spcBef>
          <a:spcAft>
            <a:spcPts val="400"/>
          </a:spcAft>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noAutofit/>
      </a:bodyPr>
      <a:lstStyle>
        <a:defPPr algn="l">
          <a:spcBef>
            <a:spcPts val="400"/>
          </a:spcBef>
          <a:spcAft>
            <a:spcPts val="400"/>
          </a:spcAft>
          <a:defRPr sz="1400" dirty="0" smtClean="0">
            <a:solidFill>
              <a:schemeClr val="tx1"/>
            </a:solidFill>
            <a:latin typeface="+mn-lt"/>
          </a:defRPr>
        </a:defPPr>
      </a:lstStyle>
    </a:txDef>
  </a:objectDefaults>
  <a:extraClrSchemeLst/>
  <a:extLst>
    <a:ext uri="{05A4C25C-085E-4340-85A3-A5531E510DB2}">
      <thm15:themeFamily xmlns:thm15="http://schemas.microsoft.com/office/thememl/2012/main" name="PPT_MASTER_2020_voju_8.potx  -  Schreibgeschützt" id="{7EFF21D4-52EF-457D-892E-F9EFA16DA3EB}" vid="{F584E492-0CA9-44FC-A1DD-33F650F24A15}"/>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Drees &amp; Sommer">
      <a:dk1>
        <a:srgbClr val="404040"/>
      </a:dk1>
      <a:lt1>
        <a:srgbClr val="FFFFFF"/>
      </a:lt1>
      <a:dk2>
        <a:srgbClr val="002965"/>
      </a:dk2>
      <a:lt2>
        <a:srgbClr val="FFEE00"/>
      </a:lt2>
      <a:accent1>
        <a:srgbClr val="003DA6"/>
      </a:accent1>
      <a:accent2>
        <a:srgbClr val="B3D3EF"/>
      </a:accent2>
      <a:accent3>
        <a:srgbClr val="009FE3"/>
      </a:accent3>
      <a:accent4>
        <a:srgbClr val="007CC0"/>
      </a:accent4>
      <a:accent5>
        <a:srgbClr val="B2B2B2"/>
      </a:accent5>
      <a:accent6>
        <a:srgbClr val="95C11F"/>
      </a:accent6>
      <a:hlink>
        <a:srgbClr val="003DA6"/>
      </a:hlink>
      <a:folHlink>
        <a:srgbClr val="404040"/>
      </a:folHlink>
    </a:clrScheme>
    <a:fontScheme name="Drees &amp; Sommer">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a:themeElements>
    <a:clrScheme name="Drees &amp; Sommer">
      <a:dk1>
        <a:srgbClr val="404040"/>
      </a:dk1>
      <a:lt1>
        <a:srgbClr val="FFFFFF"/>
      </a:lt1>
      <a:dk2>
        <a:srgbClr val="002965"/>
      </a:dk2>
      <a:lt2>
        <a:srgbClr val="FFEE00"/>
      </a:lt2>
      <a:accent1>
        <a:srgbClr val="003DA6"/>
      </a:accent1>
      <a:accent2>
        <a:srgbClr val="B3D3EF"/>
      </a:accent2>
      <a:accent3>
        <a:srgbClr val="009FE3"/>
      </a:accent3>
      <a:accent4>
        <a:srgbClr val="007CC0"/>
      </a:accent4>
      <a:accent5>
        <a:srgbClr val="B2B2B2"/>
      </a:accent5>
      <a:accent6>
        <a:srgbClr val="95C11F"/>
      </a:accent6>
      <a:hlink>
        <a:srgbClr val="003DA6"/>
      </a:hlink>
      <a:folHlink>
        <a:srgbClr val="404040"/>
      </a:folHlink>
    </a:clrScheme>
    <a:fontScheme name="Drees &amp; Sommer">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aa432d20-1451-41e5-87de-277d846727e7">
      <Terms xmlns="http://schemas.microsoft.com/office/infopath/2007/PartnerControls"/>
    </lcf76f155ced4ddcb4097134ff3c332f>
    <TaxCatchAll xmlns="4ab8ee3c-60d5-47f0-a738-9d010745d732"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BB71E3B426C5DF4DA105E08611A30F6D" ma:contentTypeVersion="16" ma:contentTypeDescription="Ein neues Dokument erstellen." ma:contentTypeScope="" ma:versionID="56bd3b0f752aa2eb9217842e8f78c87c">
  <xsd:schema xmlns:xsd="http://www.w3.org/2001/XMLSchema" xmlns:xs="http://www.w3.org/2001/XMLSchema" xmlns:p="http://schemas.microsoft.com/office/2006/metadata/properties" xmlns:ns2="aa432d20-1451-41e5-87de-277d846727e7" xmlns:ns3="4ab8ee3c-60d5-47f0-a738-9d010745d732" targetNamespace="http://schemas.microsoft.com/office/2006/metadata/properties" ma:root="true" ma:fieldsID="9e73bfc3c742469c68c5f63c45f59ce0" ns2:_="" ns3:_="">
    <xsd:import namespace="aa432d20-1451-41e5-87de-277d846727e7"/>
    <xsd:import namespace="4ab8ee3c-60d5-47f0-a738-9d010745d732"/>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432d20-1451-41e5-87de-277d846727e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Bildmarkierungen" ma:readOnly="false" ma:fieldId="{5cf76f15-5ced-4ddc-b409-7134ff3c332f}" ma:taxonomyMulti="true" ma:sspId="b0a2ce1a-3622-485d-a8b2-e26fba77705d"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ab8ee3c-60d5-47f0-a738-9d010745d732" elementFormDefault="qualified">
    <xsd:import namespace="http://schemas.microsoft.com/office/2006/documentManagement/types"/>
    <xsd:import namespace="http://schemas.microsoft.com/office/infopath/2007/PartnerControls"/>
    <xsd:element name="SharedWithUsers" ma:index="17"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Freigegeben für - Details" ma:internalName="SharedWithDetails" ma:readOnly="true">
      <xsd:simpleType>
        <xsd:restriction base="dms:Note">
          <xsd:maxLength value="255"/>
        </xsd:restriction>
      </xsd:simpleType>
    </xsd:element>
    <xsd:element name="TaxCatchAll" ma:index="22" nillable="true" ma:displayName="Taxonomy Catch All Column" ma:hidden="true" ma:list="{d67db67f-92f0-463c-a824-83b321661073}" ma:internalName="TaxCatchAll" ma:showField="CatchAllData" ma:web="4ab8ee3c-60d5-47f0-a738-9d010745d73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5F431E8-B679-4A01-9C4B-46A300CF21AD}">
  <ds:schemaRefs>
    <ds:schemaRef ds:uri="http://schemas.microsoft.com/sharepoint/v3/contenttype/forms"/>
  </ds:schemaRefs>
</ds:datastoreItem>
</file>

<file path=customXml/itemProps2.xml><?xml version="1.0" encoding="utf-8"?>
<ds:datastoreItem xmlns:ds="http://schemas.openxmlformats.org/officeDocument/2006/customXml" ds:itemID="{941D489C-41F9-4B00-8DF8-0DDD14F732F3}">
  <ds:schemaRefs>
    <ds:schemaRef ds:uri="http://purl.org/dc/elements/1.1/"/>
    <ds:schemaRef ds:uri="http://schemas.microsoft.com/office/2006/metadata/properties"/>
    <ds:schemaRef ds:uri="http://purl.org/dc/terms/"/>
    <ds:schemaRef ds:uri="8bf26cf0-3500-44a3-8454-28ee2e2f42ac"/>
    <ds:schemaRef ds:uri="http://schemas.microsoft.com/office/2006/documentManagement/types"/>
    <ds:schemaRef ds:uri="http://schemas.microsoft.com/office/infopath/2007/PartnerControls"/>
    <ds:schemaRef ds:uri="http://schemas.openxmlformats.org/package/2006/metadata/core-properties"/>
    <ds:schemaRef ds:uri="e1bdf1a9-b2be-4aa8-aa91-9f3c45fb8516"/>
    <ds:schemaRef ds:uri="http://www.w3.org/XML/1998/namespace"/>
    <ds:schemaRef ds:uri="http://purl.org/dc/dcmitype/"/>
    <ds:schemaRef ds:uri="aa432d20-1451-41e5-87de-277d846727e7"/>
    <ds:schemaRef ds:uri="4ab8ee3c-60d5-47f0-a738-9d010745d732"/>
  </ds:schemaRefs>
</ds:datastoreItem>
</file>

<file path=customXml/itemProps3.xml><?xml version="1.0" encoding="utf-8"?>
<ds:datastoreItem xmlns:ds="http://schemas.openxmlformats.org/officeDocument/2006/customXml" ds:itemID="{2BF07A6E-48BF-4A28-8A2B-F7873FD21F1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a432d20-1451-41e5-87de-277d846727e7"/>
    <ds:schemaRef ds:uri="4ab8ee3c-60d5-47f0-a738-9d010745d73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1104</Words>
  <Application>Microsoft Office PowerPoint</Application>
  <PresentationFormat>Breitbild</PresentationFormat>
  <Paragraphs>198</Paragraphs>
  <Slides>5</Slides>
  <Notes>5</Notes>
  <HiddenSlides>0</HiddenSlides>
  <MMClips>0</MMClips>
  <ScaleCrop>false</ScaleCrop>
  <HeadingPairs>
    <vt:vector size="6" baseType="variant">
      <vt:variant>
        <vt:lpstr>Verwendete Schriftarten</vt:lpstr>
      </vt:variant>
      <vt:variant>
        <vt:i4>5</vt:i4>
      </vt:variant>
      <vt:variant>
        <vt:lpstr>Design</vt:lpstr>
      </vt:variant>
      <vt:variant>
        <vt:i4>2</vt:i4>
      </vt:variant>
      <vt:variant>
        <vt:lpstr>Folientitel</vt:lpstr>
      </vt:variant>
      <vt:variant>
        <vt:i4>5</vt:i4>
      </vt:variant>
    </vt:vector>
  </HeadingPairs>
  <TitlesOfParts>
    <vt:vector size="12" baseType="lpstr">
      <vt:lpstr>Arial</vt:lpstr>
      <vt:lpstr>Calibri</vt:lpstr>
      <vt:lpstr>Calibri Light</vt:lpstr>
      <vt:lpstr>Symbol</vt:lpstr>
      <vt:lpstr>Wingdings</vt:lpstr>
      <vt:lpstr>Drees &amp; Sommer</vt:lpstr>
      <vt:lpstr>1_Office Theme</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PT_MASTER_2020_voju_9.potx</dc:title>
  <dc:creator>Tatjana Hänsch</dc:creator>
  <cp:lastModifiedBy>Stefan Klepzig</cp:lastModifiedBy>
  <cp:revision>9</cp:revision>
  <dcterms:created xsi:type="dcterms:W3CDTF">2020-08-13T13:01:46Z</dcterms:created>
  <dcterms:modified xsi:type="dcterms:W3CDTF">2022-08-18T12:04: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DAE63FF4C13F4DABB2539D62D979A8</vt:lpwstr>
  </property>
  <property fmtid="{D5CDD505-2E9C-101B-9397-08002B2CF9AE}" pid="3" name="MediaServiceImageTags">
    <vt:lpwstr/>
  </property>
  <property fmtid="{D5CDD505-2E9C-101B-9397-08002B2CF9AE}" pid="4" name="SlidoAppVersion">
    <vt:lpwstr>1.3.2.3021</vt:lpwstr>
  </property>
</Properties>
</file>